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webextensions/taskpanes.xml" ContentType="application/vnd.ms-office.webextensiontaskpanes+xml"/>
  <Override PartName="/ppt/webextensions/webextension1.xml" ContentType="application/vnd.ms-office.webextension+xml"/>
  <Override PartName="/ppt/webextensions/webextension2.xml" ContentType="application/vnd.ms-office.webextens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customXml/itemProps11.xml" ContentType="application/vnd.openxmlformats-officedocument.customXmlProperties+xml"/>
  <Override PartName="/customXml/itemProps12.xml" ContentType="application/vnd.openxmlformats-officedocument.customXmlProperties+xml"/>
  <Override PartName="/customXml/itemProps13.xml" ContentType="application/vnd.openxmlformats-officedocument.customXmlProperties+xml"/>
  <Override PartName="/customXml/itemProps14.xml" ContentType="application/vnd.openxmlformats-officedocument.customXmlProperties+xml"/>
  <Override PartName="/customXml/itemProps15.xml" ContentType="application/vnd.openxmlformats-officedocument.customXmlProperties+xml"/>
  <Override PartName="/customXml/itemProps16.xml" ContentType="application/vnd.openxmlformats-officedocument.customXmlProperties+xml"/>
  <Override PartName="/customXml/itemProps17.xml" ContentType="application/vnd.openxmlformats-officedocument.customXmlProperties+xml"/>
  <Override PartName="/customXml/itemProps18.xml" ContentType="application/vnd.openxmlformats-officedocument.customXmlProperties+xml"/>
  <Override PartName="/customXml/itemProps19.xml" ContentType="application/vnd.openxmlformats-officedocument.customXmlProperties+xml"/>
  <Override PartName="/customXml/itemProps20.xml" ContentType="application/vnd.openxmlformats-officedocument.customXmlProperties+xml"/>
  <Override PartName="/customXml/itemProps21.xml" ContentType="application/vnd.openxmlformats-officedocument.customXmlProperties+xml"/>
  <Override PartName="/customXml/itemProps22.xml" ContentType="application/vnd.openxmlformats-officedocument.customXmlProperties+xml"/>
  <Override PartName="/customXml/itemProps23.xml" ContentType="application/vnd.openxmlformats-officedocument.customXmlProperties+xml"/>
  <Override PartName="/customXml/itemProps24.xml" ContentType="application/vnd.openxmlformats-officedocument.customXmlProperties+xml"/>
  <Override PartName="/customXml/itemProps25.xml" ContentType="application/vnd.openxmlformats-officedocument.customXmlProperties+xml"/>
  <Override PartName="/customXml/itemProps26.xml" ContentType="application/vnd.openxmlformats-officedocument.customXmlProperties+xml"/>
  <Override PartName="/customXml/itemProps27.xml" ContentType="application/vnd.openxmlformats-officedocument.customXmlProperties+xml"/>
  <Override PartName="/customXml/itemProps28.xml" ContentType="application/vnd.openxmlformats-officedocument.customXmlProperties+xml"/>
  <Override PartName="/customXml/itemProps29.xml" ContentType="application/vnd.openxmlformats-officedocument.customXmlProperties+xml"/>
  <Override PartName="/customXml/itemProps30.xml" ContentType="application/vnd.openxmlformats-officedocument.customXmlProperties+xml"/>
  <Override PartName="/customXml/itemProps31.xml" ContentType="application/vnd.openxmlformats-officedocument.customXmlProperties+xml"/>
  <Override PartName="/customXml/itemProps32.xml" ContentType="application/vnd.openxmlformats-officedocument.customXmlProperties+xml"/>
  <Override PartName="/customXml/itemProps33.xml" ContentType="application/vnd.openxmlformats-officedocument.customXmlProperties+xml"/>
  <Override PartName="/customXml/itemProps34.xml" ContentType="application/vnd.openxmlformats-officedocument.customXmlProperties+xml"/>
  <Override PartName="/customXml/itemProps35.xml" ContentType="application/vnd.openxmlformats-officedocument.customXmlProperties+xml"/>
  <Override PartName="/customXml/itemProps36.xml" ContentType="application/vnd.openxmlformats-officedocument.customXmlProperties+xml"/>
  <Override PartName="/customXml/itemProps37.xml" ContentType="application/vnd.openxmlformats-officedocument.customXmlProperties+xml"/>
  <Override PartName="/customXml/itemProps38.xml" ContentType="application/vnd.openxmlformats-officedocument.customXmlProperties+xml"/>
  <Override PartName="/customXml/itemProps39.xml" ContentType="application/vnd.openxmlformats-officedocument.customXmlProperties+xml"/>
  <Override PartName="/customXml/itemProps40.xml" ContentType="application/vnd.openxmlformats-officedocument.customXmlProperties+xml"/>
  <Override PartName="/customXml/itemProps41.xml" ContentType="application/vnd.openxmlformats-officedocument.customXmlProperties+xml"/>
  <Override PartName="/customXml/itemProps42.xml" ContentType="application/vnd.openxmlformats-officedocument.customXmlProperties+xml"/>
  <Override PartName="/customXml/itemProps43.xml" ContentType="application/vnd.openxmlformats-officedocument.customXmlProperties+xml"/>
  <Override PartName="/customXml/itemProps44.xml" ContentType="application/vnd.openxmlformats-officedocument.customXmlProperties+xml"/>
  <Override PartName="/customXml/itemProps45.xml" ContentType="application/vnd.openxmlformats-officedocument.customXmlProperties+xml"/>
  <Override PartName="/customXml/itemProps46.xml" ContentType="application/vnd.openxmlformats-officedocument.customXmlProperties+xml"/>
  <Override PartName="/customXml/itemProps47.xml" ContentType="application/vnd.openxmlformats-officedocument.customXmlProperties+xml"/>
  <Override PartName="/customXml/itemProps48.xml" ContentType="application/vnd.openxmlformats-officedocument.customXmlProperties+xml"/>
  <Override PartName="/customXml/itemProps49.xml" ContentType="application/vnd.openxmlformats-officedocument.customXmlProperties+xml"/>
  <Override PartName="/customXml/itemProps50.xml" ContentType="application/vnd.openxmlformats-officedocument.customXmlProperties+xml"/>
  <Override PartName="/customXml/itemProps51.xml" ContentType="application/vnd.openxmlformats-officedocument.customXmlProperties+xml"/>
  <Override PartName="/customXml/itemProps52.xml" ContentType="application/vnd.openxmlformats-officedocument.customXmlProperties+xml"/>
  <Override PartName="/customXml/itemProps53.xml" ContentType="application/vnd.openxmlformats-officedocument.customXmlProperties+xml"/>
  <Override PartName="/customXml/itemProps54.xml" ContentType="application/vnd.openxmlformats-officedocument.customXmlProperties+xml"/>
  <Override PartName="/customXml/itemProps55.xml" ContentType="application/vnd.openxmlformats-officedocument.customXmlProperties+xml"/>
  <Override PartName="/customXml/itemProps56.xml" ContentType="application/vnd.openxmlformats-officedocument.customXmlProperties+xml"/>
  <Override PartName="/customXml/itemProps57.xml" ContentType="application/vnd.openxmlformats-officedocument.customXmlProperties+xml"/>
  <Override PartName="/customXml/itemProps58.xml" ContentType="application/vnd.openxmlformats-officedocument.customXmlProperties+xml"/>
  <Override PartName="/customXml/itemProps59.xml" ContentType="application/vnd.openxmlformats-officedocument.customXmlProperties+xml"/>
  <Override PartName="/customXml/itemProps60.xml" ContentType="application/vnd.openxmlformats-officedocument.customXmlProperties+xml"/>
  <Override PartName="/customXml/itemProps61.xml" ContentType="application/vnd.openxmlformats-officedocument.customXmlProperties+xml"/>
  <Override PartName="/customXml/itemProps62.xml" ContentType="application/vnd.openxmlformats-officedocument.customXmlProperties+xml"/>
  <Override PartName="/customXml/itemProps63.xml" ContentType="application/vnd.openxmlformats-officedocument.customXmlProperties+xml"/>
  <Override PartName="/customXml/itemProps64.xml" ContentType="application/vnd.openxmlformats-officedocument.customXmlProperties+xml"/>
  <Override PartName="/customXml/itemProps65.xml" ContentType="application/vnd.openxmlformats-officedocument.customXmlProperties+xml"/>
  <Override PartName="/customXml/itemProps66.xml" ContentType="application/vnd.openxmlformats-officedocument.customXmlProperties+xml"/>
  <Override PartName="/customXml/itemProps67.xml" ContentType="application/vnd.openxmlformats-officedocument.customXmlProperties+xml"/>
  <Override PartName="/customXml/itemProps68.xml" ContentType="application/vnd.openxmlformats-officedocument.customXmlProperties+xml"/>
  <Override PartName="/customXml/itemProps69.xml" ContentType="application/vnd.openxmlformats-officedocument.customXmlProperties+xml"/>
  <Override PartName="/customXml/itemProps70.xml" ContentType="application/vnd.openxmlformats-officedocument.customXmlProperties+xml"/>
  <Override PartName="/customXml/itemProps71.xml" ContentType="application/vnd.openxmlformats-officedocument.customXmlProperties+xml"/>
  <Override PartName="/customXml/itemProps72.xml" ContentType="application/vnd.openxmlformats-officedocument.customXmlProperties+xml"/>
  <Override PartName="/customXml/itemProps73.xml" ContentType="application/vnd.openxmlformats-officedocument.customXmlProperties+xml"/>
  <Override PartName="/customXml/itemProps74.xml" ContentType="application/vnd.openxmlformats-officedocument.customXmlProperties+xml"/>
  <Override PartName="/customXml/itemProps75.xml" ContentType="application/vnd.openxmlformats-officedocument.customXmlProperties+xml"/>
  <Override PartName="/customXml/itemProps76.xml" ContentType="application/vnd.openxmlformats-officedocument.customXmlProperties+xml"/>
  <Override PartName="/customXml/itemProps77.xml" ContentType="application/vnd.openxmlformats-officedocument.customXmlProperties+xml"/>
  <Override PartName="/customXml/itemProps78.xml" ContentType="application/vnd.openxmlformats-officedocument.customXmlProperties+xml"/>
  <Override PartName="/customXml/itemProps79.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omments/modernComment_7FFFFFD5_D8EEB8AD.xml" ContentType="application/vnd.ms-powerpoint.comment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tags/tag125.xml" ContentType="application/vnd.openxmlformats-officedocument.presentationml.tags+xml"/>
  <Override PartName="/ppt/tags/tag126.xml" ContentType="application/vnd.openxmlformats-officedocument.presentationml.tags+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tags/tag127.xml" ContentType="application/vnd.openxmlformats-officedocument.presentationml.tags+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thumbnail" Target="docProps/thumbnail.jpeg"/><Relationship Id="rId7" Type="http://schemas.microsoft.com/office/2020/02/relationships/classificationlabels" Target="docMetadata/LabelInfo.xml"/><Relationship Id="rId2" Type="http://schemas.openxmlformats.org/officeDocument/2006/relationships/officeDocument" Target="ppt/presentation.xml"/><Relationship Id="rId1" Type="http://schemas.microsoft.com/office/2011/relationships/webextensiontaskpanes" Target="ppt/webextensions/taskpanes.xml"/><Relationship Id="rId6" Type="http://schemas.openxmlformats.org/officeDocument/2006/relationships/custom-properties" Target="docProps/custom.xml"/><Relationship Id="rId5" Type="http://schemas.openxmlformats.org/officeDocument/2006/relationships/extended-properties" Target="docProps/app.xml"/><Relationship Id="rId4"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autoCompressPictures="0">
  <p:sldMasterIdLst>
    <p:sldMasterId id="2147483733" r:id="rId80"/>
  </p:sldMasterIdLst>
  <p:notesMasterIdLst>
    <p:notesMasterId r:id="rId172"/>
  </p:notesMasterIdLst>
  <p:handoutMasterIdLst>
    <p:handoutMasterId r:id="rId173"/>
  </p:handoutMasterIdLst>
  <p:sldIdLst>
    <p:sldId id="402" r:id="rId81"/>
    <p:sldId id="403" r:id="rId82"/>
    <p:sldId id="2147483605" r:id="rId83"/>
    <p:sldId id="2147483606" r:id="rId84"/>
    <p:sldId id="2147483537" r:id="rId85"/>
    <p:sldId id="2147477316" r:id="rId86"/>
    <p:sldId id="268" r:id="rId87"/>
    <p:sldId id="2147483568" r:id="rId88"/>
    <p:sldId id="2147483574" r:id="rId89"/>
    <p:sldId id="2147483573" r:id="rId90"/>
    <p:sldId id="2147483623" r:id="rId91"/>
    <p:sldId id="260" r:id="rId92"/>
    <p:sldId id="2147483342" r:id="rId93"/>
    <p:sldId id="2147483049" r:id="rId94"/>
    <p:sldId id="2147483038" r:id="rId95"/>
    <p:sldId id="2146849106" r:id="rId96"/>
    <p:sldId id="259" r:id="rId97"/>
    <p:sldId id="2147483018" r:id="rId98"/>
    <p:sldId id="2147483015" r:id="rId99"/>
    <p:sldId id="2147483019" r:id="rId100"/>
    <p:sldId id="2147483612" r:id="rId101"/>
    <p:sldId id="2147477044" r:id="rId102"/>
    <p:sldId id="2147376871" r:id="rId103"/>
    <p:sldId id="2147376958" r:id="rId104"/>
    <p:sldId id="2147376931" r:id="rId105"/>
    <p:sldId id="2147376898" r:id="rId106"/>
    <p:sldId id="2147479095" r:id="rId107"/>
    <p:sldId id="269" r:id="rId108"/>
    <p:sldId id="2147376951" r:id="rId109"/>
    <p:sldId id="2147376942" r:id="rId110"/>
    <p:sldId id="2147376952" r:id="rId111"/>
    <p:sldId id="2147483610" r:id="rId112"/>
    <p:sldId id="2147483607" r:id="rId113"/>
    <p:sldId id="2147377197" r:id="rId114"/>
    <p:sldId id="2147483498" r:id="rId115"/>
    <p:sldId id="2147376814" r:id="rId116"/>
    <p:sldId id="2147483054" r:id="rId117"/>
    <p:sldId id="2147483611" r:id="rId118"/>
    <p:sldId id="2147483618" r:id="rId119"/>
    <p:sldId id="265" r:id="rId120"/>
    <p:sldId id="404" r:id="rId121"/>
    <p:sldId id="263" r:id="rId122"/>
    <p:sldId id="267" r:id="rId123"/>
    <p:sldId id="266" r:id="rId124"/>
    <p:sldId id="262" r:id="rId125"/>
    <p:sldId id="264" r:id="rId126"/>
    <p:sldId id="405" r:id="rId127"/>
    <p:sldId id="2147483619" r:id="rId128"/>
    <p:sldId id="2147483620" r:id="rId129"/>
    <p:sldId id="2147483626" r:id="rId130"/>
    <p:sldId id="2147483627" r:id="rId131"/>
    <p:sldId id="2147483640" r:id="rId132"/>
    <p:sldId id="2147483641" r:id="rId133"/>
    <p:sldId id="2147483642" r:id="rId134"/>
    <p:sldId id="2147483643" r:id="rId135"/>
    <p:sldId id="2147483628" r:id="rId136"/>
    <p:sldId id="2147483638" r:id="rId137"/>
    <p:sldId id="2147483637" r:id="rId138"/>
    <p:sldId id="2147483644" r:id="rId139"/>
    <p:sldId id="2147483645" r:id="rId140"/>
    <p:sldId id="2147483647" r:id="rId141"/>
    <p:sldId id="256" r:id="rId142"/>
    <p:sldId id="258" r:id="rId143"/>
    <p:sldId id="2147483646" r:id="rId144"/>
    <p:sldId id="2147483639" r:id="rId145"/>
    <p:sldId id="257" r:id="rId146"/>
    <p:sldId id="261" r:id="rId147"/>
    <p:sldId id="344" r:id="rId148"/>
    <p:sldId id="364" r:id="rId149"/>
    <p:sldId id="2061" r:id="rId150"/>
    <p:sldId id="2060" r:id="rId151"/>
    <p:sldId id="2147483624" r:id="rId152"/>
    <p:sldId id="2147483625" r:id="rId153"/>
    <p:sldId id="2147483617" r:id="rId154"/>
    <p:sldId id="2147483343" r:id="rId155"/>
    <p:sldId id="2147483550" r:id="rId156"/>
    <p:sldId id="2147483561" r:id="rId157"/>
    <p:sldId id="2147483349" r:id="rId158"/>
    <p:sldId id="2147483552" r:id="rId159"/>
    <p:sldId id="2147483557" r:id="rId160"/>
    <p:sldId id="2147483562" r:id="rId161"/>
    <p:sldId id="2147483558" r:id="rId162"/>
    <p:sldId id="2147483559" r:id="rId163"/>
    <p:sldId id="2147483572" r:id="rId164"/>
    <p:sldId id="5977" r:id="rId165"/>
    <p:sldId id="2147483629" r:id="rId166"/>
    <p:sldId id="2147483630" r:id="rId167"/>
    <p:sldId id="2147483631" r:id="rId168"/>
    <p:sldId id="2147483632" r:id="rId169"/>
    <p:sldId id="2147483543" r:id="rId170"/>
    <p:sldId id="271" r:id="rId171"/>
  </p:sldIdLst>
  <p:sldSz cx="12195175" cy="6858000"/>
  <p:notesSz cx="6858000" cy="9144000"/>
  <p:embeddedFontLst>
    <p:embeddedFont>
      <p:font typeface="72" panose="020B0503030000000003" pitchFamily="34" charset="0"/>
      <p:regular r:id="rId174"/>
      <p:bold r:id="rId175"/>
      <p:italic r:id="rId176"/>
      <p:boldItalic r:id="rId177"/>
    </p:embeddedFont>
    <p:embeddedFont>
      <p:font typeface="72 Brand" panose="020B0504030603020204" pitchFamily="34" charset="0"/>
      <p:regular r:id="rId178"/>
      <p:bold r:id="rId179"/>
      <p:italic r:id="rId180"/>
      <p:boldItalic r:id="rId181"/>
    </p:embeddedFont>
    <p:embeddedFont>
      <p:font typeface="72 Brand Medium" panose="020B0504030603020204" pitchFamily="34" charset="0"/>
      <p:regular r:id="rId182"/>
      <p:italic r:id="rId183"/>
    </p:embeddedFont>
    <p:embeddedFont>
      <p:font typeface="Aptos Narrow" panose="020B0004020202020204" pitchFamily="34" charset="0"/>
      <p:regular r:id="rId184"/>
      <p:bold r:id="rId185"/>
      <p:italic r:id="rId186"/>
      <p:boldItalic r:id="rId187"/>
    </p:embeddedFont>
    <p:embeddedFont>
      <p:font typeface="Arial Unicode MS" panose="020B0604020202020204" pitchFamily="34" charset="-128"/>
      <p:regular r:id="rId188"/>
    </p:embeddedFont>
    <p:embeddedFont>
      <p:font typeface="BentonSans Bold" panose="02000503000000020004" pitchFamily="2" charset="0"/>
      <p:bold r:id="rId189"/>
    </p:embeddedFont>
    <p:embeddedFont>
      <p:font typeface="Consolas" panose="020B0609020204030204" pitchFamily="49" charset="0"/>
      <p:regular r:id="rId190"/>
      <p:bold r:id="rId191"/>
      <p:italic r:id="rId192"/>
      <p:boldItalic r:id="rId193"/>
    </p:embeddedFont>
    <p:embeddedFont>
      <p:font typeface="Open Sans" panose="020B0606030504020204" pitchFamily="34" charset="0"/>
      <p:regular r:id="rId194"/>
      <p:bold r:id="rId195"/>
      <p:italic r:id="rId196"/>
      <p:boldItalic r:id="rId197"/>
    </p:embeddedFont>
    <p:embeddedFont>
      <p:font typeface="Roboto" panose="02000000000000000000" pitchFamily="2" charset="0"/>
      <p:regular r:id="rId198"/>
      <p:bold r:id="rId199"/>
      <p:italic r:id="rId200"/>
      <p:boldItalic r:id="rId201"/>
    </p:embeddedFont>
  </p:embeddedFontLst>
  <p:custDataLst>
    <p:tags r:id="rId202"/>
  </p:custDataLst>
  <p:defaultTex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p:defaultTextStyle>
  <p:extLst>
    <p:ext uri="{521415D9-36F7-43E2-AB2F-B90AF26B5E84}">
      <p14:sectionLst xmlns:p14="http://schemas.microsoft.com/office/powerpoint/2010/main">
        <p14:section name="Standardabschnitt" id="{0A2AE7EC-D84E-214E-946A-91EFBDE91A3B}">
          <p14:sldIdLst>
            <p14:sldId id="402"/>
            <p14:sldId id="403"/>
            <p14:sldId id="2147483605"/>
            <p14:sldId id="2147483606"/>
          </p14:sldIdLst>
        </p14:section>
        <p14:section name="Day 1" id="{7A17F9B8-17A6-6B4F-B2E9-3E4939F81AAB}">
          <p14:sldIdLst>
            <p14:sldId id="2147483537"/>
            <p14:sldId id="2147477316"/>
            <p14:sldId id="268"/>
            <p14:sldId id="2147483568"/>
            <p14:sldId id="2147483574"/>
            <p14:sldId id="2147483573"/>
            <p14:sldId id="2147483623"/>
            <p14:sldId id="260"/>
            <p14:sldId id="2147483342"/>
            <p14:sldId id="2147483049"/>
            <p14:sldId id="2147483038"/>
          </p14:sldIdLst>
        </p14:section>
        <p14:section name="Exercise Flow Day 1" id="{EBDF950B-2CAA-CA46-B0EF-E4F798A8A51B}">
          <p14:sldIdLst>
            <p14:sldId id="2146849106"/>
          </p14:sldIdLst>
        </p14:section>
        <p14:section name="Appendix Day 1" id="{580BF7B7-521A-2449-BFF3-C39AE499D8F6}">
          <p14:sldIdLst>
            <p14:sldId id="259"/>
            <p14:sldId id="2147483018"/>
            <p14:sldId id="2147483015"/>
            <p14:sldId id="2147483019"/>
          </p14:sldIdLst>
        </p14:section>
        <p14:section name="Day 2" id="{ED36FC3C-FF80-5D47-A54F-BF8819B5478C}">
          <p14:sldIdLst>
            <p14:sldId id="2147483612"/>
            <p14:sldId id="2147477044"/>
            <p14:sldId id="2147376871"/>
            <p14:sldId id="2147376958"/>
            <p14:sldId id="2147376931"/>
            <p14:sldId id="2147376898"/>
            <p14:sldId id="2147479095"/>
            <p14:sldId id="269"/>
            <p14:sldId id="2147376951"/>
            <p14:sldId id="2147376942"/>
            <p14:sldId id="2147376952"/>
            <p14:sldId id="2147483610"/>
            <p14:sldId id="2147483607"/>
            <p14:sldId id="2147377197"/>
            <p14:sldId id="2147483498"/>
            <p14:sldId id="2147376814"/>
            <p14:sldId id="2147483054"/>
          </p14:sldIdLst>
        </p14:section>
        <p14:section name="Day 3" id="{6A91D1EE-87FE-8B4F-A3C0-2FCCEB529E0C}">
          <p14:sldIdLst>
            <p14:sldId id="2147483611"/>
            <p14:sldId id="2147483618"/>
            <p14:sldId id="265"/>
            <p14:sldId id="404"/>
            <p14:sldId id="263"/>
            <p14:sldId id="267"/>
            <p14:sldId id="266"/>
            <p14:sldId id="262"/>
            <p14:sldId id="264"/>
            <p14:sldId id="405"/>
            <p14:sldId id="2147483619"/>
            <p14:sldId id="2147483620"/>
          </p14:sldIdLst>
        </p14:section>
        <p14:section name="Day 4" id="{555BC992-017F-F842-86B8-854B51F0D049}">
          <p14:sldIdLst>
            <p14:sldId id="2147483626"/>
            <p14:sldId id="2147483627"/>
            <p14:sldId id="2147483640"/>
            <p14:sldId id="2147483641"/>
            <p14:sldId id="2147483642"/>
            <p14:sldId id="2147483643"/>
            <p14:sldId id="2147483628"/>
            <p14:sldId id="2147483638"/>
            <p14:sldId id="2147483637"/>
            <p14:sldId id="2147483644"/>
            <p14:sldId id="2147483645"/>
            <p14:sldId id="2147483647"/>
            <p14:sldId id="256"/>
            <p14:sldId id="258"/>
            <p14:sldId id="2147483646"/>
            <p14:sldId id="2147483639"/>
            <p14:sldId id="257"/>
            <p14:sldId id="261"/>
            <p14:sldId id="344"/>
            <p14:sldId id="364"/>
            <p14:sldId id="2061"/>
            <p14:sldId id="2060"/>
            <p14:sldId id="2147483624"/>
            <p14:sldId id="2147483625"/>
          </p14:sldIdLst>
        </p14:section>
        <p14:section name="Day 5" id="{20E19B94-DD0A-0D48-B24F-D5C581EB8238}">
          <p14:sldIdLst>
            <p14:sldId id="2147483617"/>
            <p14:sldId id="2147483343"/>
            <p14:sldId id="2147483550"/>
            <p14:sldId id="2147483561"/>
            <p14:sldId id="2147483349"/>
            <p14:sldId id="2147483552"/>
            <p14:sldId id="2147483557"/>
            <p14:sldId id="2147483562"/>
            <p14:sldId id="2147483558"/>
            <p14:sldId id="2147483559"/>
            <p14:sldId id="2147483572"/>
            <p14:sldId id="5977"/>
            <p14:sldId id="2147483629"/>
            <p14:sldId id="2147483630"/>
            <p14:sldId id="2147483631"/>
            <p14:sldId id="2147483632"/>
            <p14:sldId id="2147483543"/>
            <p14:sldId id="271"/>
          </p14:sldIdLst>
        </p14:section>
      </p14:sectionLst>
    </p:ext>
    <p:ext uri="{EFAFB233-063F-42B5-8137-9DF3F51BA10A}">
      <p15:sldGuideLst xmlns:p15="http://schemas.microsoft.com/office/powerpoint/2012/main">
        <p15:guide id="1" pos="3841" userDrawn="1">
          <p15:clr>
            <a:srgbClr val="A4A3A4"/>
          </p15:clr>
        </p15:guide>
        <p15:guide id="2" orient="horz" pos="3317"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EDB15447-5372-6FBA-63CA-8998929D1631}" name="Birkenhauer, Christoph" initials="BC" userId="S::christoph.birkenhauer@sap.com::6da9480f-42e5-45ee-957a-62495494d99d" providerId="AD"/>
  <p188:author id="{ABA0ECE8-49C5-2EF3-E136-4B68053A462D}" name="Okos, Florian" initials="OF" userId="S::florian.okos@sap.com::40f8031e-7e80-4995-afe7-257422c635be" providerId="AD"/>
</p188: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0FA"/>
    <a:srgbClr val="2CE0B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3A8811C-AE57-439C-B4A9-47F39DA4AC98}" v="5" dt="2024-12-12T11:37:11.409"/>
  </p1510:revLst>
</p1510:revInfo>
</file>

<file path=ppt/tableStyles.xml><?xml version="1.0" encoding="utf-8"?>
<a:tblStyleLst xmlns:a="http://schemas.openxmlformats.org/drawingml/2006/main" def="{2D5ABB26-0587-4C30-8999-92F81FD0307C}">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E8B1032C-EA38-4F05-BA0D-38AFFFC7BED3}" styleName="Light Style 3 - Acc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7E9639D4-E3E2-4D34-9284-5A2195B3D0D7}" styleName="Helle Formatvorlag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21E4AEA4-8DFA-4A89-87EB-49C32662AFE0}" styleName="Mittlere Formatvorlage 2 - Akz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8558" autoAdjust="0"/>
    <p:restoredTop sz="89252" autoAdjust="0"/>
  </p:normalViewPr>
  <p:slideViewPr>
    <p:cSldViewPr snapToGrid="0">
      <p:cViewPr varScale="1">
        <p:scale>
          <a:sx n="109" d="100"/>
          <a:sy n="109" d="100"/>
        </p:scale>
        <p:origin x="936" y="192"/>
      </p:cViewPr>
      <p:guideLst>
        <p:guide pos="3841"/>
        <p:guide orient="horz" pos="3317"/>
      </p:guideLst>
    </p:cSldViewPr>
  </p:slideViewPr>
  <p:notesTextViewPr>
    <p:cViewPr>
      <p:scale>
        <a:sx n="1" d="1"/>
        <a:sy n="1" d="1"/>
      </p:scale>
      <p:origin x="0" y="0"/>
    </p:cViewPr>
  </p:notesTextViewPr>
  <p:notesViewPr>
    <p:cSldViewPr snapToGrid="0">
      <p:cViewPr>
        <p:scale>
          <a:sx n="1" d="2"/>
          <a:sy n="1" d="2"/>
        </p:scale>
        <p:origin x="0" y="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37.xml"/><Relationship Id="rId21" Type="http://schemas.openxmlformats.org/officeDocument/2006/relationships/customXml" Target="../customXml/item21.xml"/><Relationship Id="rId42" Type="http://schemas.openxmlformats.org/officeDocument/2006/relationships/customXml" Target="../customXml/item42.xml"/><Relationship Id="rId63" Type="http://schemas.openxmlformats.org/officeDocument/2006/relationships/customXml" Target="../customXml/item63.xml"/><Relationship Id="rId84" Type="http://schemas.openxmlformats.org/officeDocument/2006/relationships/slide" Target="slides/slide4.xml"/><Relationship Id="rId138" Type="http://schemas.openxmlformats.org/officeDocument/2006/relationships/slide" Target="slides/slide58.xml"/><Relationship Id="rId159" Type="http://schemas.openxmlformats.org/officeDocument/2006/relationships/slide" Target="slides/slide79.xml"/><Relationship Id="rId170" Type="http://schemas.openxmlformats.org/officeDocument/2006/relationships/slide" Target="slides/slide90.xml"/><Relationship Id="rId191" Type="http://schemas.openxmlformats.org/officeDocument/2006/relationships/font" Target="fonts/font18.fntdata"/><Relationship Id="rId205" Type="http://schemas.openxmlformats.org/officeDocument/2006/relationships/theme" Target="theme/theme1.xml"/><Relationship Id="rId107" Type="http://schemas.openxmlformats.org/officeDocument/2006/relationships/slide" Target="slides/slide27.xml"/><Relationship Id="rId11" Type="http://schemas.openxmlformats.org/officeDocument/2006/relationships/customXml" Target="../customXml/item11.xml"/><Relationship Id="rId32" Type="http://schemas.openxmlformats.org/officeDocument/2006/relationships/customXml" Target="../customXml/item32.xml"/><Relationship Id="rId53" Type="http://schemas.openxmlformats.org/officeDocument/2006/relationships/customXml" Target="../customXml/item53.xml"/><Relationship Id="rId74" Type="http://schemas.openxmlformats.org/officeDocument/2006/relationships/customXml" Target="../customXml/item74.xml"/><Relationship Id="rId128" Type="http://schemas.openxmlformats.org/officeDocument/2006/relationships/slide" Target="slides/slide48.xml"/><Relationship Id="rId149" Type="http://schemas.openxmlformats.org/officeDocument/2006/relationships/slide" Target="slides/slide69.xml"/><Relationship Id="rId5" Type="http://schemas.openxmlformats.org/officeDocument/2006/relationships/customXml" Target="../customXml/item5.xml"/><Relationship Id="rId95" Type="http://schemas.openxmlformats.org/officeDocument/2006/relationships/slide" Target="slides/slide15.xml"/><Relationship Id="rId160" Type="http://schemas.openxmlformats.org/officeDocument/2006/relationships/slide" Target="slides/slide80.xml"/><Relationship Id="rId181" Type="http://schemas.openxmlformats.org/officeDocument/2006/relationships/font" Target="fonts/font8.fntdata"/><Relationship Id="rId22" Type="http://schemas.openxmlformats.org/officeDocument/2006/relationships/customXml" Target="../customXml/item22.xml"/><Relationship Id="rId43" Type="http://schemas.openxmlformats.org/officeDocument/2006/relationships/customXml" Target="../customXml/item43.xml"/><Relationship Id="rId64" Type="http://schemas.openxmlformats.org/officeDocument/2006/relationships/customXml" Target="../customXml/item64.xml"/><Relationship Id="rId118" Type="http://schemas.openxmlformats.org/officeDocument/2006/relationships/slide" Target="slides/slide38.xml"/><Relationship Id="rId139" Type="http://schemas.openxmlformats.org/officeDocument/2006/relationships/slide" Target="slides/slide59.xml"/><Relationship Id="rId85" Type="http://schemas.openxmlformats.org/officeDocument/2006/relationships/slide" Target="slides/slide5.xml"/><Relationship Id="rId150" Type="http://schemas.openxmlformats.org/officeDocument/2006/relationships/slide" Target="slides/slide70.xml"/><Relationship Id="rId171" Type="http://schemas.openxmlformats.org/officeDocument/2006/relationships/slide" Target="slides/slide91.xml"/><Relationship Id="rId192" Type="http://schemas.openxmlformats.org/officeDocument/2006/relationships/font" Target="fonts/font19.fntdata"/><Relationship Id="rId206" Type="http://schemas.openxmlformats.org/officeDocument/2006/relationships/tableStyles" Target="tableStyles.xml"/><Relationship Id="rId12" Type="http://schemas.openxmlformats.org/officeDocument/2006/relationships/customXml" Target="../customXml/item12.xml"/><Relationship Id="rId33" Type="http://schemas.openxmlformats.org/officeDocument/2006/relationships/customXml" Target="../customXml/item33.xml"/><Relationship Id="rId108" Type="http://schemas.openxmlformats.org/officeDocument/2006/relationships/slide" Target="slides/slide28.xml"/><Relationship Id="rId129" Type="http://schemas.openxmlformats.org/officeDocument/2006/relationships/slide" Target="slides/slide49.xml"/><Relationship Id="rId54" Type="http://schemas.openxmlformats.org/officeDocument/2006/relationships/customXml" Target="../customXml/item54.xml"/><Relationship Id="rId75" Type="http://schemas.openxmlformats.org/officeDocument/2006/relationships/customXml" Target="../customXml/item75.xml"/><Relationship Id="rId96" Type="http://schemas.openxmlformats.org/officeDocument/2006/relationships/slide" Target="slides/slide16.xml"/><Relationship Id="rId140" Type="http://schemas.openxmlformats.org/officeDocument/2006/relationships/slide" Target="slides/slide60.xml"/><Relationship Id="rId161" Type="http://schemas.openxmlformats.org/officeDocument/2006/relationships/slide" Target="slides/slide81.xml"/><Relationship Id="rId182" Type="http://schemas.openxmlformats.org/officeDocument/2006/relationships/font" Target="fonts/font9.fntdata"/><Relationship Id="rId6" Type="http://schemas.openxmlformats.org/officeDocument/2006/relationships/customXml" Target="../customXml/item6.xml"/><Relationship Id="rId23" Type="http://schemas.openxmlformats.org/officeDocument/2006/relationships/customXml" Target="../customXml/item23.xml"/><Relationship Id="rId119" Type="http://schemas.openxmlformats.org/officeDocument/2006/relationships/slide" Target="slides/slide39.xml"/><Relationship Id="rId44" Type="http://schemas.openxmlformats.org/officeDocument/2006/relationships/customXml" Target="../customXml/item44.xml"/><Relationship Id="rId65" Type="http://schemas.openxmlformats.org/officeDocument/2006/relationships/customXml" Target="../customXml/item65.xml"/><Relationship Id="rId86" Type="http://schemas.openxmlformats.org/officeDocument/2006/relationships/slide" Target="slides/slide6.xml"/><Relationship Id="rId130" Type="http://schemas.openxmlformats.org/officeDocument/2006/relationships/slide" Target="slides/slide50.xml"/><Relationship Id="rId151" Type="http://schemas.openxmlformats.org/officeDocument/2006/relationships/slide" Target="slides/slide71.xml"/><Relationship Id="rId172" Type="http://schemas.openxmlformats.org/officeDocument/2006/relationships/notesMaster" Target="notesMasters/notesMaster1.xml"/><Relationship Id="rId193" Type="http://schemas.openxmlformats.org/officeDocument/2006/relationships/font" Target="fonts/font20.fntdata"/><Relationship Id="rId207" Type="http://schemas.microsoft.com/office/2016/11/relationships/changesInfo" Target="changesInfos/changesInfo1.xml"/><Relationship Id="rId13" Type="http://schemas.openxmlformats.org/officeDocument/2006/relationships/customXml" Target="../customXml/item13.xml"/><Relationship Id="rId109" Type="http://schemas.openxmlformats.org/officeDocument/2006/relationships/slide" Target="slides/slide29.xml"/><Relationship Id="rId34" Type="http://schemas.openxmlformats.org/officeDocument/2006/relationships/customXml" Target="../customXml/item34.xml"/><Relationship Id="rId55" Type="http://schemas.openxmlformats.org/officeDocument/2006/relationships/customXml" Target="../customXml/item55.xml"/><Relationship Id="rId76" Type="http://schemas.openxmlformats.org/officeDocument/2006/relationships/customXml" Target="../customXml/item76.xml"/><Relationship Id="rId97" Type="http://schemas.openxmlformats.org/officeDocument/2006/relationships/slide" Target="slides/slide17.xml"/><Relationship Id="rId120" Type="http://schemas.openxmlformats.org/officeDocument/2006/relationships/slide" Target="slides/slide40.xml"/><Relationship Id="rId141" Type="http://schemas.openxmlformats.org/officeDocument/2006/relationships/slide" Target="slides/slide61.xml"/><Relationship Id="rId7" Type="http://schemas.openxmlformats.org/officeDocument/2006/relationships/customXml" Target="../customXml/item7.xml"/><Relationship Id="rId162" Type="http://schemas.openxmlformats.org/officeDocument/2006/relationships/slide" Target="slides/slide82.xml"/><Relationship Id="rId183" Type="http://schemas.openxmlformats.org/officeDocument/2006/relationships/font" Target="fonts/font10.fntdata"/><Relationship Id="rId24" Type="http://schemas.openxmlformats.org/officeDocument/2006/relationships/customXml" Target="../customXml/item24.xml"/><Relationship Id="rId45" Type="http://schemas.openxmlformats.org/officeDocument/2006/relationships/customXml" Target="../customXml/item45.xml"/><Relationship Id="rId66" Type="http://schemas.openxmlformats.org/officeDocument/2006/relationships/customXml" Target="../customXml/item66.xml"/><Relationship Id="rId87" Type="http://schemas.openxmlformats.org/officeDocument/2006/relationships/slide" Target="slides/slide7.xml"/><Relationship Id="rId110" Type="http://schemas.openxmlformats.org/officeDocument/2006/relationships/slide" Target="slides/slide30.xml"/><Relationship Id="rId131" Type="http://schemas.openxmlformats.org/officeDocument/2006/relationships/slide" Target="slides/slide51.xml"/><Relationship Id="rId61" Type="http://schemas.openxmlformats.org/officeDocument/2006/relationships/customXml" Target="../customXml/item61.xml"/><Relationship Id="rId82" Type="http://schemas.openxmlformats.org/officeDocument/2006/relationships/slide" Target="slides/slide2.xml"/><Relationship Id="rId152" Type="http://schemas.openxmlformats.org/officeDocument/2006/relationships/slide" Target="slides/slide72.xml"/><Relationship Id="rId173" Type="http://schemas.openxmlformats.org/officeDocument/2006/relationships/handoutMaster" Target="handoutMasters/handoutMaster1.xml"/><Relationship Id="rId194" Type="http://schemas.openxmlformats.org/officeDocument/2006/relationships/font" Target="fonts/font21.fntdata"/><Relationship Id="rId199" Type="http://schemas.openxmlformats.org/officeDocument/2006/relationships/font" Target="fonts/font26.fntdata"/><Relationship Id="rId203" Type="http://schemas.openxmlformats.org/officeDocument/2006/relationships/presProps" Target="presProps.xml"/><Relationship Id="rId208" Type="http://schemas.microsoft.com/office/2015/10/relationships/revisionInfo" Target="revisionInfo.xml"/><Relationship Id="rId19" Type="http://schemas.openxmlformats.org/officeDocument/2006/relationships/customXml" Target="../customXml/item19.xml"/><Relationship Id="rId14" Type="http://schemas.openxmlformats.org/officeDocument/2006/relationships/customXml" Target="../customXml/item14.xml"/><Relationship Id="rId30" Type="http://schemas.openxmlformats.org/officeDocument/2006/relationships/customXml" Target="../customXml/item30.xml"/><Relationship Id="rId35" Type="http://schemas.openxmlformats.org/officeDocument/2006/relationships/customXml" Target="../customXml/item35.xml"/><Relationship Id="rId56" Type="http://schemas.openxmlformats.org/officeDocument/2006/relationships/customXml" Target="../customXml/item56.xml"/><Relationship Id="rId77" Type="http://schemas.openxmlformats.org/officeDocument/2006/relationships/customXml" Target="../customXml/item77.xml"/><Relationship Id="rId100" Type="http://schemas.openxmlformats.org/officeDocument/2006/relationships/slide" Target="slides/slide20.xml"/><Relationship Id="rId105" Type="http://schemas.openxmlformats.org/officeDocument/2006/relationships/slide" Target="slides/slide25.xml"/><Relationship Id="rId126" Type="http://schemas.openxmlformats.org/officeDocument/2006/relationships/slide" Target="slides/slide46.xml"/><Relationship Id="rId147" Type="http://schemas.openxmlformats.org/officeDocument/2006/relationships/slide" Target="slides/slide67.xml"/><Relationship Id="rId168" Type="http://schemas.openxmlformats.org/officeDocument/2006/relationships/slide" Target="slides/slide88.xml"/><Relationship Id="rId8" Type="http://schemas.openxmlformats.org/officeDocument/2006/relationships/customXml" Target="../customXml/item8.xml"/><Relationship Id="rId51" Type="http://schemas.openxmlformats.org/officeDocument/2006/relationships/customXml" Target="../customXml/item51.xml"/><Relationship Id="rId72" Type="http://schemas.openxmlformats.org/officeDocument/2006/relationships/customXml" Target="../customXml/item72.xml"/><Relationship Id="rId93" Type="http://schemas.openxmlformats.org/officeDocument/2006/relationships/slide" Target="slides/slide13.xml"/><Relationship Id="rId98" Type="http://schemas.openxmlformats.org/officeDocument/2006/relationships/slide" Target="slides/slide18.xml"/><Relationship Id="rId121" Type="http://schemas.openxmlformats.org/officeDocument/2006/relationships/slide" Target="slides/slide41.xml"/><Relationship Id="rId142" Type="http://schemas.openxmlformats.org/officeDocument/2006/relationships/slide" Target="slides/slide62.xml"/><Relationship Id="rId163" Type="http://schemas.openxmlformats.org/officeDocument/2006/relationships/slide" Target="slides/slide83.xml"/><Relationship Id="rId184" Type="http://schemas.openxmlformats.org/officeDocument/2006/relationships/font" Target="fonts/font11.fntdata"/><Relationship Id="rId189" Type="http://schemas.openxmlformats.org/officeDocument/2006/relationships/font" Target="fonts/font16.fntdata"/><Relationship Id="rId3" Type="http://schemas.openxmlformats.org/officeDocument/2006/relationships/customXml" Target="../customXml/item3.xml"/><Relationship Id="rId25" Type="http://schemas.openxmlformats.org/officeDocument/2006/relationships/customXml" Target="../customXml/item25.xml"/><Relationship Id="rId46" Type="http://schemas.openxmlformats.org/officeDocument/2006/relationships/customXml" Target="../customXml/item46.xml"/><Relationship Id="rId67" Type="http://schemas.openxmlformats.org/officeDocument/2006/relationships/customXml" Target="../customXml/item67.xml"/><Relationship Id="rId116" Type="http://schemas.openxmlformats.org/officeDocument/2006/relationships/slide" Target="slides/slide36.xml"/><Relationship Id="rId137" Type="http://schemas.openxmlformats.org/officeDocument/2006/relationships/slide" Target="slides/slide57.xml"/><Relationship Id="rId158" Type="http://schemas.openxmlformats.org/officeDocument/2006/relationships/slide" Target="slides/slide78.xml"/><Relationship Id="rId20" Type="http://schemas.openxmlformats.org/officeDocument/2006/relationships/customXml" Target="../customXml/item20.xml"/><Relationship Id="rId41" Type="http://schemas.openxmlformats.org/officeDocument/2006/relationships/customXml" Target="../customXml/item41.xml"/><Relationship Id="rId62" Type="http://schemas.openxmlformats.org/officeDocument/2006/relationships/customXml" Target="../customXml/item62.xml"/><Relationship Id="rId83" Type="http://schemas.openxmlformats.org/officeDocument/2006/relationships/slide" Target="slides/slide3.xml"/><Relationship Id="rId88" Type="http://schemas.openxmlformats.org/officeDocument/2006/relationships/slide" Target="slides/slide8.xml"/><Relationship Id="rId111" Type="http://schemas.openxmlformats.org/officeDocument/2006/relationships/slide" Target="slides/slide31.xml"/><Relationship Id="rId132" Type="http://schemas.openxmlformats.org/officeDocument/2006/relationships/slide" Target="slides/slide52.xml"/><Relationship Id="rId153" Type="http://schemas.openxmlformats.org/officeDocument/2006/relationships/slide" Target="slides/slide73.xml"/><Relationship Id="rId174" Type="http://schemas.openxmlformats.org/officeDocument/2006/relationships/font" Target="fonts/font1.fntdata"/><Relationship Id="rId179" Type="http://schemas.openxmlformats.org/officeDocument/2006/relationships/font" Target="fonts/font6.fntdata"/><Relationship Id="rId195" Type="http://schemas.openxmlformats.org/officeDocument/2006/relationships/font" Target="fonts/font22.fntdata"/><Relationship Id="rId209" Type="http://schemas.microsoft.com/office/2018/10/relationships/authors" Target="authors.xml"/><Relationship Id="rId190" Type="http://schemas.openxmlformats.org/officeDocument/2006/relationships/font" Target="fonts/font17.fntdata"/><Relationship Id="rId204" Type="http://schemas.openxmlformats.org/officeDocument/2006/relationships/viewProps" Target="viewProps.xml"/><Relationship Id="rId15" Type="http://schemas.openxmlformats.org/officeDocument/2006/relationships/customXml" Target="../customXml/item15.xml"/><Relationship Id="rId36" Type="http://schemas.openxmlformats.org/officeDocument/2006/relationships/customXml" Target="../customXml/item36.xml"/><Relationship Id="rId57" Type="http://schemas.openxmlformats.org/officeDocument/2006/relationships/customXml" Target="../customXml/item57.xml"/><Relationship Id="rId106" Type="http://schemas.openxmlformats.org/officeDocument/2006/relationships/slide" Target="slides/slide26.xml"/><Relationship Id="rId127" Type="http://schemas.openxmlformats.org/officeDocument/2006/relationships/slide" Target="slides/slide47.xml"/><Relationship Id="rId10" Type="http://schemas.openxmlformats.org/officeDocument/2006/relationships/customXml" Target="../customXml/item10.xml"/><Relationship Id="rId31" Type="http://schemas.openxmlformats.org/officeDocument/2006/relationships/customXml" Target="../customXml/item31.xml"/><Relationship Id="rId52" Type="http://schemas.openxmlformats.org/officeDocument/2006/relationships/customXml" Target="../customXml/item52.xml"/><Relationship Id="rId73" Type="http://schemas.openxmlformats.org/officeDocument/2006/relationships/customXml" Target="../customXml/item73.xml"/><Relationship Id="rId78" Type="http://schemas.openxmlformats.org/officeDocument/2006/relationships/customXml" Target="../customXml/item78.xml"/><Relationship Id="rId94" Type="http://schemas.openxmlformats.org/officeDocument/2006/relationships/slide" Target="slides/slide14.xml"/><Relationship Id="rId99" Type="http://schemas.openxmlformats.org/officeDocument/2006/relationships/slide" Target="slides/slide19.xml"/><Relationship Id="rId101" Type="http://schemas.openxmlformats.org/officeDocument/2006/relationships/slide" Target="slides/slide21.xml"/><Relationship Id="rId122" Type="http://schemas.openxmlformats.org/officeDocument/2006/relationships/slide" Target="slides/slide42.xml"/><Relationship Id="rId143" Type="http://schemas.openxmlformats.org/officeDocument/2006/relationships/slide" Target="slides/slide63.xml"/><Relationship Id="rId148" Type="http://schemas.openxmlformats.org/officeDocument/2006/relationships/slide" Target="slides/slide68.xml"/><Relationship Id="rId164" Type="http://schemas.openxmlformats.org/officeDocument/2006/relationships/slide" Target="slides/slide84.xml"/><Relationship Id="rId169" Type="http://schemas.openxmlformats.org/officeDocument/2006/relationships/slide" Target="slides/slide89.xml"/><Relationship Id="rId185" Type="http://schemas.openxmlformats.org/officeDocument/2006/relationships/font" Target="fonts/font12.fntdata"/><Relationship Id="rId4" Type="http://schemas.openxmlformats.org/officeDocument/2006/relationships/customXml" Target="../customXml/item4.xml"/><Relationship Id="rId9" Type="http://schemas.openxmlformats.org/officeDocument/2006/relationships/customXml" Target="../customXml/item9.xml"/><Relationship Id="rId180" Type="http://schemas.openxmlformats.org/officeDocument/2006/relationships/font" Target="fonts/font7.fntdata"/><Relationship Id="rId26" Type="http://schemas.openxmlformats.org/officeDocument/2006/relationships/customXml" Target="../customXml/item26.xml"/><Relationship Id="rId47" Type="http://schemas.openxmlformats.org/officeDocument/2006/relationships/customXml" Target="../customXml/item47.xml"/><Relationship Id="rId68" Type="http://schemas.openxmlformats.org/officeDocument/2006/relationships/customXml" Target="../customXml/item68.xml"/><Relationship Id="rId89" Type="http://schemas.openxmlformats.org/officeDocument/2006/relationships/slide" Target="slides/slide9.xml"/><Relationship Id="rId112" Type="http://schemas.openxmlformats.org/officeDocument/2006/relationships/slide" Target="slides/slide32.xml"/><Relationship Id="rId133" Type="http://schemas.openxmlformats.org/officeDocument/2006/relationships/slide" Target="slides/slide53.xml"/><Relationship Id="rId154" Type="http://schemas.openxmlformats.org/officeDocument/2006/relationships/slide" Target="slides/slide74.xml"/><Relationship Id="rId175" Type="http://schemas.openxmlformats.org/officeDocument/2006/relationships/font" Target="fonts/font2.fntdata"/><Relationship Id="rId196" Type="http://schemas.openxmlformats.org/officeDocument/2006/relationships/font" Target="fonts/font23.fntdata"/><Relationship Id="rId200" Type="http://schemas.openxmlformats.org/officeDocument/2006/relationships/font" Target="fonts/font27.fntdata"/><Relationship Id="rId16" Type="http://schemas.openxmlformats.org/officeDocument/2006/relationships/customXml" Target="../customXml/item16.xml"/><Relationship Id="rId37" Type="http://schemas.openxmlformats.org/officeDocument/2006/relationships/customXml" Target="../customXml/item37.xml"/><Relationship Id="rId58" Type="http://schemas.openxmlformats.org/officeDocument/2006/relationships/customXml" Target="../customXml/item58.xml"/><Relationship Id="rId79" Type="http://schemas.openxmlformats.org/officeDocument/2006/relationships/customXml" Target="../customXml/item79.xml"/><Relationship Id="rId102" Type="http://schemas.openxmlformats.org/officeDocument/2006/relationships/slide" Target="slides/slide22.xml"/><Relationship Id="rId123" Type="http://schemas.openxmlformats.org/officeDocument/2006/relationships/slide" Target="slides/slide43.xml"/><Relationship Id="rId144" Type="http://schemas.openxmlformats.org/officeDocument/2006/relationships/slide" Target="slides/slide64.xml"/><Relationship Id="rId90" Type="http://schemas.openxmlformats.org/officeDocument/2006/relationships/slide" Target="slides/slide10.xml"/><Relationship Id="rId165" Type="http://schemas.openxmlformats.org/officeDocument/2006/relationships/slide" Target="slides/slide85.xml"/><Relationship Id="rId186" Type="http://schemas.openxmlformats.org/officeDocument/2006/relationships/font" Target="fonts/font13.fntdata"/><Relationship Id="rId27" Type="http://schemas.openxmlformats.org/officeDocument/2006/relationships/customXml" Target="../customXml/item27.xml"/><Relationship Id="rId48" Type="http://schemas.openxmlformats.org/officeDocument/2006/relationships/customXml" Target="../customXml/item48.xml"/><Relationship Id="rId69" Type="http://schemas.openxmlformats.org/officeDocument/2006/relationships/customXml" Target="../customXml/item69.xml"/><Relationship Id="rId113" Type="http://schemas.openxmlformats.org/officeDocument/2006/relationships/slide" Target="slides/slide33.xml"/><Relationship Id="rId134" Type="http://schemas.openxmlformats.org/officeDocument/2006/relationships/slide" Target="slides/slide54.xml"/><Relationship Id="rId80" Type="http://schemas.openxmlformats.org/officeDocument/2006/relationships/slideMaster" Target="slideMasters/slideMaster1.xml"/><Relationship Id="rId155" Type="http://schemas.openxmlformats.org/officeDocument/2006/relationships/slide" Target="slides/slide75.xml"/><Relationship Id="rId176" Type="http://schemas.openxmlformats.org/officeDocument/2006/relationships/font" Target="fonts/font3.fntdata"/><Relationship Id="rId197" Type="http://schemas.openxmlformats.org/officeDocument/2006/relationships/font" Target="fonts/font24.fntdata"/><Relationship Id="rId201" Type="http://schemas.openxmlformats.org/officeDocument/2006/relationships/font" Target="fonts/font28.fntdata"/><Relationship Id="rId17" Type="http://schemas.openxmlformats.org/officeDocument/2006/relationships/customXml" Target="../customXml/item17.xml"/><Relationship Id="rId38" Type="http://schemas.openxmlformats.org/officeDocument/2006/relationships/customXml" Target="../customXml/item38.xml"/><Relationship Id="rId59" Type="http://schemas.openxmlformats.org/officeDocument/2006/relationships/customXml" Target="../customXml/item59.xml"/><Relationship Id="rId103" Type="http://schemas.openxmlformats.org/officeDocument/2006/relationships/slide" Target="slides/slide23.xml"/><Relationship Id="rId124" Type="http://schemas.openxmlformats.org/officeDocument/2006/relationships/slide" Target="slides/slide44.xml"/><Relationship Id="rId70" Type="http://schemas.openxmlformats.org/officeDocument/2006/relationships/customXml" Target="../customXml/item70.xml"/><Relationship Id="rId91" Type="http://schemas.openxmlformats.org/officeDocument/2006/relationships/slide" Target="slides/slide11.xml"/><Relationship Id="rId145" Type="http://schemas.openxmlformats.org/officeDocument/2006/relationships/slide" Target="slides/slide65.xml"/><Relationship Id="rId166" Type="http://schemas.openxmlformats.org/officeDocument/2006/relationships/slide" Target="slides/slide86.xml"/><Relationship Id="rId187" Type="http://schemas.openxmlformats.org/officeDocument/2006/relationships/font" Target="fonts/font14.fntdata"/><Relationship Id="rId1" Type="http://schemas.openxmlformats.org/officeDocument/2006/relationships/customXml" Target="../customXml/item1.xml"/><Relationship Id="rId28" Type="http://schemas.openxmlformats.org/officeDocument/2006/relationships/customXml" Target="../customXml/item28.xml"/><Relationship Id="rId49" Type="http://schemas.openxmlformats.org/officeDocument/2006/relationships/customXml" Target="../customXml/item49.xml"/><Relationship Id="rId114" Type="http://schemas.openxmlformats.org/officeDocument/2006/relationships/slide" Target="slides/slide34.xml"/><Relationship Id="rId60" Type="http://schemas.openxmlformats.org/officeDocument/2006/relationships/customXml" Target="../customXml/item60.xml"/><Relationship Id="rId81" Type="http://schemas.openxmlformats.org/officeDocument/2006/relationships/slide" Target="slides/slide1.xml"/><Relationship Id="rId135" Type="http://schemas.openxmlformats.org/officeDocument/2006/relationships/slide" Target="slides/slide55.xml"/><Relationship Id="rId156" Type="http://schemas.openxmlformats.org/officeDocument/2006/relationships/slide" Target="slides/slide76.xml"/><Relationship Id="rId177" Type="http://schemas.openxmlformats.org/officeDocument/2006/relationships/font" Target="fonts/font4.fntdata"/><Relationship Id="rId198" Type="http://schemas.openxmlformats.org/officeDocument/2006/relationships/font" Target="fonts/font25.fntdata"/><Relationship Id="rId202" Type="http://schemas.openxmlformats.org/officeDocument/2006/relationships/tags" Target="tags/tag1.xml"/><Relationship Id="rId18" Type="http://schemas.openxmlformats.org/officeDocument/2006/relationships/customXml" Target="../customXml/item18.xml"/><Relationship Id="rId39" Type="http://schemas.openxmlformats.org/officeDocument/2006/relationships/customXml" Target="../customXml/item39.xml"/><Relationship Id="rId50" Type="http://schemas.openxmlformats.org/officeDocument/2006/relationships/customXml" Target="../customXml/item50.xml"/><Relationship Id="rId104" Type="http://schemas.openxmlformats.org/officeDocument/2006/relationships/slide" Target="slides/slide24.xml"/><Relationship Id="rId125" Type="http://schemas.openxmlformats.org/officeDocument/2006/relationships/slide" Target="slides/slide45.xml"/><Relationship Id="rId146" Type="http://schemas.openxmlformats.org/officeDocument/2006/relationships/slide" Target="slides/slide66.xml"/><Relationship Id="rId167" Type="http://schemas.openxmlformats.org/officeDocument/2006/relationships/slide" Target="slides/slide87.xml"/><Relationship Id="rId188" Type="http://schemas.openxmlformats.org/officeDocument/2006/relationships/font" Target="fonts/font15.fntdata"/><Relationship Id="rId71" Type="http://schemas.openxmlformats.org/officeDocument/2006/relationships/customXml" Target="../customXml/item71.xml"/><Relationship Id="rId92" Type="http://schemas.openxmlformats.org/officeDocument/2006/relationships/slide" Target="slides/slide12.xml"/><Relationship Id="rId2" Type="http://schemas.openxmlformats.org/officeDocument/2006/relationships/customXml" Target="../customXml/item2.xml"/><Relationship Id="rId29" Type="http://schemas.openxmlformats.org/officeDocument/2006/relationships/customXml" Target="../customXml/item29.xml"/><Relationship Id="rId40" Type="http://schemas.openxmlformats.org/officeDocument/2006/relationships/customXml" Target="../customXml/item40.xml"/><Relationship Id="rId115" Type="http://schemas.openxmlformats.org/officeDocument/2006/relationships/slide" Target="slides/slide35.xml"/><Relationship Id="rId136" Type="http://schemas.openxmlformats.org/officeDocument/2006/relationships/slide" Target="slides/slide56.xml"/><Relationship Id="rId157" Type="http://schemas.openxmlformats.org/officeDocument/2006/relationships/slide" Target="slides/slide77.xml"/><Relationship Id="rId178" Type="http://schemas.openxmlformats.org/officeDocument/2006/relationships/font" Target="fonts/font5.fntdata"/></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Lorenz, Nils" userId="3f5c7925-df17-4f30-a1fc-184c4ee37b8c" providerId="ADAL" clId="{63A8811C-AE57-439C-B4A9-47F39DA4AC98}"/>
    <pc:docChg chg="custSel modSld modMainMaster">
      <pc:chgData name="Lorenz, Nils" userId="3f5c7925-df17-4f30-a1fc-184c4ee37b8c" providerId="ADAL" clId="{63A8811C-AE57-439C-B4A9-47F39DA4AC98}" dt="2024-12-12T11:37:11.409" v="25" actId="6549"/>
      <pc:docMkLst>
        <pc:docMk/>
      </pc:docMkLst>
      <pc:sldChg chg="modNotesTx">
        <pc:chgData name="Lorenz, Nils" userId="3f5c7925-df17-4f30-a1fc-184c4ee37b8c" providerId="ADAL" clId="{63A8811C-AE57-439C-B4A9-47F39DA4AC98}" dt="2024-12-12T11:36:54.451" v="22"/>
        <pc:sldMkLst>
          <pc:docMk/>
          <pc:sldMk cId="0" sldId="344"/>
        </pc:sldMkLst>
      </pc:sldChg>
      <pc:sldChg chg="modNotesTx">
        <pc:chgData name="Lorenz, Nils" userId="3f5c7925-df17-4f30-a1fc-184c4ee37b8c" providerId="ADAL" clId="{63A8811C-AE57-439C-B4A9-47F39DA4AC98}" dt="2024-12-12T11:37:11.409" v="25" actId="6549"/>
        <pc:sldMkLst>
          <pc:docMk/>
          <pc:sldMk cId="887263485" sldId="2147483637"/>
        </pc:sldMkLst>
      </pc:sldChg>
      <pc:sldMasterChg chg="modSldLayout">
        <pc:chgData name="Lorenz, Nils" userId="3f5c7925-df17-4f30-a1fc-184c4ee37b8c" providerId="ADAL" clId="{63A8811C-AE57-439C-B4A9-47F39DA4AC98}" dt="2024-12-12T11:34:57.403" v="21" actId="139"/>
        <pc:sldMasterMkLst>
          <pc:docMk/>
          <pc:sldMasterMk cId="3408294523" sldId="2147483733"/>
        </pc:sldMasterMkLst>
        <pc:sldLayoutChg chg="modSp mod">
          <pc:chgData name="Lorenz, Nils" userId="3f5c7925-df17-4f30-a1fc-184c4ee37b8c" providerId="ADAL" clId="{63A8811C-AE57-439C-B4A9-47F39DA4AC98}" dt="2024-12-12T11:34:57.342" v="1" actId="139"/>
          <pc:sldLayoutMkLst>
            <pc:docMk/>
            <pc:sldMasterMk cId="3408294523" sldId="2147483733"/>
            <pc:sldLayoutMk cId="1982410628" sldId="2147483773"/>
          </pc:sldLayoutMkLst>
          <pc:spChg chg="mod">
            <ac:chgData name="Lorenz, Nils" userId="3f5c7925-df17-4f30-a1fc-184c4ee37b8c" providerId="ADAL" clId="{63A8811C-AE57-439C-B4A9-47F39DA4AC98}" dt="2024-12-12T11:34:57.342" v="1" actId="139"/>
            <ac:spMkLst>
              <pc:docMk/>
              <pc:sldMasterMk cId="3408294523" sldId="2147483733"/>
              <pc:sldLayoutMk cId="1982410628" sldId="2147483773"/>
              <ac:spMk id="6" creationId="{870EB466-B92B-9D4D-974E-A49C0F424152}"/>
            </ac:spMkLst>
          </pc:spChg>
        </pc:sldLayoutChg>
        <pc:sldLayoutChg chg="modSp mod">
          <pc:chgData name="Lorenz, Nils" userId="3f5c7925-df17-4f30-a1fc-184c4ee37b8c" providerId="ADAL" clId="{63A8811C-AE57-439C-B4A9-47F39DA4AC98}" dt="2024-12-12T11:34:57.361" v="7" actId="139"/>
          <pc:sldLayoutMkLst>
            <pc:docMk/>
            <pc:sldMasterMk cId="3408294523" sldId="2147483733"/>
            <pc:sldLayoutMk cId="1084997862" sldId="2147483777"/>
          </pc:sldLayoutMkLst>
          <pc:spChg chg="mod">
            <ac:chgData name="Lorenz, Nils" userId="3f5c7925-df17-4f30-a1fc-184c4ee37b8c" providerId="ADAL" clId="{63A8811C-AE57-439C-B4A9-47F39DA4AC98}" dt="2024-12-12T11:34:57.361" v="7" actId="139"/>
            <ac:spMkLst>
              <pc:docMk/>
              <pc:sldMasterMk cId="3408294523" sldId="2147483733"/>
              <pc:sldLayoutMk cId="1084997862" sldId="2147483777"/>
              <ac:spMk id="4" creationId="{13EDB9F6-FBDA-8ED8-A84B-244CC53CFF99}"/>
            </ac:spMkLst>
          </pc:spChg>
        </pc:sldLayoutChg>
        <pc:sldLayoutChg chg="modSp mod">
          <pc:chgData name="Lorenz, Nils" userId="3f5c7925-df17-4f30-a1fc-184c4ee37b8c" providerId="ADAL" clId="{63A8811C-AE57-439C-B4A9-47F39DA4AC98}" dt="2024-12-12T11:34:57.351" v="3" actId="139"/>
          <pc:sldLayoutMkLst>
            <pc:docMk/>
            <pc:sldMasterMk cId="3408294523" sldId="2147483733"/>
            <pc:sldLayoutMk cId="2667257257" sldId="2147483780"/>
          </pc:sldLayoutMkLst>
          <pc:spChg chg="mod">
            <ac:chgData name="Lorenz, Nils" userId="3f5c7925-df17-4f30-a1fc-184c4ee37b8c" providerId="ADAL" clId="{63A8811C-AE57-439C-B4A9-47F39DA4AC98}" dt="2024-12-12T11:34:57.351" v="3" actId="139"/>
            <ac:spMkLst>
              <pc:docMk/>
              <pc:sldMasterMk cId="3408294523" sldId="2147483733"/>
              <pc:sldLayoutMk cId="2667257257" sldId="2147483780"/>
              <ac:spMk id="7" creationId="{1D05DC80-84C9-9ECA-3B84-3577D8D81659}"/>
            </ac:spMkLst>
          </pc:spChg>
        </pc:sldLayoutChg>
        <pc:sldLayoutChg chg="modSp mod">
          <pc:chgData name="Lorenz, Nils" userId="3f5c7925-df17-4f30-a1fc-184c4ee37b8c" providerId="ADAL" clId="{63A8811C-AE57-439C-B4A9-47F39DA4AC98}" dt="2024-12-12T11:34:57.356" v="5" actId="139"/>
          <pc:sldLayoutMkLst>
            <pc:docMk/>
            <pc:sldMasterMk cId="3408294523" sldId="2147483733"/>
            <pc:sldLayoutMk cId="277845837" sldId="2147483787"/>
          </pc:sldLayoutMkLst>
          <pc:spChg chg="mod">
            <ac:chgData name="Lorenz, Nils" userId="3f5c7925-df17-4f30-a1fc-184c4ee37b8c" providerId="ADAL" clId="{63A8811C-AE57-439C-B4A9-47F39DA4AC98}" dt="2024-12-12T11:34:57.356" v="5" actId="139"/>
            <ac:spMkLst>
              <pc:docMk/>
              <pc:sldMasterMk cId="3408294523" sldId="2147483733"/>
              <pc:sldLayoutMk cId="277845837" sldId="2147483787"/>
              <ac:spMk id="8" creationId="{F1333C1B-AD40-D53A-5A1E-EFB8C6390D49}"/>
            </ac:spMkLst>
          </pc:spChg>
        </pc:sldLayoutChg>
        <pc:sldLayoutChg chg="modSp mod">
          <pc:chgData name="Lorenz, Nils" userId="3f5c7925-df17-4f30-a1fc-184c4ee37b8c" providerId="ADAL" clId="{63A8811C-AE57-439C-B4A9-47F39DA4AC98}" dt="2024-12-12T11:34:57.368" v="9" actId="139"/>
          <pc:sldLayoutMkLst>
            <pc:docMk/>
            <pc:sldMasterMk cId="3408294523" sldId="2147483733"/>
            <pc:sldLayoutMk cId="2183850539" sldId="2147483788"/>
          </pc:sldLayoutMkLst>
          <pc:spChg chg="mod">
            <ac:chgData name="Lorenz, Nils" userId="3f5c7925-df17-4f30-a1fc-184c4ee37b8c" providerId="ADAL" clId="{63A8811C-AE57-439C-B4A9-47F39DA4AC98}" dt="2024-12-12T11:34:57.368" v="9" actId="139"/>
            <ac:spMkLst>
              <pc:docMk/>
              <pc:sldMasterMk cId="3408294523" sldId="2147483733"/>
              <pc:sldLayoutMk cId="2183850539" sldId="2147483788"/>
              <ac:spMk id="9" creationId="{CE0C2033-6FDF-7DD6-E25C-C03296FDAD00}"/>
            </ac:spMkLst>
          </pc:spChg>
        </pc:sldLayoutChg>
        <pc:sldLayoutChg chg="modSp mod">
          <pc:chgData name="Lorenz, Nils" userId="3f5c7925-df17-4f30-a1fc-184c4ee37b8c" providerId="ADAL" clId="{63A8811C-AE57-439C-B4A9-47F39DA4AC98}" dt="2024-12-12T11:34:57.375" v="11" actId="139"/>
          <pc:sldLayoutMkLst>
            <pc:docMk/>
            <pc:sldMasterMk cId="3408294523" sldId="2147483733"/>
            <pc:sldLayoutMk cId="1554761476" sldId="2147483789"/>
          </pc:sldLayoutMkLst>
          <pc:spChg chg="mod">
            <ac:chgData name="Lorenz, Nils" userId="3f5c7925-df17-4f30-a1fc-184c4ee37b8c" providerId="ADAL" clId="{63A8811C-AE57-439C-B4A9-47F39DA4AC98}" dt="2024-12-12T11:34:57.375" v="11" actId="139"/>
            <ac:spMkLst>
              <pc:docMk/>
              <pc:sldMasterMk cId="3408294523" sldId="2147483733"/>
              <pc:sldLayoutMk cId="1554761476" sldId="2147483789"/>
              <ac:spMk id="11" creationId="{62D91ACB-BD14-46CB-4B61-F4B072D877C0}"/>
            </ac:spMkLst>
          </pc:spChg>
        </pc:sldLayoutChg>
        <pc:sldLayoutChg chg="modSp mod">
          <pc:chgData name="Lorenz, Nils" userId="3f5c7925-df17-4f30-a1fc-184c4ee37b8c" providerId="ADAL" clId="{63A8811C-AE57-439C-B4A9-47F39DA4AC98}" dt="2024-12-12T11:34:57.382" v="13" actId="139"/>
          <pc:sldLayoutMkLst>
            <pc:docMk/>
            <pc:sldMasterMk cId="3408294523" sldId="2147483733"/>
            <pc:sldLayoutMk cId="1315975548" sldId="2147483790"/>
          </pc:sldLayoutMkLst>
          <pc:spChg chg="mod">
            <ac:chgData name="Lorenz, Nils" userId="3f5c7925-df17-4f30-a1fc-184c4ee37b8c" providerId="ADAL" clId="{63A8811C-AE57-439C-B4A9-47F39DA4AC98}" dt="2024-12-12T11:34:57.382" v="13" actId="139"/>
            <ac:spMkLst>
              <pc:docMk/>
              <pc:sldMasterMk cId="3408294523" sldId="2147483733"/>
              <pc:sldLayoutMk cId="1315975548" sldId="2147483790"/>
              <ac:spMk id="3" creationId="{D417CEF6-1FCD-75B6-FA13-C583ECCE7BE5}"/>
            </ac:spMkLst>
          </pc:spChg>
        </pc:sldLayoutChg>
        <pc:sldLayoutChg chg="modSp mod">
          <pc:chgData name="Lorenz, Nils" userId="3f5c7925-df17-4f30-a1fc-184c4ee37b8c" providerId="ADAL" clId="{63A8811C-AE57-439C-B4A9-47F39DA4AC98}" dt="2024-12-12T11:34:57.387" v="15" actId="139"/>
          <pc:sldLayoutMkLst>
            <pc:docMk/>
            <pc:sldMasterMk cId="3408294523" sldId="2147483733"/>
            <pc:sldLayoutMk cId="4293282121" sldId="2147483791"/>
          </pc:sldLayoutMkLst>
          <pc:spChg chg="mod">
            <ac:chgData name="Lorenz, Nils" userId="3f5c7925-df17-4f30-a1fc-184c4ee37b8c" providerId="ADAL" clId="{63A8811C-AE57-439C-B4A9-47F39DA4AC98}" dt="2024-12-12T11:34:57.387" v="15" actId="139"/>
            <ac:spMkLst>
              <pc:docMk/>
              <pc:sldMasterMk cId="3408294523" sldId="2147483733"/>
              <pc:sldLayoutMk cId="4293282121" sldId="2147483791"/>
              <ac:spMk id="3" creationId="{D67AB148-356D-F356-4E6C-9664D9EB9DF3}"/>
            </ac:spMkLst>
          </pc:spChg>
        </pc:sldLayoutChg>
        <pc:sldLayoutChg chg="modSp mod">
          <pc:chgData name="Lorenz, Nils" userId="3f5c7925-df17-4f30-a1fc-184c4ee37b8c" providerId="ADAL" clId="{63A8811C-AE57-439C-B4A9-47F39DA4AC98}" dt="2024-12-12T11:34:57.391" v="17" actId="139"/>
          <pc:sldLayoutMkLst>
            <pc:docMk/>
            <pc:sldMasterMk cId="3408294523" sldId="2147483733"/>
            <pc:sldLayoutMk cId="2910220013" sldId="2147483792"/>
          </pc:sldLayoutMkLst>
          <pc:spChg chg="mod">
            <ac:chgData name="Lorenz, Nils" userId="3f5c7925-df17-4f30-a1fc-184c4ee37b8c" providerId="ADAL" clId="{63A8811C-AE57-439C-B4A9-47F39DA4AC98}" dt="2024-12-12T11:34:57.391" v="17" actId="139"/>
            <ac:spMkLst>
              <pc:docMk/>
              <pc:sldMasterMk cId="3408294523" sldId="2147483733"/>
              <pc:sldLayoutMk cId="2910220013" sldId="2147483792"/>
              <ac:spMk id="3" creationId="{BBFBBDC3-D031-6041-465D-9F7147F423CF}"/>
            </ac:spMkLst>
          </pc:spChg>
        </pc:sldLayoutChg>
        <pc:sldLayoutChg chg="modSp mod">
          <pc:chgData name="Lorenz, Nils" userId="3f5c7925-df17-4f30-a1fc-184c4ee37b8c" providerId="ADAL" clId="{63A8811C-AE57-439C-B4A9-47F39DA4AC98}" dt="2024-12-12T11:34:57.399" v="19" actId="139"/>
          <pc:sldLayoutMkLst>
            <pc:docMk/>
            <pc:sldMasterMk cId="3408294523" sldId="2147483733"/>
            <pc:sldLayoutMk cId="1043655704" sldId="2147483793"/>
          </pc:sldLayoutMkLst>
          <pc:spChg chg="mod">
            <ac:chgData name="Lorenz, Nils" userId="3f5c7925-df17-4f30-a1fc-184c4ee37b8c" providerId="ADAL" clId="{63A8811C-AE57-439C-B4A9-47F39DA4AC98}" dt="2024-12-12T11:34:57.399" v="19" actId="139"/>
            <ac:spMkLst>
              <pc:docMk/>
              <pc:sldMasterMk cId="3408294523" sldId="2147483733"/>
              <pc:sldLayoutMk cId="1043655704" sldId="2147483793"/>
              <ac:spMk id="3" creationId="{4A078429-99DD-7555-B0F4-FEF46FD297B0}"/>
            </ac:spMkLst>
          </pc:spChg>
        </pc:sldLayoutChg>
        <pc:sldLayoutChg chg="modSp mod">
          <pc:chgData name="Lorenz, Nils" userId="3f5c7925-df17-4f30-a1fc-184c4ee37b8c" providerId="ADAL" clId="{63A8811C-AE57-439C-B4A9-47F39DA4AC98}" dt="2024-12-12T11:34:57.403" v="21" actId="139"/>
          <pc:sldLayoutMkLst>
            <pc:docMk/>
            <pc:sldMasterMk cId="3408294523" sldId="2147483733"/>
            <pc:sldLayoutMk cId="1979749642" sldId="2147483794"/>
          </pc:sldLayoutMkLst>
          <pc:spChg chg="mod">
            <ac:chgData name="Lorenz, Nils" userId="3f5c7925-df17-4f30-a1fc-184c4ee37b8c" providerId="ADAL" clId="{63A8811C-AE57-439C-B4A9-47F39DA4AC98}" dt="2024-12-12T11:34:57.403" v="21" actId="139"/>
            <ac:spMkLst>
              <pc:docMk/>
              <pc:sldMasterMk cId="3408294523" sldId="2147483733"/>
              <pc:sldLayoutMk cId="1979749642" sldId="2147483794"/>
              <ac:spMk id="5" creationId="{7A6CB977-D711-D436-9DC2-AAFCC56F9CAA}"/>
            </ac:spMkLst>
          </pc:spChg>
        </pc:sldLayoutChg>
      </pc:sldMasterChg>
    </pc:docChg>
  </pc:docChgLst>
  <pc:docChgLst>
    <pc:chgData name="Okos, Florian" userId="S::florian.okos@sap.com::40f8031e-7e80-4995-afe7-257422c635be" providerId="AD" clId="Web-{170CCB6F-A50E-4ECD-AFCC-3772E7D61174}"/>
    <pc:docChg chg="modSld">
      <pc:chgData name="Okos, Florian" userId="S::florian.okos@sap.com::40f8031e-7e80-4995-afe7-257422c635be" providerId="AD" clId="Web-{170CCB6F-A50E-4ECD-AFCC-3772E7D61174}" dt="2024-06-27T14:52:11.731" v="47"/>
      <pc:docMkLst>
        <pc:docMk/>
      </pc:docMkLst>
      <pc:sldChg chg="modSp">
        <pc:chgData name="Okos, Florian" userId="S::florian.okos@sap.com::40f8031e-7e80-4995-afe7-257422c635be" providerId="AD" clId="Web-{170CCB6F-A50E-4ECD-AFCC-3772E7D61174}" dt="2024-06-27T14:52:11.731" v="47"/>
        <pc:sldMkLst>
          <pc:docMk/>
          <pc:sldMk cId="3639523501" sldId="2147483605"/>
        </pc:sldMkLst>
      </pc:sldChg>
    </pc:docChg>
  </pc:docChgLst>
  <pc:docChgLst>
    <pc:chgData name="Lorenz, Nils" userId="3f5c7925-df17-4f30-a1fc-184c4ee37b8c" providerId="ADAL" clId="{AF486BAC-7599-40AF-BEA9-6F990C7494E8}"/>
    <pc:docChg chg="undo redo custSel addSld delSld modSld sldOrd modMainMaster modSection">
      <pc:chgData name="Lorenz, Nils" userId="3f5c7925-df17-4f30-a1fc-184c4ee37b8c" providerId="ADAL" clId="{AF486BAC-7599-40AF-BEA9-6F990C7494E8}" dt="2024-09-26T12:05:07.642" v="1954" actId="139"/>
      <pc:docMkLst>
        <pc:docMk/>
      </pc:docMkLst>
      <pc:sldChg chg="addSp modSp add mod ord modTransition modNotesTx">
        <pc:chgData name="Lorenz, Nils" userId="3f5c7925-df17-4f30-a1fc-184c4ee37b8c" providerId="ADAL" clId="{AF486BAC-7599-40AF-BEA9-6F990C7494E8}" dt="2024-09-16T06:05:59.323" v="1645" actId="171"/>
        <pc:sldMkLst>
          <pc:docMk/>
          <pc:sldMk cId="416877097" sldId="256"/>
        </pc:sldMkLst>
        <pc:picChg chg="mod">
          <ac:chgData name="Lorenz, Nils" userId="3f5c7925-df17-4f30-a1fc-184c4ee37b8c" providerId="ADAL" clId="{AF486BAC-7599-40AF-BEA9-6F990C7494E8}" dt="2024-09-16T05:58:09.881" v="1586" actId="1076"/>
          <ac:picMkLst>
            <pc:docMk/>
            <pc:sldMk cId="416877097" sldId="256"/>
            <ac:picMk id="6" creationId="{CFA1B4D8-2801-428C-68F1-AA2009DA96A4}"/>
          </ac:picMkLst>
        </pc:picChg>
        <pc:picChg chg="add mod ord">
          <ac:chgData name="Lorenz, Nils" userId="3f5c7925-df17-4f30-a1fc-184c4ee37b8c" providerId="ADAL" clId="{AF486BAC-7599-40AF-BEA9-6F990C7494E8}" dt="2024-09-16T06:05:59.323" v="1645" actId="171"/>
          <ac:picMkLst>
            <pc:docMk/>
            <pc:sldMk cId="416877097" sldId="256"/>
            <ac:picMk id="7" creationId="{AB0413F7-592A-DAAC-A55A-D6EFA462FA32}"/>
          </ac:picMkLst>
        </pc:picChg>
      </pc:sldChg>
      <pc:sldChg chg="addSp delSp modSp add del mod modTransition">
        <pc:chgData name="Lorenz, Nils" userId="3f5c7925-df17-4f30-a1fc-184c4ee37b8c" providerId="ADAL" clId="{AF486BAC-7599-40AF-BEA9-6F990C7494E8}" dt="2024-09-16T06:24:27.191" v="1872"/>
        <pc:sldMkLst>
          <pc:docMk/>
          <pc:sldMk cId="2747357744" sldId="257"/>
        </pc:sldMkLst>
        <pc:spChg chg="add del mod">
          <ac:chgData name="Lorenz, Nils" userId="3f5c7925-df17-4f30-a1fc-184c4ee37b8c" providerId="ADAL" clId="{AF486BAC-7599-40AF-BEA9-6F990C7494E8}" dt="2024-09-16T06:24:06.101" v="1865"/>
          <ac:spMkLst>
            <pc:docMk/>
            <pc:sldMk cId="2747357744" sldId="257"/>
            <ac:spMk id="3" creationId="{72D85089-CE90-0ACF-539A-47F4F63C21A1}"/>
          </ac:spMkLst>
        </pc:spChg>
        <pc:picChg chg="mod">
          <ac:chgData name="Lorenz, Nils" userId="3f5c7925-df17-4f30-a1fc-184c4ee37b8c" providerId="ADAL" clId="{AF486BAC-7599-40AF-BEA9-6F990C7494E8}" dt="2024-09-16T06:24:16.192" v="1871" actId="1076"/>
          <ac:picMkLst>
            <pc:docMk/>
            <pc:sldMk cId="2747357744" sldId="257"/>
            <ac:picMk id="1026" creationId="{B9CC3017-F51B-88F2-CABA-DBC6B49E5E8D}"/>
          </ac:picMkLst>
        </pc:picChg>
      </pc:sldChg>
      <pc:sldChg chg="add del">
        <pc:chgData name="Lorenz, Nils" userId="3f5c7925-df17-4f30-a1fc-184c4ee37b8c" providerId="ADAL" clId="{AF486BAC-7599-40AF-BEA9-6F990C7494E8}" dt="2024-09-16T05:59:09.518" v="1595" actId="47"/>
        <pc:sldMkLst>
          <pc:docMk/>
          <pc:sldMk cId="3524739170" sldId="257"/>
        </pc:sldMkLst>
      </pc:sldChg>
      <pc:sldChg chg="addSp modSp add mod modNotesTx">
        <pc:chgData name="Lorenz, Nils" userId="3f5c7925-df17-4f30-a1fc-184c4ee37b8c" providerId="ADAL" clId="{AF486BAC-7599-40AF-BEA9-6F990C7494E8}" dt="2024-09-16T06:06:05.509" v="1647" actId="167"/>
        <pc:sldMkLst>
          <pc:docMk/>
          <pc:sldMk cId="2249689129" sldId="258"/>
        </pc:sldMkLst>
        <pc:picChg chg="add mod">
          <ac:chgData name="Lorenz, Nils" userId="3f5c7925-df17-4f30-a1fc-184c4ee37b8c" providerId="ADAL" clId="{AF486BAC-7599-40AF-BEA9-6F990C7494E8}" dt="2024-09-16T05:59:05.953" v="1594" actId="14100"/>
          <ac:picMkLst>
            <pc:docMk/>
            <pc:sldMk cId="2249689129" sldId="258"/>
            <ac:picMk id="4" creationId="{E0C2FD60-2FBD-643E-0947-EF15F0A0B31E}"/>
          </ac:picMkLst>
        </pc:picChg>
        <pc:picChg chg="mod">
          <ac:chgData name="Lorenz, Nils" userId="3f5c7925-df17-4f30-a1fc-184c4ee37b8c" providerId="ADAL" clId="{AF486BAC-7599-40AF-BEA9-6F990C7494E8}" dt="2024-09-16T05:59:02.943" v="1591" actId="1076"/>
          <ac:picMkLst>
            <pc:docMk/>
            <pc:sldMk cId="2249689129" sldId="258"/>
            <ac:picMk id="6" creationId="{CFA1B4D8-2801-428C-68F1-AA2009DA96A4}"/>
          </ac:picMkLst>
        </pc:picChg>
        <pc:picChg chg="add mod ord">
          <ac:chgData name="Lorenz, Nils" userId="3f5c7925-df17-4f30-a1fc-184c4ee37b8c" providerId="ADAL" clId="{AF486BAC-7599-40AF-BEA9-6F990C7494E8}" dt="2024-09-16T06:06:05.509" v="1647" actId="167"/>
          <ac:picMkLst>
            <pc:docMk/>
            <pc:sldMk cId="2249689129" sldId="258"/>
            <ac:picMk id="7" creationId="{4EDC9B02-5704-D9EF-E2A2-606B316C6CC2}"/>
          </ac:picMkLst>
        </pc:picChg>
      </pc:sldChg>
      <pc:sldChg chg="modSp add mod modTransition">
        <pc:chgData name="Lorenz, Nils" userId="3f5c7925-df17-4f30-a1fc-184c4ee37b8c" providerId="ADAL" clId="{AF486BAC-7599-40AF-BEA9-6F990C7494E8}" dt="2024-09-16T06:28:07.317" v="1888"/>
        <pc:sldMkLst>
          <pc:docMk/>
          <pc:sldMk cId="3770125577" sldId="261"/>
        </pc:sldMkLst>
        <pc:spChg chg="mod">
          <ac:chgData name="Lorenz, Nils" userId="3f5c7925-df17-4f30-a1fc-184c4ee37b8c" providerId="ADAL" clId="{AF486BAC-7599-40AF-BEA9-6F990C7494E8}" dt="2024-09-16T06:28:07.317" v="1888"/>
          <ac:spMkLst>
            <pc:docMk/>
            <pc:sldMk cId="3770125577" sldId="261"/>
            <ac:spMk id="3" creationId="{72D85089-CE90-0ACF-539A-47F4F63C21A1}"/>
          </ac:spMkLst>
        </pc:spChg>
        <pc:spChg chg="mod">
          <ac:chgData name="Lorenz, Nils" userId="3f5c7925-df17-4f30-a1fc-184c4ee37b8c" providerId="ADAL" clId="{AF486BAC-7599-40AF-BEA9-6F990C7494E8}" dt="2024-09-16T06:27:58.964" v="1887"/>
          <ac:spMkLst>
            <pc:docMk/>
            <pc:sldMk cId="3770125577" sldId="261"/>
            <ac:spMk id="6" creationId="{171B8A18-062F-E733-720E-1B804F790880}"/>
          </ac:spMkLst>
        </pc:spChg>
      </pc:sldChg>
      <pc:sldChg chg="modSp add mod">
        <pc:chgData name="Lorenz, Nils" userId="3f5c7925-df17-4f30-a1fc-184c4ee37b8c" providerId="ADAL" clId="{AF486BAC-7599-40AF-BEA9-6F990C7494E8}" dt="2024-09-12T07:15:04.481" v="1351" actId="5793"/>
        <pc:sldMkLst>
          <pc:docMk/>
          <pc:sldMk cId="0" sldId="344"/>
        </pc:sldMkLst>
        <pc:spChg chg="mod">
          <ac:chgData name="Lorenz, Nils" userId="3f5c7925-df17-4f30-a1fc-184c4ee37b8c" providerId="ADAL" clId="{AF486BAC-7599-40AF-BEA9-6F990C7494E8}" dt="2024-09-12T07:15:04.481" v="1351" actId="5793"/>
          <ac:spMkLst>
            <pc:docMk/>
            <pc:sldMk cId="0" sldId="344"/>
            <ac:spMk id="2" creationId="{00000000-0000-0000-0000-000000000000}"/>
          </ac:spMkLst>
        </pc:spChg>
      </pc:sldChg>
      <pc:sldChg chg="modSp add mod">
        <pc:chgData name="Lorenz, Nils" userId="3f5c7925-df17-4f30-a1fc-184c4ee37b8c" providerId="ADAL" clId="{AF486BAC-7599-40AF-BEA9-6F990C7494E8}" dt="2024-09-12T04:50:10.842" v="342" actId="6549"/>
        <pc:sldMkLst>
          <pc:docMk/>
          <pc:sldMk cId="3602749482" sldId="364"/>
        </pc:sldMkLst>
        <pc:spChg chg="mod">
          <ac:chgData name="Lorenz, Nils" userId="3f5c7925-df17-4f30-a1fc-184c4ee37b8c" providerId="ADAL" clId="{AF486BAC-7599-40AF-BEA9-6F990C7494E8}" dt="2024-09-12T04:50:10.842" v="342" actId="6549"/>
          <ac:spMkLst>
            <pc:docMk/>
            <pc:sldMk cId="3602749482" sldId="364"/>
            <ac:spMk id="4" creationId="{F701E04F-6056-D519-8214-081FCBB760C7}"/>
          </ac:spMkLst>
        </pc:spChg>
      </pc:sldChg>
      <pc:sldChg chg="addSp delSp modSp add mod">
        <pc:chgData name="Lorenz, Nils" userId="3f5c7925-df17-4f30-a1fc-184c4ee37b8c" providerId="ADAL" clId="{AF486BAC-7599-40AF-BEA9-6F990C7494E8}" dt="2024-09-12T04:36:02.219" v="228" actId="2711"/>
        <pc:sldMkLst>
          <pc:docMk/>
          <pc:sldMk cId="4185357207" sldId="2060"/>
        </pc:sldMkLst>
        <pc:spChg chg="mod">
          <ac:chgData name="Lorenz, Nils" userId="3f5c7925-df17-4f30-a1fc-184c4ee37b8c" providerId="ADAL" clId="{AF486BAC-7599-40AF-BEA9-6F990C7494E8}" dt="2024-09-12T04:35:56.009" v="227" actId="2711"/>
          <ac:spMkLst>
            <pc:docMk/>
            <pc:sldMk cId="4185357207" sldId="2060"/>
            <ac:spMk id="4" creationId="{CBB8D78C-5F99-A84B-1F89-F1F38A93A97A}"/>
          </ac:spMkLst>
        </pc:spChg>
        <pc:spChg chg="mod">
          <ac:chgData name="Lorenz, Nils" userId="3f5c7925-df17-4f30-a1fc-184c4ee37b8c" providerId="ADAL" clId="{AF486BAC-7599-40AF-BEA9-6F990C7494E8}" dt="2024-09-12T04:36:02.219" v="228" actId="2711"/>
          <ac:spMkLst>
            <pc:docMk/>
            <pc:sldMk cId="4185357207" sldId="2060"/>
            <ac:spMk id="23" creationId="{F1280E9C-B8FD-C8F1-3CBE-099795122888}"/>
          </ac:spMkLst>
        </pc:spChg>
      </pc:sldChg>
      <pc:sldChg chg="modSp add mod modNotesTx">
        <pc:chgData name="Lorenz, Nils" userId="3f5c7925-df17-4f30-a1fc-184c4ee37b8c" providerId="ADAL" clId="{AF486BAC-7599-40AF-BEA9-6F990C7494E8}" dt="2024-09-16T06:00:10.528" v="1611" actId="6549"/>
        <pc:sldMkLst>
          <pc:docMk/>
          <pc:sldMk cId="4064174192" sldId="2061"/>
        </pc:sldMkLst>
        <pc:spChg chg="mod">
          <ac:chgData name="Lorenz, Nils" userId="3f5c7925-df17-4f30-a1fc-184c4ee37b8c" providerId="ADAL" clId="{AF486BAC-7599-40AF-BEA9-6F990C7494E8}" dt="2024-09-12T04:36:39.328" v="232" actId="2711"/>
          <ac:spMkLst>
            <pc:docMk/>
            <pc:sldMk cId="4064174192" sldId="2061"/>
            <ac:spMk id="2" creationId="{948AF15A-3E30-07C4-5216-03FEA8D6CA4B}"/>
          </ac:spMkLst>
        </pc:spChg>
        <pc:spChg chg="mod">
          <ac:chgData name="Lorenz, Nils" userId="3f5c7925-df17-4f30-a1fc-184c4ee37b8c" providerId="ADAL" clId="{AF486BAC-7599-40AF-BEA9-6F990C7494E8}" dt="2024-09-12T04:36:39.328" v="232" actId="2711"/>
          <ac:spMkLst>
            <pc:docMk/>
            <pc:sldMk cId="4064174192" sldId="2061"/>
            <ac:spMk id="3" creationId="{72B06C18-9FE0-3F78-0D62-DF3430C695BD}"/>
          </ac:spMkLst>
        </pc:spChg>
        <pc:spChg chg="mod">
          <ac:chgData name="Lorenz, Nils" userId="3f5c7925-df17-4f30-a1fc-184c4ee37b8c" providerId="ADAL" clId="{AF486BAC-7599-40AF-BEA9-6F990C7494E8}" dt="2024-09-12T04:36:39.328" v="232" actId="2711"/>
          <ac:spMkLst>
            <pc:docMk/>
            <pc:sldMk cId="4064174192" sldId="2061"/>
            <ac:spMk id="5" creationId="{60B05948-698D-6EF0-2FBF-7D4F8785A189}"/>
          </ac:spMkLst>
        </pc:spChg>
        <pc:spChg chg="mod">
          <ac:chgData name="Lorenz, Nils" userId="3f5c7925-df17-4f30-a1fc-184c4ee37b8c" providerId="ADAL" clId="{AF486BAC-7599-40AF-BEA9-6F990C7494E8}" dt="2024-09-12T04:36:39.328" v="232" actId="2711"/>
          <ac:spMkLst>
            <pc:docMk/>
            <pc:sldMk cId="4064174192" sldId="2061"/>
            <ac:spMk id="9" creationId="{D8FBF749-5587-D24D-D433-B02A033D332E}"/>
          </ac:spMkLst>
        </pc:spChg>
        <pc:spChg chg="mod">
          <ac:chgData name="Lorenz, Nils" userId="3f5c7925-df17-4f30-a1fc-184c4ee37b8c" providerId="ADAL" clId="{AF486BAC-7599-40AF-BEA9-6F990C7494E8}" dt="2024-09-12T04:36:39.328" v="232" actId="2711"/>
          <ac:spMkLst>
            <pc:docMk/>
            <pc:sldMk cId="4064174192" sldId="2061"/>
            <ac:spMk id="14" creationId="{0FF1648E-194D-8057-0482-FE892711A052}"/>
          </ac:spMkLst>
        </pc:spChg>
        <pc:spChg chg="mod">
          <ac:chgData name="Lorenz, Nils" userId="3f5c7925-df17-4f30-a1fc-184c4ee37b8c" providerId="ADAL" clId="{AF486BAC-7599-40AF-BEA9-6F990C7494E8}" dt="2024-09-12T04:36:39.328" v="232" actId="2711"/>
          <ac:spMkLst>
            <pc:docMk/>
            <pc:sldMk cId="4064174192" sldId="2061"/>
            <ac:spMk id="23" creationId="{E5D79345-BE9E-B39F-D20D-BF91063126CB}"/>
          </ac:spMkLst>
        </pc:spChg>
      </pc:sldChg>
      <pc:sldChg chg="addSp delSp modSp add del mod">
        <pc:chgData name="Lorenz, Nils" userId="3f5c7925-df17-4f30-a1fc-184c4ee37b8c" providerId="ADAL" clId="{AF486BAC-7599-40AF-BEA9-6F990C7494E8}" dt="2024-09-11T13:59:44.487" v="137" actId="47"/>
        <pc:sldMkLst>
          <pc:docMk/>
          <pc:sldMk cId="734095664" sldId="2062"/>
        </pc:sldMkLst>
      </pc:sldChg>
      <pc:sldChg chg="addSp delSp modSp mod">
        <pc:chgData name="Lorenz, Nils" userId="3f5c7925-df17-4f30-a1fc-184c4ee37b8c" providerId="ADAL" clId="{AF486BAC-7599-40AF-BEA9-6F990C7494E8}" dt="2024-09-11T13:32:27.401" v="104" actId="732"/>
        <pc:sldMkLst>
          <pc:docMk/>
          <pc:sldMk cId="508763584" sldId="2147483606"/>
        </pc:sldMkLst>
      </pc:sldChg>
      <pc:sldChg chg="addSp delSp modSp add mod modNotesTx">
        <pc:chgData name="Lorenz, Nils" userId="3f5c7925-df17-4f30-a1fc-184c4ee37b8c" providerId="ADAL" clId="{AF486BAC-7599-40AF-BEA9-6F990C7494E8}" dt="2024-09-16T06:00:17.579" v="1612" actId="6549"/>
        <pc:sldMkLst>
          <pc:docMk/>
          <pc:sldMk cId="2359179321" sldId="2147483624"/>
        </pc:sldMkLst>
        <pc:spChg chg="mod">
          <ac:chgData name="Lorenz, Nils" userId="3f5c7925-df17-4f30-a1fc-184c4ee37b8c" providerId="ADAL" clId="{AF486BAC-7599-40AF-BEA9-6F990C7494E8}" dt="2024-09-12T04:36:54.915" v="233" actId="2711"/>
          <ac:spMkLst>
            <pc:docMk/>
            <pc:sldMk cId="2359179321" sldId="2147483624"/>
            <ac:spMk id="3" creationId="{72B06C18-9FE0-3F78-0D62-DF3430C695BD}"/>
          </ac:spMkLst>
        </pc:spChg>
        <pc:spChg chg="add mod">
          <ac:chgData name="Lorenz, Nils" userId="3f5c7925-df17-4f30-a1fc-184c4ee37b8c" providerId="ADAL" clId="{AF486BAC-7599-40AF-BEA9-6F990C7494E8}" dt="2024-09-12T04:37:53.145" v="244" actId="12"/>
          <ac:spMkLst>
            <pc:docMk/>
            <pc:sldMk cId="2359179321" sldId="2147483624"/>
            <ac:spMk id="13" creationId="{A99C30EC-C1C2-847F-9D53-3387BCDD9E4F}"/>
          </ac:spMkLst>
        </pc:spChg>
        <pc:spChg chg="add mod">
          <ac:chgData name="Lorenz, Nils" userId="3f5c7925-df17-4f30-a1fc-184c4ee37b8c" providerId="ADAL" clId="{AF486BAC-7599-40AF-BEA9-6F990C7494E8}" dt="2024-09-12T04:38:05.781" v="246" actId="14100"/>
          <ac:spMkLst>
            <pc:docMk/>
            <pc:sldMk cId="2359179321" sldId="2147483624"/>
            <ac:spMk id="18" creationId="{C392282B-FCE0-C986-F028-62AA3A3716A8}"/>
          </ac:spMkLst>
        </pc:spChg>
        <pc:graphicFrameChg chg="mod modGraphic">
          <ac:chgData name="Lorenz, Nils" userId="3f5c7925-df17-4f30-a1fc-184c4ee37b8c" providerId="ADAL" clId="{AF486BAC-7599-40AF-BEA9-6F990C7494E8}" dt="2024-09-12T04:37:33.155" v="238" actId="1076"/>
          <ac:graphicFrameMkLst>
            <pc:docMk/>
            <pc:sldMk cId="2359179321" sldId="2147483624"/>
            <ac:graphicFrameMk id="11" creationId="{638B97E1-E191-820F-9F37-107756E904D0}"/>
          </ac:graphicFrameMkLst>
        </pc:graphicFrameChg>
        <pc:picChg chg="add del mod">
          <ac:chgData name="Lorenz, Nils" userId="3f5c7925-df17-4f30-a1fc-184c4ee37b8c" providerId="ADAL" clId="{AF486BAC-7599-40AF-BEA9-6F990C7494E8}" dt="2024-09-12T04:33:55.320" v="215" actId="14826"/>
          <ac:picMkLst>
            <pc:docMk/>
            <pc:sldMk cId="2359179321" sldId="2147483624"/>
            <ac:picMk id="7" creationId="{E20D4F1C-86D3-AB64-7B43-86468CE74709}"/>
          </ac:picMkLst>
        </pc:picChg>
        <pc:picChg chg="add del mod">
          <ac:chgData name="Lorenz, Nils" userId="3f5c7925-df17-4f30-a1fc-184c4ee37b8c" providerId="ADAL" clId="{AF486BAC-7599-40AF-BEA9-6F990C7494E8}" dt="2024-09-12T04:34:52.330" v="220" actId="14826"/>
          <ac:picMkLst>
            <pc:docMk/>
            <pc:sldMk cId="2359179321" sldId="2147483624"/>
            <ac:picMk id="17" creationId="{68167202-A205-A79A-3BA0-AA8082E337B4}"/>
          </ac:picMkLst>
        </pc:picChg>
        <pc:picChg chg="add del mod">
          <ac:chgData name="Lorenz, Nils" userId="3f5c7925-df17-4f30-a1fc-184c4ee37b8c" providerId="ADAL" clId="{AF486BAC-7599-40AF-BEA9-6F990C7494E8}" dt="2024-09-12T04:35:42.878" v="226" actId="14826"/>
          <ac:picMkLst>
            <pc:docMk/>
            <pc:sldMk cId="2359179321" sldId="2147483624"/>
            <ac:picMk id="19" creationId="{352EAAAE-F846-EF82-942D-5E5A0C4E3CA7}"/>
          </ac:picMkLst>
        </pc:picChg>
      </pc:sldChg>
      <pc:sldChg chg="addSp delSp modSp add mod modNotesTx">
        <pc:chgData name="Lorenz, Nils" userId="3f5c7925-df17-4f30-a1fc-184c4ee37b8c" providerId="ADAL" clId="{AF486BAC-7599-40AF-BEA9-6F990C7494E8}" dt="2024-09-16T06:00:22.926" v="1613" actId="6549"/>
        <pc:sldMkLst>
          <pc:docMk/>
          <pc:sldMk cId="3032859160" sldId="2147483625"/>
        </pc:sldMkLst>
        <pc:spChg chg="mod">
          <ac:chgData name="Lorenz, Nils" userId="3f5c7925-df17-4f30-a1fc-184c4ee37b8c" providerId="ADAL" clId="{AF486BAC-7599-40AF-BEA9-6F990C7494E8}" dt="2024-09-12T04:39:00.169" v="259" actId="21"/>
          <ac:spMkLst>
            <pc:docMk/>
            <pc:sldMk cId="3032859160" sldId="2147483625"/>
            <ac:spMk id="3" creationId="{72B06C18-9FE0-3F78-0D62-DF3430C695BD}"/>
          </ac:spMkLst>
        </pc:spChg>
        <pc:spChg chg="mod">
          <ac:chgData name="Lorenz, Nils" userId="3f5c7925-df17-4f30-a1fc-184c4ee37b8c" providerId="ADAL" clId="{AF486BAC-7599-40AF-BEA9-6F990C7494E8}" dt="2024-09-12T04:50:44.592" v="344" actId="108"/>
          <ac:spMkLst>
            <pc:docMk/>
            <pc:sldMk cId="3032859160" sldId="2147483625"/>
            <ac:spMk id="13" creationId="{A99C30EC-C1C2-847F-9D53-3387BCDD9E4F}"/>
          </ac:spMkLst>
        </pc:spChg>
        <pc:spChg chg="mod">
          <ac:chgData name="Lorenz, Nils" userId="3f5c7925-df17-4f30-a1fc-184c4ee37b8c" providerId="ADAL" clId="{AF486BAC-7599-40AF-BEA9-6F990C7494E8}" dt="2024-09-12T04:39:09.653" v="264" actId="20577"/>
          <ac:spMkLst>
            <pc:docMk/>
            <pc:sldMk cId="3032859160" sldId="2147483625"/>
            <ac:spMk id="18" creationId="{C392282B-FCE0-C986-F028-62AA3A3716A8}"/>
          </ac:spMkLst>
        </pc:spChg>
        <pc:picChg chg="add mod">
          <ac:chgData name="Lorenz, Nils" userId="3f5c7925-df17-4f30-a1fc-184c4ee37b8c" providerId="ADAL" clId="{AF486BAC-7599-40AF-BEA9-6F990C7494E8}" dt="2024-09-12T04:57:31.740" v="358" actId="14100"/>
          <ac:picMkLst>
            <pc:docMk/>
            <pc:sldMk cId="3032859160" sldId="2147483625"/>
            <ac:picMk id="8" creationId="{AD0E6E91-D543-7938-FD47-C997799F8EC1}"/>
          </ac:picMkLst>
        </pc:picChg>
        <pc:picChg chg="add mod">
          <ac:chgData name="Lorenz, Nils" userId="3f5c7925-df17-4f30-a1fc-184c4ee37b8c" providerId="ADAL" clId="{AF486BAC-7599-40AF-BEA9-6F990C7494E8}" dt="2024-09-12T04:58:23.616" v="370" actId="14100"/>
          <ac:picMkLst>
            <pc:docMk/>
            <pc:sldMk cId="3032859160" sldId="2147483625"/>
            <ac:picMk id="10" creationId="{69E5B9D9-D3A5-49BA-62AD-3BB4F251DC81}"/>
          </ac:picMkLst>
        </pc:picChg>
        <pc:picChg chg="add mod">
          <ac:chgData name="Lorenz, Nils" userId="3f5c7925-df17-4f30-a1fc-184c4ee37b8c" providerId="ADAL" clId="{AF486BAC-7599-40AF-BEA9-6F990C7494E8}" dt="2024-09-12T04:57:35.741" v="360" actId="1076"/>
          <ac:picMkLst>
            <pc:docMk/>
            <pc:sldMk cId="3032859160" sldId="2147483625"/>
            <ac:picMk id="14" creationId="{8AA56B8F-5A51-9993-3A72-6BB1A0508F63}"/>
          </ac:picMkLst>
        </pc:picChg>
        <pc:picChg chg="add mod">
          <ac:chgData name="Lorenz, Nils" userId="3f5c7925-df17-4f30-a1fc-184c4ee37b8c" providerId="ADAL" clId="{AF486BAC-7599-40AF-BEA9-6F990C7494E8}" dt="2024-09-12T04:58:20.980" v="369" actId="14100"/>
          <ac:picMkLst>
            <pc:docMk/>
            <pc:sldMk cId="3032859160" sldId="2147483625"/>
            <ac:picMk id="16" creationId="{2FDAB921-9FC8-5974-8739-D0DCB2884780}"/>
          </ac:picMkLst>
        </pc:picChg>
      </pc:sldChg>
      <pc:sldChg chg="modSp add mod ord">
        <pc:chgData name="Lorenz, Nils" userId="3f5c7925-df17-4f30-a1fc-184c4ee37b8c" providerId="ADAL" clId="{AF486BAC-7599-40AF-BEA9-6F990C7494E8}" dt="2024-09-16T06:01:08.086" v="1615" actId="20577"/>
        <pc:sldMkLst>
          <pc:docMk/>
          <pc:sldMk cId="380757853" sldId="2147483626"/>
        </pc:sldMkLst>
        <pc:spChg chg="mod">
          <ac:chgData name="Lorenz, Nils" userId="3f5c7925-df17-4f30-a1fc-184c4ee37b8c" providerId="ADAL" clId="{AF486BAC-7599-40AF-BEA9-6F990C7494E8}" dt="2024-09-16T06:01:08.086" v="1615" actId="20577"/>
          <ac:spMkLst>
            <pc:docMk/>
            <pc:sldMk cId="380757853" sldId="2147483626"/>
            <ac:spMk id="2" creationId="{00000000-0000-0000-0000-000000000000}"/>
          </ac:spMkLst>
        </pc:spChg>
        <pc:spChg chg="mod">
          <ac:chgData name="Lorenz, Nils" userId="3f5c7925-df17-4f30-a1fc-184c4ee37b8c" providerId="ADAL" clId="{AF486BAC-7599-40AF-BEA9-6F990C7494E8}" dt="2024-09-13T14:58:06.869" v="1454" actId="20577"/>
          <ac:spMkLst>
            <pc:docMk/>
            <pc:sldMk cId="380757853" sldId="2147483626"/>
            <ac:spMk id="3" creationId="{00000000-0000-0000-0000-000000000000}"/>
          </ac:spMkLst>
        </pc:spChg>
      </pc:sldChg>
      <pc:sldChg chg="addSp modSp add mod ord modNotesTx">
        <pc:chgData name="Lorenz, Nils" userId="3f5c7925-df17-4f30-a1fc-184c4ee37b8c" providerId="ADAL" clId="{AF486BAC-7599-40AF-BEA9-6F990C7494E8}" dt="2024-09-16T05:59:26.808" v="1597" actId="6549"/>
        <pc:sldMkLst>
          <pc:docMk/>
          <pc:sldMk cId="1292993066" sldId="2147483627"/>
        </pc:sldMkLst>
        <pc:spChg chg="mod">
          <ac:chgData name="Lorenz, Nils" userId="3f5c7925-df17-4f30-a1fc-184c4ee37b8c" providerId="ADAL" clId="{AF486BAC-7599-40AF-BEA9-6F990C7494E8}" dt="2024-09-12T06:56:45.459" v="761" actId="6549"/>
          <ac:spMkLst>
            <pc:docMk/>
            <pc:sldMk cId="1292993066" sldId="2147483627"/>
            <ac:spMk id="4" creationId="{F701E04F-6056-D519-8214-081FCBB760C7}"/>
          </ac:spMkLst>
        </pc:spChg>
        <pc:spChg chg="add mod">
          <ac:chgData name="Lorenz, Nils" userId="3f5c7925-df17-4f30-a1fc-184c4ee37b8c" providerId="ADAL" clId="{AF486BAC-7599-40AF-BEA9-6F990C7494E8}" dt="2024-09-12T06:51:59.354" v="603" actId="207"/>
          <ac:spMkLst>
            <pc:docMk/>
            <pc:sldMk cId="1292993066" sldId="2147483627"/>
            <ac:spMk id="9" creationId="{B0CDAA42-47CB-B3F3-61AF-7CFDE3B8B65B}"/>
          </ac:spMkLst>
        </pc:spChg>
        <pc:spChg chg="mod">
          <ac:chgData name="Lorenz, Nils" userId="3f5c7925-df17-4f30-a1fc-184c4ee37b8c" providerId="ADAL" clId="{AF486BAC-7599-40AF-BEA9-6F990C7494E8}" dt="2024-09-12T06:56:56.680" v="762" actId="108"/>
          <ac:spMkLst>
            <pc:docMk/>
            <pc:sldMk cId="1292993066" sldId="2147483627"/>
            <ac:spMk id="24" creationId="{00000000-0000-0000-0000-000000000000}"/>
          </ac:spMkLst>
        </pc:spChg>
        <pc:picChg chg="add mod">
          <ac:chgData name="Lorenz, Nils" userId="3f5c7925-df17-4f30-a1fc-184c4ee37b8c" providerId="ADAL" clId="{AF486BAC-7599-40AF-BEA9-6F990C7494E8}" dt="2024-09-16T05:54:14.851" v="1516" actId="14100"/>
          <ac:picMkLst>
            <pc:docMk/>
            <pc:sldMk cId="1292993066" sldId="2147483627"/>
            <ac:picMk id="3" creationId="{A30F2058-D1D2-9299-A30A-5022025BAAD6}"/>
          </ac:picMkLst>
        </pc:picChg>
        <pc:picChg chg="add mod">
          <ac:chgData name="Lorenz, Nils" userId="3f5c7925-df17-4f30-a1fc-184c4ee37b8c" providerId="ADAL" clId="{AF486BAC-7599-40AF-BEA9-6F990C7494E8}" dt="2024-09-13T14:59:35.487" v="1475" actId="1076"/>
          <ac:picMkLst>
            <pc:docMk/>
            <pc:sldMk cId="1292993066" sldId="2147483627"/>
            <ac:picMk id="5" creationId="{CAF673C3-BDEB-9148-52F9-E47BD43386DC}"/>
          </ac:picMkLst>
        </pc:picChg>
        <pc:picChg chg="add mod">
          <ac:chgData name="Lorenz, Nils" userId="3f5c7925-df17-4f30-a1fc-184c4ee37b8c" providerId="ADAL" clId="{AF486BAC-7599-40AF-BEA9-6F990C7494E8}" dt="2024-09-13T14:59:33.755" v="1474" actId="1076"/>
          <ac:picMkLst>
            <pc:docMk/>
            <pc:sldMk cId="1292993066" sldId="2147483627"/>
            <ac:picMk id="6" creationId="{51776C67-163C-5037-AF1A-0D218978F66B}"/>
          </ac:picMkLst>
        </pc:picChg>
        <pc:picChg chg="add mod">
          <ac:chgData name="Lorenz, Nils" userId="3f5c7925-df17-4f30-a1fc-184c4ee37b8c" providerId="ADAL" clId="{AF486BAC-7599-40AF-BEA9-6F990C7494E8}" dt="2024-09-12T06:13:24.117" v="596" actId="1076"/>
          <ac:picMkLst>
            <pc:docMk/>
            <pc:sldMk cId="1292993066" sldId="2147483627"/>
            <ac:picMk id="8" creationId="{48FA9D7D-C411-A2D8-C5AF-3FA986829E5B}"/>
          </ac:picMkLst>
        </pc:picChg>
      </pc:sldChg>
      <pc:sldChg chg="addSp delSp modSp add mod modNotesTx">
        <pc:chgData name="Lorenz, Nils" userId="3f5c7925-df17-4f30-a1fc-184c4ee37b8c" providerId="ADAL" clId="{AF486BAC-7599-40AF-BEA9-6F990C7494E8}" dt="2024-09-16T05:59:21.061" v="1596" actId="6549"/>
        <pc:sldMkLst>
          <pc:docMk/>
          <pc:sldMk cId="698981989" sldId="2147483628"/>
        </pc:sldMkLst>
        <pc:spChg chg="mod">
          <ac:chgData name="Lorenz, Nils" userId="3f5c7925-df17-4f30-a1fc-184c4ee37b8c" providerId="ADAL" clId="{AF486BAC-7599-40AF-BEA9-6F990C7494E8}" dt="2024-09-12T06:57:00.047" v="763"/>
          <ac:spMkLst>
            <pc:docMk/>
            <pc:sldMk cId="698981989" sldId="2147483628"/>
            <ac:spMk id="24" creationId="{00000000-0000-0000-0000-000000000000}"/>
          </ac:spMkLst>
        </pc:spChg>
        <pc:graphicFrameChg chg="add mod modGraphic">
          <ac:chgData name="Lorenz, Nils" userId="3f5c7925-df17-4f30-a1fc-184c4ee37b8c" providerId="ADAL" clId="{AF486BAC-7599-40AF-BEA9-6F990C7494E8}" dt="2024-09-13T14:56:19.586" v="1375" actId="790"/>
          <ac:graphicFrameMkLst>
            <pc:docMk/>
            <pc:sldMk cId="698981989" sldId="2147483628"/>
            <ac:graphicFrameMk id="10" creationId="{ECF0D77F-C402-646F-01C3-5176A751FB88}"/>
          </ac:graphicFrameMkLst>
        </pc:graphicFrameChg>
      </pc:sldChg>
      <pc:sldChg chg="addSp delSp modSp add mod modNotesTx">
        <pc:chgData name="Lorenz, Nils" userId="3f5c7925-df17-4f30-a1fc-184c4ee37b8c" providerId="ADAL" clId="{AF486BAC-7599-40AF-BEA9-6F990C7494E8}" dt="2024-09-16T06:04:55.006" v="1632" actId="1076"/>
        <pc:sldMkLst>
          <pc:docMk/>
          <pc:sldMk cId="887263485" sldId="2147483637"/>
        </pc:sldMkLst>
        <pc:spChg chg="mod">
          <ac:chgData name="Lorenz, Nils" userId="3f5c7925-df17-4f30-a1fc-184c4ee37b8c" providerId="ADAL" clId="{AF486BAC-7599-40AF-BEA9-6F990C7494E8}" dt="2024-09-13T14:56:50.177" v="1396" actId="20577"/>
          <ac:spMkLst>
            <pc:docMk/>
            <pc:sldMk cId="887263485" sldId="2147483637"/>
            <ac:spMk id="24" creationId="{00000000-0000-0000-0000-000000000000}"/>
          </ac:spMkLst>
        </pc:spChg>
        <pc:picChg chg="add mod">
          <ac:chgData name="Lorenz, Nils" userId="3f5c7925-df17-4f30-a1fc-184c4ee37b8c" providerId="ADAL" clId="{AF486BAC-7599-40AF-BEA9-6F990C7494E8}" dt="2024-09-16T06:04:25.863" v="1625" actId="1076"/>
          <ac:picMkLst>
            <pc:docMk/>
            <pc:sldMk cId="887263485" sldId="2147483637"/>
            <ac:picMk id="2" creationId="{6E839C2B-FE63-0115-AA24-BB1419742C00}"/>
          </ac:picMkLst>
        </pc:picChg>
        <pc:picChg chg="add mod">
          <ac:chgData name="Lorenz, Nils" userId="3f5c7925-df17-4f30-a1fc-184c4ee37b8c" providerId="ADAL" clId="{AF486BAC-7599-40AF-BEA9-6F990C7494E8}" dt="2024-09-16T05:53:20.657" v="1506" actId="1076"/>
          <ac:picMkLst>
            <pc:docMk/>
            <pc:sldMk cId="887263485" sldId="2147483637"/>
            <ac:picMk id="3" creationId="{5D0E87B9-AF1E-856C-E330-C93DEA50D83D}"/>
          </ac:picMkLst>
        </pc:picChg>
        <pc:picChg chg="add mod">
          <ac:chgData name="Lorenz, Nils" userId="3f5c7925-df17-4f30-a1fc-184c4ee37b8c" providerId="ADAL" clId="{AF486BAC-7599-40AF-BEA9-6F990C7494E8}" dt="2024-09-16T05:53:42.290" v="1510" actId="1076"/>
          <ac:picMkLst>
            <pc:docMk/>
            <pc:sldMk cId="887263485" sldId="2147483637"/>
            <ac:picMk id="5" creationId="{3C537DEE-9E38-A72B-FEF3-5C99D106F7C5}"/>
          </ac:picMkLst>
        </pc:picChg>
        <pc:picChg chg="add mod">
          <ac:chgData name="Lorenz, Nils" userId="3f5c7925-df17-4f30-a1fc-184c4ee37b8c" providerId="ADAL" clId="{AF486BAC-7599-40AF-BEA9-6F990C7494E8}" dt="2024-09-16T05:53:57.871" v="1512" actId="1076"/>
          <ac:picMkLst>
            <pc:docMk/>
            <pc:sldMk cId="887263485" sldId="2147483637"/>
            <ac:picMk id="6" creationId="{CFA1B4D8-2801-428C-68F1-AA2009DA96A4}"/>
          </ac:picMkLst>
        </pc:picChg>
        <pc:picChg chg="add mod ord">
          <ac:chgData name="Lorenz, Nils" userId="3f5c7925-df17-4f30-a1fc-184c4ee37b8c" providerId="ADAL" clId="{AF486BAC-7599-40AF-BEA9-6F990C7494E8}" dt="2024-09-16T06:04:55.006" v="1632" actId="1076"/>
          <ac:picMkLst>
            <pc:docMk/>
            <pc:sldMk cId="887263485" sldId="2147483637"/>
            <ac:picMk id="8" creationId="{90FB2473-70CB-FAC7-7EC9-2FE116ED2482}"/>
          </ac:picMkLst>
        </pc:picChg>
      </pc:sldChg>
      <pc:sldChg chg="addSp delSp modSp add mod modNotesTx">
        <pc:chgData name="Lorenz, Nils" userId="3f5c7925-df17-4f30-a1fc-184c4ee37b8c" providerId="ADAL" clId="{AF486BAC-7599-40AF-BEA9-6F990C7494E8}" dt="2024-09-16T05:59:36.728" v="1602" actId="6549"/>
        <pc:sldMkLst>
          <pc:docMk/>
          <pc:sldMk cId="2619006817" sldId="2147483638"/>
        </pc:sldMkLst>
        <pc:spChg chg="mod">
          <ac:chgData name="Lorenz, Nils" userId="3f5c7925-df17-4f30-a1fc-184c4ee37b8c" providerId="ADAL" clId="{AF486BAC-7599-40AF-BEA9-6F990C7494E8}" dt="2024-09-13T14:58:20.907" v="1459" actId="20577"/>
          <ac:spMkLst>
            <pc:docMk/>
            <pc:sldMk cId="2619006817" sldId="2147483638"/>
            <ac:spMk id="24" creationId="{00000000-0000-0000-0000-000000000000}"/>
          </ac:spMkLst>
        </pc:spChg>
        <pc:picChg chg="add mod">
          <ac:chgData name="Lorenz, Nils" userId="3f5c7925-df17-4f30-a1fc-184c4ee37b8c" providerId="ADAL" clId="{AF486BAC-7599-40AF-BEA9-6F990C7494E8}" dt="2024-09-13T14:57:38.694" v="1401" actId="1076"/>
          <ac:picMkLst>
            <pc:docMk/>
            <pc:sldMk cId="2619006817" sldId="2147483638"/>
            <ac:picMk id="1026" creationId="{FF959118-2886-CD4D-04E3-419EB7FF06C3}"/>
          </ac:picMkLst>
        </pc:picChg>
      </pc:sldChg>
      <pc:sldChg chg="addSp modSp add mod modNotesTx">
        <pc:chgData name="Lorenz, Nils" userId="3f5c7925-df17-4f30-a1fc-184c4ee37b8c" providerId="ADAL" clId="{AF486BAC-7599-40AF-BEA9-6F990C7494E8}" dt="2024-09-16T06:27:47.538" v="1886" actId="20577"/>
        <pc:sldMkLst>
          <pc:docMk/>
          <pc:sldMk cId="2470785984" sldId="2147483639"/>
        </pc:sldMkLst>
        <pc:spChg chg="add mod">
          <ac:chgData name="Lorenz, Nils" userId="3f5c7925-df17-4f30-a1fc-184c4ee37b8c" providerId="ADAL" clId="{AF486BAC-7599-40AF-BEA9-6F990C7494E8}" dt="2024-09-16T06:27:43.603" v="1876" actId="20577"/>
          <ac:spMkLst>
            <pc:docMk/>
            <pc:sldMk cId="2470785984" sldId="2147483639"/>
            <ac:spMk id="3" creationId="{72D85089-CE90-0ACF-539A-47F4F63C21A1}"/>
          </ac:spMkLst>
        </pc:spChg>
        <pc:spChg chg="add mod">
          <ac:chgData name="Lorenz, Nils" userId="3f5c7925-df17-4f30-a1fc-184c4ee37b8c" providerId="ADAL" clId="{AF486BAC-7599-40AF-BEA9-6F990C7494E8}" dt="2024-09-16T06:23:05.278" v="1844" actId="465"/>
          <ac:spMkLst>
            <pc:docMk/>
            <pc:sldMk cId="2470785984" sldId="2147483639"/>
            <ac:spMk id="4" creationId="{6826DA47-C391-1A30-1DD2-D2B7B4C13F76}"/>
          </ac:spMkLst>
        </pc:spChg>
        <pc:spChg chg="add mod">
          <ac:chgData name="Lorenz, Nils" userId="3f5c7925-df17-4f30-a1fc-184c4ee37b8c" providerId="ADAL" clId="{AF486BAC-7599-40AF-BEA9-6F990C7494E8}" dt="2024-09-16T06:27:47.538" v="1886" actId="20577"/>
          <ac:spMkLst>
            <pc:docMk/>
            <pc:sldMk cId="2470785984" sldId="2147483639"/>
            <ac:spMk id="6" creationId="{171B8A18-062F-E733-720E-1B804F790880}"/>
          </ac:spMkLst>
        </pc:spChg>
        <pc:spChg chg="mod">
          <ac:chgData name="Lorenz, Nils" userId="3f5c7925-df17-4f30-a1fc-184c4ee37b8c" providerId="ADAL" clId="{AF486BAC-7599-40AF-BEA9-6F990C7494E8}" dt="2024-09-16T05:51:03.678" v="1501" actId="20577"/>
          <ac:spMkLst>
            <pc:docMk/>
            <pc:sldMk cId="2470785984" sldId="2147483639"/>
            <ac:spMk id="24" creationId="{00000000-0000-0000-0000-000000000000}"/>
          </ac:spMkLst>
        </pc:spChg>
        <pc:picChg chg="add mod">
          <ac:chgData name="Lorenz, Nils" userId="3f5c7925-df17-4f30-a1fc-184c4ee37b8c" providerId="ADAL" clId="{AF486BAC-7599-40AF-BEA9-6F990C7494E8}" dt="2024-09-16T06:20:19.051" v="1768" actId="1076"/>
          <ac:picMkLst>
            <pc:docMk/>
            <pc:sldMk cId="2470785984" sldId="2147483639"/>
            <ac:picMk id="1026" creationId="{B9CC3017-F51B-88F2-CABA-DBC6B49E5E8D}"/>
          </ac:picMkLst>
        </pc:picChg>
      </pc:sldChg>
      <pc:sldChg chg="modSp add mod modTransition modNotesTx">
        <pc:chgData name="Lorenz, Nils" userId="3f5c7925-df17-4f30-a1fc-184c4ee37b8c" providerId="ADAL" clId="{AF486BAC-7599-40AF-BEA9-6F990C7494E8}" dt="2024-09-16T05:59:28.623" v="1598" actId="6549"/>
        <pc:sldMkLst>
          <pc:docMk/>
          <pc:sldMk cId="386026500" sldId="2147483640"/>
        </pc:sldMkLst>
        <pc:picChg chg="mod">
          <ac:chgData name="Lorenz, Nils" userId="3f5c7925-df17-4f30-a1fc-184c4ee37b8c" providerId="ADAL" clId="{AF486BAC-7599-40AF-BEA9-6F990C7494E8}" dt="2024-09-16T05:55:25.636" v="1535" actId="1076"/>
          <ac:picMkLst>
            <pc:docMk/>
            <pc:sldMk cId="386026500" sldId="2147483640"/>
            <ac:picMk id="5" creationId="{CAF673C3-BDEB-9148-52F9-E47BD43386DC}"/>
          </ac:picMkLst>
        </pc:picChg>
      </pc:sldChg>
      <pc:sldChg chg="modSp add mod modTransition modNotesTx">
        <pc:chgData name="Lorenz, Nils" userId="3f5c7925-df17-4f30-a1fc-184c4ee37b8c" providerId="ADAL" clId="{AF486BAC-7599-40AF-BEA9-6F990C7494E8}" dt="2024-09-16T05:59:30.081" v="1599" actId="6549"/>
        <pc:sldMkLst>
          <pc:docMk/>
          <pc:sldMk cId="365919577" sldId="2147483641"/>
        </pc:sldMkLst>
        <pc:picChg chg="mod ord">
          <ac:chgData name="Lorenz, Nils" userId="3f5c7925-df17-4f30-a1fc-184c4ee37b8c" providerId="ADAL" clId="{AF486BAC-7599-40AF-BEA9-6F990C7494E8}" dt="2024-09-16T05:55:30.565" v="1537" actId="1076"/>
          <ac:picMkLst>
            <pc:docMk/>
            <pc:sldMk cId="365919577" sldId="2147483641"/>
            <ac:picMk id="6" creationId="{51776C67-163C-5037-AF1A-0D218978F66B}"/>
          </ac:picMkLst>
        </pc:picChg>
      </pc:sldChg>
      <pc:sldChg chg="modSp add mod ord modTransition modNotesTx">
        <pc:chgData name="Lorenz, Nils" userId="3f5c7925-df17-4f30-a1fc-184c4ee37b8c" providerId="ADAL" clId="{AF486BAC-7599-40AF-BEA9-6F990C7494E8}" dt="2024-09-16T05:59:31.758" v="1600" actId="6549"/>
        <pc:sldMkLst>
          <pc:docMk/>
          <pc:sldMk cId="340393855" sldId="2147483642"/>
        </pc:sldMkLst>
        <pc:picChg chg="mod ord">
          <ac:chgData name="Lorenz, Nils" userId="3f5c7925-df17-4f30-a1fc-184c4ee37b8c" providerId="ADAL" clId="{AF486BAC-7599-40AF-BEA9-6F990C7494E8}" dt="2024-09-16T05:55:16.785" v="1530" actId="1076"/>
          <ac:picMkLst>
            <pc:docMk/>
            <pc:sldMk cId="340393855" sldId="2147483642"/>
            <ac:picMk id="3" creationId="{A30F2058-D1D2-9299-A30A-5022025BAAD6}"/>
          </ac:picMkLst>
        </pc:picChg>
      </pc:sldChg>
      <pc:sldChg chg="add ord modTransition modNotesTx">
        <pc:chgData name="Lorenz, Nils" userId="3f5c7925-df17-4f30-a1fc-184c4ee37b8c" providerId="ADAL" clId="{AF486BAC-7599-40AF-BEA9-6F990C7494E8}" dt="2024-09-16T05:59:33.277" v="1601" actId="6549"/>
        <pc:sldMkLst>
          <pc:docMk/>
          <pc:sldMk cId="4143542708" sldId="2147483643"/>
        </pc:sldMkLst>
      </pc:sldChg>
      <pc:sldChg chg="addSp modSp add mod modTransition modNotesTx">
        <pc:chgData name="Lorenz, Nils" userId="3f5c7925-df17-4f30-a1fc-184c4ee37b8c" providerId="ADAL" clId="{AF486BAC-7599-40AF-BEA9-6F990C7494E8}" dt="2024-09-16T06:05:18.854" v="1638" actId="1076"/>
        <pc:sldMkLst>
          <pc:docMk/>
          <pc:sldMk cId="2860905885" sldId="2147483644"/>
        </pc:sldMkLst>
        <pc:picChg chg="mod ord">
          <ac:chgData name="Lorenz, Nils" userId="3f5c7925-df17-4f30-a1fc-184c4ee37b8c" providerId="ADAL" clId="{AF486BAC-7599-40AF-BEA9-6F990C7494E8}" dt="2024-09-16T06:05:18.854" v="1638" actId="1076"/>
          <ac:picMkLst>
            <pc:docMk/>
            <pc:sldMk cId="2860905885" sldId="2147483644"/>
            <ac:picMk id="2" creationId="{6E839C2B-FE63-0115-AA24-BB1419742C00}"/>
          </ac:picMkLst>
        </pc:picChg>
        <pc:picChg chg="add mod">
          <ac:chgData name="Lorenz, Nils" userId="3f5c7925-df17-4f30-a1fc-184c4ee37b8c" providerId="ADAL" clId="{AF486BAC-7599-40AF-BEA9-6F990C7494E8}" dt="2024-09-16T06:05:07.838" v="1636" actId="14100"/>
          <ac:picMkLst>
            <pc:docMk/>
            <pc:sldMk cId="2860905885" sldId="2147483644"/>
            <ac:picMk id="4" creationId="{6DA2D36F-3208-4FB9-0D43-31745D09F896}"/>
          </ac:picMkLst>
        </pc:picChg>
      </pc:sldChg>
      <pc:sldChg chg="addSp modSp add mod modTransition modNotesTx">
        <pc:chgData name="Lorenz, Nils" userId="3f5c7925-df17-4f30-a1fc-184c4ee37b8c" providerId="ADAL" clId="{AF486BAC-7599-40AF-BEA9-6F990C7494E8}" dt="2024-09-16T06:05:26.093" v="1640" actId="167"/>
        <pc:sldMkLst>
          <pc:docMk/>
          <pc:sldMk cId="740322252" sldId="2147483645"/>
        </pc:sldMkLst>
        <pc:picChg chg="mod ord">
          <ac:chgData name="Lorenz, Nils" userId="3f5c7925-df17-4f30-a1fc-184c4ee37b8c" providerId="ADAL" clId="{AF486BAC-7599-40AF-BEA9-6F990C7494E8}" dt="2024-09-16T05:57:28.168" v="1572" actId="1076"/>
          <ac:picMkLst>
            <pc:docMk/>
            <pc:sldMk cId="740322252" sldId="2147483645"/>
            <ac:picMk id="3" creationId="{5D0E87B9-AF1E-856C-E330-C93DEA50D83D}"/>
          </ac:picMkLst>
        </pc:picChg>
        <pc:picChg chg="add mod ord">
          <ac:chgData name="Lorenz, Nils" userId="3f5c7925-df17-4f30-a1fc-184c4ee37b8c" providerId="ADAL" clId="{AF486BAC-7599-40AF-BEA9-6F990C7494E8}" dt="2024-09-16T06:05:26.093" v="1640" actId="167"/>
          <ac:picMkLst>
            <pc:docMk/>
            <pc:sldMk cId="740322252" sldId="2147483645"/>
            <ac:picMk id="4" creationId="{5057A974-29DF-8C96-08C5-68634073F9C0}"/>
          </ac:picMkLst>
        </pc:picChg>
        <pc:picChg chg="mod ord">
          <ac:chgData name="Lorenz, Nils" userId="3f5c7925-df17-4f30-a1fc-184c4ee37b8c" providerId="ADAL" clId="{AF486BAC-7599-40AF-BEA9-6F990C7494E8}" dt="2024-09-16T05:57:23.106" v="1569" actId="166"/>
          <ac:picMkLst>
            <pc:docMk/>
            <pc:sldMk cId="740322252" sldId="2147483645"/>
            <ac:picMk id="5" creationId="{3C537DEE-9E38-A72B-FEF3-5C99D106F7C5}"/>
          </ac:picMkLst>
        </pc:picChg>
      </pc:sldChg>
      <pc:sldChg chg="addSp modSp add mod modTransition modNotesTx">
        <pc:chgData name="Lorenz, Nils" userId="3f5c7925-df17-4f30-a1fc-184c4ee37b8c" providerId="ADAL" clId="{AF486BAC-7599-40AF-BEA9-6F990C7494E8}" dt="2024-09-16T06:06:09.437" v="1649" actId="167"/>
        <pc:sldMkLst>
          <pc:docMk/>
          <pc:sldMk cId="1116432846" sldId="2147483646"/>
        </pc:sldMkLst>
        <pc:picChg chg="add mod ord">
          <ac:chgData name="Lorenz, Nils" userId="3f5c7925-df17-4f30-a1fc-184c4ee37b8c" providerId="ADAL" clId="{AF486BAC-7599-40AF-BEA9-6F990C7494E8}" dt="2024-09-16T06:06:09.437" v="1649" actId="167"/>
          <ac:picMkLst>
            <pc:docMk/>
            <pc:sldMk cId="1116432846" sldId="2147483646"/>
            <ac:picMk id="4" creationId="{F01803D5-868D-F57E-A143-C998350C04BD}"/>
          </ac:picMkLst>
        </pc:picChg>
      </pc:sldChg>
      <pc:sldChg chg="addSp modSp add mod modNotesTx">
        <pc:chgData name="Lorenz, Nils" userId="3f5c7925-df17-4f30-a1fc-184c4ee37b8c" providerId="ADAL" clId="{AF486BAC-7599-40AF-BEA9-6F990C7494E8}" dt="2024-09-16T06:05:38.783" v="1642" actId="167"/>
        <pc:sldMkLst>
          <pc:docMk/>
          <pc:sldMk cId="862727946" sldId="2147483647"/>
        </pc:sldMkLst>
        <pc:picChg chg="mod">
          <ac:chgData name="Lorenz, Nils" userId="3f5c7925-df17-4f30-a1fc-184c4ee37b8c" providerId="ADAL" clId="{AF486BAC-7599-40AF-BEA9-6F990C7494E8}" dt="2024-09-16T05:57:38.419" v="1576" actId="14100"/>
          <ac:picMkLst>
            <pc:docMk/>
            <pc:sldMk cId="862727946" sldId="2147483647"/>
            <ac:picMk id="3" creationId="{5D0E87B9-AF1E-856C-E330-C93DEA50D83D}"/>
          </ac:picMkLst>
        </pc:picChg>
        <pc:picChg chg="add mod ord">
          <ac:chgData name="Lorenz, Nils" userId="3f5c7925-df17-4f30-a1fc-184c4ee37b8c" providerId="ADAL" clId="{AF486BAC-7599-40AF-BEA9-6F990C7494E8}" dt="2024-09-16T06:05:38.783" v="1642" actId="167"/>
          <ac:picMkLst>
            <pc:docMk/>
            <pc:sldMk cId="862727946" sldId="2147483647"/>
            <ac:picMk id="4" creationId="{B8BC503B-9DCA-4A39-10A3-D7B0D7F05851}"/>
          </ac:picMkLst>
        </pc:picChg>
        <pc:picChg chg="mod ord">
          <ac:chgData name="Lorenz, Nils" userId="3f5c7925-df17-4f30-a1fc-184c4ee37b8c" providerId="ADAL" clId="{AF486BAC-7599-40AF-BEA9-6F990C7494E8}" dt="2024-09-16T05:57:46.559" v="1580" actId="1076"/>
          <ac:picMkLst>
            <pc:docMk/>
            <pc:sldMk cId="862727946" sldId="2147483647"/>
            <ac:picMk id="5" creationId="{3C537DEE-9E38-A72B-FEF3-5C99D106F7C5}"/>
          </ac:picMkLst>
        </pc:picChg>
      </pc:sldChg>
      <pc:sldMasterChg chg="modSldLayout">
        <pc:chgData name="Lorenz, Nils" userId="3f5c7925-df17-4f30-a1fc-184c4ee37b8c" providerId="ADAL" clId="{AF486BAC-7599-40AF-BEA9-6F990C7494E8}" dt="2024-09-26T12:05:07.642" v="1954" actId="139"/>
        <pc:sldMasterMkLst>
          <pc:docMk/>
          <pc:sldMasterMk cId="3408294523" sldId="2147483733"/>
        </pc:sldMasterMkLst>
        <pc:sldLayoutChg chg="modSp mod">
          <pc:chgData name="Lorenz, Nils" userId="3f5c7925-df17-4f30-a1fc-184c4ee37b8c" providerId="ADAL" clId="{AF486BAC-7599-40AF-BEA9-6F990C7494E8}" dt="2024-09-26T12:05:07.550" v="1934" actId="139"/>
          <pc:sldLayoutMkLst>
            <pc:docMk/>
            <pc:sldMasterMk cId="3408294523" sldId="2147483733"/>
            <pc:sldLayoutMk cId="1982410628" sldId="2147483773"/>
          </pc:sldLayoutMkLst>
          <pc:spChg chg="mod">
            <ac:chgData name="Lorenz, Nils" userId="3f5c7925-df17-4f30-a1fc-184c4ee37b8c" providerId="ADAL" clId="{AF486BAC-7599-40AF-BEA9-6F990C7494E8}" dt="2024-09-26T12:05:07.550" v="1934" actId="139"/>
            <ac:spMkLst>
              <pc:docMk/>
              <pc:sldMasterMk cId="3408294523" sldId="2147483733"/>
              <pc:sldLayoutMk cId="1982410628" sldId="2147483773"/>
              <ac:spMk id="6" creationId="{870EB466-B92B-9D4D-974E-A49C0F424152}"/>
            </ac:spMkLst>
          </pc:spChg>
        </pc:sldLayoutChg>
        <pc:sldLayoutChg chg="modSp mod">
          <pc:chgData name="Lorenz, Nils" userId="3f5c7925-df17-4f30-a1fc-184c4ee37b8c" providerId="ADAL" clId="{AF486BAC-7599-40AF-BEA9-6F990C7494E8}" dt="2024-09-26T12:05:07.574" v="1940" actId="139"/>
          <pc:sldLayoutMkLst>
            <pc:docMk/>
            <pc:sldMasterMk cId="3408294523" sldId="2147483733"/>
            <pc:sldLayoutMk cId="1084997862" sldId="2147483777"/>
          </pc:sldLayoutMkLst>
          <pc:spChg chg="mod">
            <ac:chgData name="Lorenz, Nils" userId="3f5c7925-df17-4f30-a1fc-184c4ee37b8c" providerId="ADAL" clId="{AF486BAC-7599-40AF-BEA9-6F990C7494E8}" dt="2024-09-26T12:05:07.574" v="1940" actId="139"/>
            <ac:spMkLst>
              <pc:docMk/>
              <pc:sldMasterMk cId="3408294523" sldId="2147483733"/>
              <pc:sldLayoutMk cId="1084997862" sldId="2147483777"/>
              <ac:spMk id="4" creationId="{13EDB9F6-FBDA-8ED8-A84B-244CC53CFF99}"/>
            </ac:spMkLst>
          </pc:spChg>
        </pc:sldLayoutChg>
        <pc:sldLayoutChg chg="modSp mod">
          <pc:chgData name="Lorenz, Nils" userId="3f5c7925-df17-4f30-a1fc-184c4ee37b8c" providerId="ADAL" clId="{AF486BAC-7599-40AF-BEA9-6F990C7494E8}" dt="2024-09-26T12:05:07.558" v="1936" actId="139"/>
          <pc:sldLayoutMkLst>
            <pc:docMk/>
            <pc:sldMasterMk cId="3408294523" sldId="2147483733"/>
            <pc:sldLayoutMk cId="2667257257" sldId="2147483780"/>
          </pc:sldLayoutMkLst>
          <pc:spChg chg="mod">
            <ac:chgData name="Lorenz, Nils" userId="3f5c7925-df17-4f30-a1fc-184c4ee37b8c" providerId="ADAL" clId="{AF486BAC-7599-40AF-BEA9-6F990C7494E8}" dt="2024-09-26T12:05:07.558" v="1936" actId="139"/>
            <ac:spMkLst>
              <pc:docMk/>
              <pc:sldMasterMk cId="3408294523" sldId="2147483733"/>
              <pc:sldLayoutMk cId="2667257257" sldId="2147483780"/>
              <ac:spMk id="7" creationId="{1D05DC80-84C9-9ECA-3B84-3577D8D81659}"/>
            </ac:spMkLst>
          </pc:spChg>
        </pc:sldLayoutChg>
        <pc:sldLayoutChg chg="modSp mod">
          <pc:chgData name="Lorenz, Nils" userId="3f5c7925-df17-4f30-a1fc-184c4ee37b8c" providerId="ADAL" clId="{AF486BAC-7599-40AF-BEA9-6F990C7494E8}" dt="2024-09-26T12:05:07.566" v="1938" actId="139"/>
          <pc:sldLayoutMkLst>
            <pc:docMk/>
            <pc:sldMasterMk cId="3408294523" sldId="2147483733"/>
            <pc:sldLayoutMk cId="277845837" sldId="2147483787"/>
          </pc:sldLayoutMkLst>
          <pc:spChg chg="mod">
            <ac:chgData name="Lorenz, Nils" userId="3f5c7925-df17-4f30-a1fc-184c4ee37b8c" providerId="ADAL" clId="{AF486BAC-7599-40AF-BEA9-6F990C7494E8}" dt="2024-09-26T12:05:07.566" v="1938" actId="139"/>
            <ac:spMkLst>
              <pc:docMk/>
              <pc:sldMasterMk cId="3408294523" sldId="2147483733"/>
              <pc:sldLayoutMk cId="277845837" sldId="2147483787"/>
              <ac:spMk id="8" creationId="{F1333C1B-AD40-D53A-5A1E-EFB8C6390D49}"/>
            </ac:spMkLst>
          </pc:spChg>
        </pc:sldLayoutChg>
        <pc:sldLayoutChg chg="modSp mod">
          <pc:chgData name="Lorenz, Nils" userId="3f5c7925-df17-4f30-a1fc-184c4ee37b8c" providerId="ADAL" clId="{AF486BAC-7599-40AF-BEA9-6F990C7494E8}" dt="2024-09-26T12:05:07.581" v="1942" actId="139"/>
          <pc:sldLayoutMkLst>
            <pc:docMk/>
            <pc:sldMasterMk cId="3408294523" sldId="2147483733"/>
            <pc:sldLayoutMk cId="2183850539" sldId="2147483788"/>
          </pc:sldLayoutMkLst>
          <pc:spChg chg="mod">
            <ac:chgData name="Lorenz, Nils" userId="3f5c7925-df17-4f30-a1fc-184c4ee37b8c" providerId="ADAL" clId="{AF486BAC-7599-40AF-BEA9-6F990C7494E8}" dt="2024-09-26T12:05:07.581" v="1942" actId="139"/>
            <ac:spMkLst>
              <pc:docMk/>
              <pc:sldMasterMk cId="3408294523" sldId="2147483733"/>
              <pc:sldLayoutMk cId="2183850539" sldId="2147483788"/>
              <ac:spMk id="9" creationId="{CE0C2033-6FDF-7DD6-E25C-C03296FDAD00}"/>
            </ac:spMkLst>
          </pc:spChg>
        </pc:sldLayoutChg>
        <pc:sldLayoutChg chg="modSp mod">
          <pc:chgData name="Lorenz, Nils" userId="3f5c7925-df17-4f30-a1fc-184c4ee37b8c" providerId="ADAL" clId="{AF486BAC-7599-40AF-BEA9-6F990C7494E8}" dt="2024-09-26T12:05:07.588" v="1944" actId="139"/>
          <pc:sldLayoutMkLst>
            <pc:docMk/>
            <pc:sldMasterMk cId="3408294523" sldId="2147483733"/>
            <pc:sldLayoutMk cId="1554761476" sldId="2147483789"/>
          </pc:sldLayoutMkLst>
          <pc:spChg chg="mod">
            <ac:chgData name="Lorenz, Nils" userId="3f5c7925-df17-4f30-a1fc-184c4ee37b8c" providerId="ADAL" clId="{AF486BAC-7599-40AF-BEA9-6F990C7494E8}" dt="2024-09-26T12:05:07.588" v="1944" actId="139"/>
            <ac:spMkLst>
              <pc:docMk/>
              <pc:sldMasterMk cId="3408294523" sldId="2147483733"/>
              <pc:sldLayoutMk cId="1554761476" sldId="2147483789"/>
              <ac:spMk id="11" creationId="{62D91ACB-BD14-46CB-4B61-F4B072D877C0}"/>
            </ac:spMkLst>
          </pc:spChg>
        </pc:sldLayoutChg>
        <pc:sldLayoutChg chg="modSp mod">
          <pc:chgData name="Lorenz, Nils" userId="3f5c7925-df17-4f30-a1fc-184c4ee37b8c" providerId="ADAL" clId="{AF486BAC-7599-40AF-BEA9-6F990C7494E8}" dt="2024-09-26T12:05:07.599" v="1946" actId="139"/>
          <pc:sldLayoutMkLst>
            <pc:docMk/>
            <pc:sldMasterMk cId="3408294523" sldId="2147483733"/>
            <pc:sldLayoutMk cId="1315975548" sldId="2147483790"/>
          </pc:sldLayoutMkLst>
          <pc:spChg chg="mod">
            <ac:chgData name="Lorenz, Nils" userId="3f5c7925-df17-4f30-a1fc-184c4ee37b8c" providerId="ADAL" clId="{AF486BAC-7599-40AF-BEA9-6F990C7494E8}" dt="2024-09-26T12:05:07.599" v="1946" actId="139"/>
            <ac:spMkLst>
              <pc:docMk/>
              <pc:sldMasterMk cId="3408294523" sldId="2147483733"/>
              <pc:sldLayoutMk cId="1315975548" sldId="2147483790"/>
              <ac:spMk id="3" creationId="{D417CEF6-1FCD-75B6-FA13-C583ECCE7BE5}"/>
            </ac:spMkLst>
          </pc:spChg>
        </pc:sldLayoutChg>
        <pc:sldLayoutChg chg="modSp mod">
          <pc:chgData name="Lorenz, Nils" userId="3f5c7925-df17-4f30-a1fc-184c4ee37b8c" providerId="ADAL" clId="{AF486BAC-7599-40AF-BEA9-6F990C7494E8}" dt="2024-09-26T12:05:07.609" v="1948" actId="139"/>
          <pc:sldLayoutMkLst>
            <pc:docMk/>
            <pc:sldMasterMk cId="3408294523" sldId="2147483733"/>
            <pc:sldLayoutMk cId="4293282121" sldId="2147483791"/>
          </pc:sldLayoutMkLst>
          <pc:spChg chg="mod">
            <ac:chgData name="Lorenz, Nils" userId="3f5c7925-df17-4f30-a1fc-184c4ee37b8c" providerId="ADAL" clId="{AF486BAC-7599-40AF-BEA9-6F990C7494E8}" dt="2024-09-26T12:05:07.609" v="1948" actId="139"/>
            <ac:spMkLst>
              <pc:docMk/>
              <pc:sldMasterMk cId="3408294523" sldId="2147483733"/>
              <pc:sldLayoutMk cId="4293282121" sldId="2147483791"/>
              <ac:spMk id="3" creationId="{D67AB148-356D-F356-4E6C-9664D9EB9DF3}"/>
            </ac:spMkLst>
          </pc:spChg>
        </pc:sldLayoutChg>
        <pc:sldLayoutChg chg="modSp mod">
          <pc:chgData name="Lorenz, Nils" userId="3f5c7925-df17-4f30-a1fc-184c4ee37b8c" providerId="ADAL" clId="{AF486BAC-7599-40AF-BEA9-6F990C7494E8}" dt="2024-09-26T12:05:07.620" v="1950" actId="139"/>
          <pc:sldLayoutMkLst>
            <pc:docMk/>
            <pc:sldMasterMk cId="3408294523" sldId="2147483733"/>
            <pc:sldLayoutMk cId="2910220013" sldId="2147483792"/>
          </pc:sldLayoutMkLst>
          <pc:spChg chg="mod">
            <ac:chgData name="Lorenz, Nils" userId="3f5c7925-df17-4f30-a1fc-184c4ee37b8c" providerId="ADAL" clId="{AF486BAC-7599-40AF-BEA9-6F990C7494E8}" dt="2024-09-26T12:05:07.620" v="1950" actId="139"/>
            <ac:spMkLst>
              <pc:docMk/>
              <pc:sldMasterMk cId="3408294523" sldId="2147483733"/>
              <pc:sldLayoutMk cId="2910220013" sldId="2147483792"/>
              <ac:spMk id="3" creationId="{BBFBBDC3-D031-6041-465D-9F7147F423CF}"/>
            </ac:spMkLst>
          </pc:spChg>
        </pc:sldLayoutChg>
        <pc:sldLayoutChg chg="modSp mod">
          <pc:chgData name="Lorenz, Nils" userId="3f5c7925-df17-4f30-a1fc-184c4ee37b8c" providerId="ADAL" clId="{AF486BAC-7599-40AF-BEA9-6F990C7494E8}" dt="2024-09-26T12:05:07.632" v="1952" actId="139"/>
          <pc:sldLayoutMkLst>
            <pc:docMk/>
            <pc:sldMasterMk cId="3408294523" sldId="2147483733"/>
            <pc:sldLayoutMk cId="1043655704" sldId="2147483793"/>
          </pc:sldLayoutMkLst>
          <pc:spChg chg="mod">
            <ac:chgData name="Lorenz, Nils" userId="3f5c7925-df17-4f30-a1fc-184c4ee37b8c" providerId="ADAL" clId="{AF486BAC-7599-40AF-BEA9-6F990C7494E8}" dt="2024-09-26T12:05:07.632" v="1952" actId="139"/>
            <ac:spMkLst>
              <pc:docMk/>
              <pc:sldMasterMk cId="3408294523" sldId="2147483733"/>
              <pc:sldLayoutMk cId="1043655704" sldId="2147483793"/>
              <ac:spMk id="3" creationId="{4A078429-99DD-7555-B0F4-FEF46FD297B0}"/>
            </ac:spMkLst>
          </pc:spChg>
        </pc:sldLayoutChg>
        <pc:sldLayoutChg chg="modSp mod">
          <pc:chgData name="Lorenz, Nils" userId="3f5c7925-df17-4f30-a1fc-184c4ee37b8c" providerId="ADAL" clId="{AF486BAC-7599-40AF-BEA9-6F990C7494E8}" dt="2024-09-26T12:05:07.642" v="1954" actId="139"/>
          <pc:sldLayoutMkLst>
            <pc:docMk/>
            <pc:sldMasterMk cId="3408294523" sldId="2147483733"/>
            <pc:sldLayoutMk cId="1979749642" sldId="2147483794"/>
          </pc:sldLayoutMkLst>
          <pc:spChg chg="mod">
            <ac:chgData name="Lorenz, Nils" userId="3f5c7925-df17-4f30-a1fc-184c4ee37b8c" providerId="ADAL" clId="{AF486BAC-7599-40AF-BEA9-6F990C7494E8}" dt="2024-09-26T12:05:07.642" v="1954" actId="139"/>
            <ac:spMkLst>
              <pc:docMk/>
              <pc:sldMasterMk cId="3408294523" sldId="2147483733"/>
              <pc:sldLayoutMk cId="1979749642" sldId="2147483794"/>
              <ac:spMk id="5" creationId="{7A6CB977-D711-D436-9DC2-AAFCC56F9CAA}"/>
            </ac:spMkLst>
          </pc:spChg>
        </pc:sldLayoutChg>
      </pc:sldMasterChg>
    </pc:docChg>
  </pc:docChgLst>
  <pc:docChgLst>
    <pc:chgData name="Okos, Florian" userId="40f8031e-7e80-4995-afe7-257422c635be" providerId="ADAL" clId="{340BEC67-97A0-074E-A58E-7CFBA4B30750}"/>
    <pc:docChg chg="undo custSel addSld delSld modSld sldOrd addSection modSection">
      <pc:chgData name="Okos, Florian" userId="40f8031e-7e80-4995-afe7-257422c635be" providerId="ADAL" clId="{340BEC67-97A0-074E-A58E-7CFBA4B30750}" dt="2024-09-17T12:33:16.940" v="2983" actId="27636"/>
      <pc:docMkLst>
        <pc:docMk/>
      </pc:docMkLst>
      <pc:sldChg chg="add">
        <pc:chgData name="Okos, Florian" userId="40f8031e-7e80-4995-afe7-257422c635be" providerId="ADAL" clId="{340BEC67-97A0-074E-A58E-7CFBA4B30750}" dt="2024-07-02T08:26:19.807" v="2095"/>
        <pc:sldMkLst>
          <pc:docMk/>
          <pc:sldMk cId="2286617899" sldId="259"/>
        </pc:sldMkLst>
      </pc:sldChg>
      <pc:sldChg chg="addSp modSp add mod">
        <pc:chgData name="Okos, Florian" userId="40f8031e-7e80-4995-afe7-257422c635be" providerId="ADAL" clId="{340BEC67-97A0-074E-A58E-7CFBA4B30750}" dt="2024-09-11T07:34:27.278" v="2811" actId="20577"/>
        <pc:sldMkLst>
          <pc:docMk/>
          <pc:sldMk cId="784157185" sldId="260"/>
        </pc:sldMkLst>
      </pc:sldChg>
      <pc:sldChg chg="modNotes">
        <pc:chgData name="Okos, Florian" userId="40f8031e-7e80-4995-afe7-257422c635be" providerId="ADAL" clId="{340BEC67-97A0-074E-A58E-7CFBA4B30750}" dt="2024-09-17T12:33:16.940" v="2983" actId="27636"/>
        <pc:sldMkLst>
          <pc:docMk/>
          <pc:sldMk cId="1267931823" sldId="262"/>
        </pc:sldMkLst>
      </pc:sldChg>
      <pc:sldChg chg="add del">
        <pc:chgData name="Okos, Florian" userId="40f8031e-7e80-4995-afe7-257422c635be" providerId="ADAL" clId="{340BEC67-97A0-074E-A58E-7CFBA4B30750}" dt="2024-09-11T07:33:46.229" v="2806" actId="2696"/>
        <pc:sldMkLst>
          <pc:docMk/>
          <pc:sldMk cId="2519554936" sldId="387"/>
        </pc:sldMkLst>
      </pc:sldChg>
      <pc:sldChg chg="modSp mod">
        <pc:chgData name="Okos, Florian" userId="40f8031e-7e80-4995-afe7-257422c635be" providerId="ADAL" clId="{340BEC67-97A0-074E-A58E-7CFBA4B30750}" dt="2024-06-18T08:49:01.075" v="40" actId="20577"/>
        <pc:sldMkLst>
          <pc:docMk/>
          <pc:sldMk cId="3316874168" sldId="402"/>
        </pc:sldMkLst>
      </pc:sldChg>
      <pc:sldChg chg="addSp modSp mod">
        <pc:chgData name="Okos, Florian" userId="40f8031e-7e80-4995-afe7-257422c635be" providerId="ADAL" clId="{340BEC67-97A0-074E-A58E-7CFBA4B30750}" dt="2024-07-02T07:45:20.150" v="1798" actId="1076"/>
        <pc:sldMkLst>
          <pc:docMk/>
          <pc:sldMk cId="219324281" sldId="403"/>
        </pc:sldMkLst>
      </pc:sldChg>
      <pc:sldChg chg="del">
        <pc:chgData name="Okos, Florian" userId="40f8031e-7e80-4995-afe7-257422c635be" providerId="ADAL" clId="{340BEC67-97A0-074E-A58E-7CFBA4B30750}" dt="2024-07-02T06:23:27.603" v="1075" actId="2696"/>
        <pc:sldMkLst>
          <pc:docMk/>
          <pc:sldMk cId="1414804813" sldId="404"/>
        </pc:sldMkLst>
      </pc:sldChg>
      <pc:sldChg chg="add del">
        <pc:chgData name="Okos, Florian" userId="40f8031e-7e80-4995-afe7-257422c635be" providerId="ADAL" clId="{340BEC67-97A0-074E-A58E-7CFBA4B30750}" dt="2024-07-02T06:12:59.896" v="638" actId="2696"/>
        <pc:sldMkLst>
          <pc:docMk/>
          <pc:sldMk cId="2656397427" sldId="793"/>
        </pc:sldMkLst>
      </pc:sldChg>
      <pc:sldChg chg="delSp modSp add mod">
        <pc:chgData name="Okos, Florian" userId="40f8031e-7e80-4995-afe7-257422c635be" providerId="ADAL" clId="{340BEC67-97A0-074E-A58E-7CFBA4B30750}" dt="2024-07-02T10:27:21.860" v="2460"/>
        <pc:sldMkLst>
          <pc:docMk/>
          <pc:sldMk cId="1584008482" sldId="938"/>
        </pc:sldMkLst>
      </pc:sldChg>
      <pc:sldChg chg="modSp add mod ord">
        <pc:chgData name="Okos, Florian" userId="40f8031e-7e80-4995-afe7-257422c635be" providerId="ADAL" clId="{340BEC67-97A0-074E-A58E-7CFBA4B30750}" dt="2024-07-02T08:25:09.708" v="2094" actId="20578"/>
        <pc:sldMkLst>
          <pc:docMk/>
          <pc:sldMk cId="1176669024" sldId="8652"/>
        </pc:sldMkLst>
      </pc:sldChg>
      <pc:sldChg chg="addSp delSp modSp add mod ord">
        <pc:chgData name="Okos, Florian" userId="40f8031e-7e80-4995-afe7-257422c635be" providerId="ADAL" clId="{340BEC67-97A0-074E-A58E-7CFBA4B30750}" dt="2024-09-16T13:20:59.812" v="2982" actId="20577"/>
        <pc:sldMkLst>
          <pc:docMk/>
          <pc:sldMk cId="989715596" sldId="2146849106"/>
        </pc:sldMkLst>
        <pc:spChg chg="mod">
          <ac:chgData name="Okos, Florian" userId="40f8031e-7e80-4995-afe7-257422c635be" providerId="ADAL" clId="{340BEC67-97A0-074E-A58E-7CFBA4B30750}" dt="2024-09-16T13:20:59.812" v="2982" actId="20577"/>
          <ac:spMkLst>
            <pc:docMk/>
            <pc:sldMk cId="989715596" sldId="2146849106"/>
            <ac:spMk id="4" creationId="{00000000-0000-0000-0000-000000000000}"/>
          </ac:spMkLst>
        </pc:spChg>
        <pc:spChg chg="mod">
          <ac:chgData name="Okos, Florian" userId="40f8031e-7e80-4995-afe7-257422c635be" providerId="ADAL" clId="{340BEC67-97A0-074E-A58E-7CFBA4B30750}" dt="2024-09-16T13:20:38.706" v="2947" actId="1076"/>
          <ac:spMkLst>
            <pc:docMk/>
            <pc:sldMk cId="989715596" sldId="2146849106"/>
            <ac:spMk id="9" creationId="{841AF2EE-74FC-472C-8B32-F66FA8FA3B32}"/>
          </ac:spMkLst>
        </pc:spChg>
      </pc:sldChg>
      <pc:sldChg chg="add modNotes">
        <pc:chgData name="Okos, Florian" userId="40f8031e-7e80-4995-afe7-257422c635be" providerId="ADAL" clId="{340BEC67-97A0-074E-A58E-7CFBA4B30750}" dt="2024-07-02T08:22:54.815" v="2090" actId="27636"/>
        <pc:sldMkLst>
          <pc:docMk/>
          <pc:sldMk cId="303264891" sldId="2147376814"/>
        </pc:sldMkLst>
      </pc:sldChg>
      <pc:sldChg chg="add ord">
        <pc:chgData name="Okos, Florian" userId="40f8031e-7e80-4995-afe7-257422c635be" providerId="ADAL" clId="{340BEC67-97A0-074E-A58E-7CFBA4B30750}" dt="2024-07-02T08:20:44.760" v="2086" actId="20578"/>
        <pc:sldMkLst>
          <pc:docMk/>
          <pc:sldMk cId="2291258628" sldId="2147376871"/>
        </pc:sldMkLst>
      </pc:sldChg>
      <pc:sldChg chg="add">
        <pc:chgData name="Okos, Florian" userId="40f8031e-7e80-4995-afe7-257422c635be" providerId="ADAL" clId="{340BEC67-97A0-074E-A58E-7CFBA4B30750}" dt="2024-07-02T08:20:36.334" v="2085"/>
        <pc:sldMkLst>
          <pc:docMk/>
          <pc:sldMk cId="4057826460" sldId="2147376898"/>
        </pc:sldMkLst>
      </pc:sldChg>
      <pc:sldChg chg="add">
        <pc:chgData name="Okos, Florian" userId="40f8031e-7e80-4995-afe7-257422c635be" providerId="ADAL" clId="{340BEC67-97A0-074E-A58E-7CFBA4B30750}" dt="2024-07-02T08:20:36.334" v="2085"/>
        <pc:sldMkLst>
          <pc:docMk/>
          <pc:sldMk cId="1121829975" sldId="2147376942"/>
        </pc:sldMkLst>
      </pc:sldChg>
      <pc:sldChg chg="add">
        <pc:chgData name="Okos, Florian" userId="40f8031e-7e80-4995-afe7-257422c635be" providerId="ADAL" clId="{340BEC67-97A0-074E-A58E-7CFBA4B30750}" dt="2024-07-02T08:20:36.334" v="2085"/>
        <pc:sldMkLst>
          <pc:docMk/>
          <pc:sldMk cId="3127923041" sldId="2147376950"/>
        </pc:sldMkLst>
      </pc:sldChg>
      <pc:sldChg chg="add">
        <pc:chgData name="Okos, Florian" userId="40f8031e-7e80-4995-afe7-257422c635be" providerId="ADAL" clId="{340BEC67-97A0-074E-A58E-7CFBA4B30750}" dt="2024-07-02T08:20:36.334" v="2085"/>
        <pc:sldMkLst>
          <pc:docMk/>
          <pc:sldMk cId="3864302308" sldId="2147376951"/>
        </pc:sldMkLst>
      </pc:sldChg>
      <pc:sldChg chg="add">
        <pc:chgData name="Okos, Florian" userId="40f8031e-7e80-4995-afe7-257422c635be" providerId="ADAL" clId="{340BEC67-97A0-074E-A58E-7CFBA4B30750}" dt="2024-07-02T08:20:36.334" v="2085"/>
        <pc:sldMkLst>
          <pc:docMk/>
          <pc:sldMk cId="2524960141" sldId="2147376952"/>
        </pc:sldMkLst>
      </pc:sldChg>
      <pc:sldChg chg="add">
        <pc:chgData name="Okos, Florian" userId="40f8031e-7e80-4995-afe7-257422c635be" providerId="ADAL" clId="{340BEC67-97A0-074E-A58E-7CFBA4B30750}" dt="2024-07-02T08:22:54.746" v="2089"/>
        <pc:sldMkLst>
          <pc:docMk/>
          <pc:sldMk cId="1039500865" sldId="2147377197"/>
        </pc:sldMkLst>
      </pc:sldChg>
      <pc:sldChg chg="add">
        <pc:chgData name="Okos, Florian" userId="40f8031e-7e80-4995-afe7-257422c635be" providerId="ADAL" clId="{340BEC67-97A0-074E-A58E-7CFBA4B30750}" dt="2024-07-02T08:19:40.192" v="2081"/>
        <pc:sldMkLst>
          <pc:docMk/>
          <pc:sldMk cId="1664044976" sldId="2147477044"/>
        </pc:sldMkLst>
      </pc:sldChg>
      <pc:sldChg chg="addSp delSp modSp add mod">
        <pc:chgData name="Okos, Florian" userId="40f8031e-7e80-4995-afe7-257422c635be" providerId="ADAL" clId="{340BEC67-97A0-074E-A58E-7CFBA4B30750}" dt="2024-09-11T07:28:17.286" v="2783" actId="1076"/>
        <pc:sldMkLst>
          <pc:docMk/>
          <pc:sldMk cId="1401693984" sldId="2147477316"/>
        </pc:sldMkLst>
      </pc:sldChg>
      <pc:sldChg chg="add">
        <pc:chgData name="Okos, Florian" userId="40f8031e-7e80-4995-afe7-257422c635be" providerId="ADAL" clId="{340BEC67-97A0-074E-A58E-7CFBA4B30750}" dt="2024-07-02T08:20:36.334" v="2085"/>
        <pc:sldMkLst>
          <pc:docMk/>
          <pc:sldMk cId="1155962617" sldId="2147479095"/>
        </pc:sldMkLst>
      </pc:sldChg>
      <pc:sldChg chg="add">
        <pc:chgData name="Okos, Florian" userId="40f8031e-7e80-4995-afe7-257422c635be" providerId="ADAL" clId="{340BEC67-97A0-074E-A58E-7CFBA4B30750}" dt="2024-07-02T08:18:23.753" v="2077"/>
        <pc:sldMkLst>
          <pc:docMk/>
          <pc:sldMk cId="3689292654" sldId="2147483015"/>
        </pc:sldMkLst>
      </pc:sldChg>
      <pc:sldChg chg="add">
        <pc:chgData name="Okos, Florian" userId="40f8031e-7e80-4995-afe7-257422c635be" providerId="ADAL" clId="{340BEC67-97A0-074E-A58E-7CFBA4B30750}" dt="2024-07-02T08:18:23.753" v="2077"/>
        <pc:sldMkLst>
          <pc:docMk/>
          <pc:sldMk cId="2425872606" sldId="2147483018"/>
        </pc:sldMkLst>
      </pc:sldChg>
      <pc:sldChg chg="add">
        <pc:chgData name="Okos, Florian" userId="40f8031e-7e80-4995-afe7-257422c635be" providerId="ADAL" clId="{340BEC67-97A0-074E-A58E-7CFBA4B30750}" dt="2024-07-02T08:18:23.753" v="2077"/>
        <pc:sldMkLst>
          <pc:docMk/>
          <pc:sldMk cId="2699902935" sldId="2147483019"/>
        </pc:sldMkLst>
      </pc:sldChg>
      <pc:sldChg chg="add">
        <pc:chgData name="Okos, Florian" userId="40f8031e-7e80-4995-afe7-257422c635be" providerId="ADAL" clId="{340BEC67-97A0-074E-A58E-7CFBA4B30750}" dt="2024-07-02T08:24:27.590" v="2092"/>
        <pc:sldMkLst>
          <pc:docMk/>
          <pc:sldMk cId="6553904" sldId="2147483038"/>
        </pc:sldMkLst>
      </pc:sldChg>
      <pc:sldChg chg="modSp add mod">
        <pc:chgData name="Okos, Florian" userId="40f8031e-7e80-4995-afe7-257422c635be" providerId="ADAL" clId="{340BEC67-97A0-074E-A58E-7CFBA4B30750}" dt="2024-09-16T13:13:27.554" v="2936" actId="1076"/>
        <pc:sldMkLst>
          <pc:docMk/>
          <pc:sldMk cId="977939964" sldId="2147483049"/>
        </pc:sldMkLst>
        <pc:spChg chg="mod">
          <ac:chgData name="Okos, Florian" userId="40f8031e-7e80-4995-afe7-257422c635be" providerId="ADAL" clId="{340BEC67-97A0-074E-A58E-7CFBA4B30750}" dt="2024-09-16T13:13:27.554" v="2936" actId="1076"/>
          <ac:spMkLst>
            <pc:docMk/>
            <pc:sldMk cId="977939964" sldId="2147483049"/>
            <ac:spMk id="188" creationId="{00000000-0000-0000-0000-000000000000}"/>
          </ac:spMkLst>
        </pc:spChg>
      </pc:sldChg>
      <pc:sldChg chg="add">
        <pc:chgData name="Okos, Florian" userId="40f8031e-7e80-4995-afe7-257422c635be" providerId="ADAL" clId="{340BEC67-97A0-074E-A58E-7CFBA4B30750}" dt="2024-07-02T08:22:54.746" v="2089"/>
        <pc:sldMkLst>
          <pc:docMk/>
          <pc:sldMk cId="4087980484" sldId="2147483054"/>
        </pc:sldMkLst>
      </pc:sldChg>
      <pc:sldChg chg="add">
        <pc:chgData name="Okos, Florian" userId="40f8031e-7e80-4995-afe7-257422c635be" providerId="ADAL" clId="{340BEC67-97A0-074E-A58E-7CFBA4B30750}" dt="2024-09-11T07:32:10.206" v="2805"/>
        <pc:sldMkLst>
          <pc:docMk/>
          <pc:sldMk cId="854146784" sldId="2147483342"/>
        </pc:sldMkLst>
      </pc:sldChg>
      <pc:sldChg chg="add">
        <pc:chgData name="Okos, Florian" userId="40f8031e-7e80-4995-afe7-257422c635be" providerId="ADAL" clId="{340BEC67-97A0-074E-A58E-7CFBA4B30750}" dt="2024-07-02T08:22:54.746" v="2089"/>
        <pc:sldMkLst>
          <pc:docMk/>
          <pc:sldMk cId="4215330131" sldId="2147483498"/>
        </pc:sldMkLst>
      </pc:sldChg>
      <pc:sldChg chg="add del">
        <pc:chgData name="Okos, Florian" userId="40f8031e-7e80-4995-afe7-257422c635be" providerId="ADAL" clId="{340BEC67-97A0-074E-A58E-7CFBA4B30750}" dt="2024-09-11T07:22:39.558" v="2614" actId="2696"/>
        <pc:sldMkLst>
          <pc:docMk/>
          <pc:sldMk cId="4247009137" sldId="2147483517"/>
        </pc:sldMkLst>
      </pc:sldChg>
      <pc:sldChg chg="add">
        <pc:chgData name="Okos, Florian" userId="40f8031e-7e80-4995-afe7-257422c635be" providerId="ADAL" clId="{340BEC67-97A0-074E-A58E-7CFBA4B30750}" dt="2024-07-02T08:26:25.731" v="2096"/>
        <pc:sldMkLst>
          <pc:docMk/>
          <pc:sldMk cId="455073347" sldId="2147483537"/>
        </pc:sldMkLst>
      </pc:sldChg>
      <pc:sldChg chg="addSp delSp modSp mod ord">
        <pc:chgData name="Okos, Florian" userId="40f8031e-7e80-4995-afe7-257422c635be" providerId="ADAL" clId="{340BEC67-97A0-074E-A58E-7CFBA4B30750}" dt="2024-09-11T07:29:08.369" v="2803" actId="20577"/>
        <pc:sldMkLst>
          <pc:docMk/>
          <pc:sldMk cId="1446643629" sldId="2147483568"/>
        </pc:sldMkLst>
      </pc:sldChg>
      <pc:sldChg chg="modSp mod ord modShow">
        <pc:chgData name="Okos, Florian" userId="40f8031e-7e80-4995-afe7-257422c635be" providerId="ADAL" clId="{340BEC67-97A0-074E-A58E-7CFBA4B30750}" dt="2024-09-16T13:11:19.577" v="2934" actId="729"/>
        <pc:sldMkLst>
          <pc:docMk/>
          <pc:sldMk cId="349464627" sldId="2147483573"/>
        </pc:sldMkLst>
      </pc:sldChg>
      <pc:sldChg chg="mod modShow">
        <pc:chgData name="Okos, Florian" userId="40f8031e-7e80-4995-afe7-257422c635be" providerId="ADAL" clId="{340BEC67-97A0-074E-A58E-7CFBA4B30750}" dt="2024-09-16T13:11:12.715" v="2933" actId="729"/>
        <pc:sldMkLst>
          <pc:docMk/>
          <pc:sldMk cId="804722400" sldId="2147483574"/>
        </pc:sldMkLst>
      </pc:sldChg>
      <pc:sldChg chg="modSp mod">
        <pc:chgData name="Okos, Florian" userId="40f8031e-7e80-4995-afe7-257422c635be" providerId="ADAL" clId="{340BEC67-97A0-074E-A58E-7CFBA4B30750}" dt="2024-07-02T08:13:58.245" v="2063" actId="20577"/>
        <pc:sldMkLst>
          <pc:docMk/>
          <pc:sldMk cId="953036600" sldId="2147483604"/>
        </pc:sldMkLst>
      </pc:sldChg>
      <pc:sldChg chg="addSp delSp modSp mod">
        <pc:chgData name="Okos, Florian" userId="40f8031e-7e80-4995-afe7-257422c635be" providerId="ADAL" clId="{340BEC67-97A0-074E-A58E-7CFBA4B30750}" dt="2024-09-11T07:14:10.273" v="2611" actId="478"/>
        <pc:sldMkLst>
          <pc:docMk/>
          <pc:sldMk cId="3639523501" sldId="2147483605"/>
        </pc:sldMkLst>
      </pc:sldChg>
      <pc:sldChg chg="addSp delSp modSp mod">
        <pc:chgData name="Okos, Florian" userId="40f8031e-7e80-4995-afe7-257422c635be" providerId="ADAL" clId="{340BEC67-97A0-074E-A58E-7CFBA4B30750}" dt="2024-07-02T08:41:56.371" v="2099" actId="1076"/>
        <pc:sldMkLst>
          <pc:docMk/>
          <pc:sldMk cId="508763584" sldId="2147483606"/>
        </pc:sldMkLst>
      </pc:sldChg>
      <pc:sldChg chg="ord">
        <pc:chgData name="Okos, Florian" userId="40f8031e-7e80-4995-afe7-257422c635be" providerId="ADAL" clId="{340BEC67-97A0-074E-A58E-7CFBA4B30750}" dt="2024-07-02T06:59:11.614" v="1583" actId="20578"/>
        <pc:sldMkLst>
          <pc:docMk/>
          <pc:sldMk cId="1396739958" sldId="2147483607"/>
        </pc:sldMkLst>
      </pc:sldChg>
      <pc:sldChg chg="addSp delSp modSp add del mod ord">
        <pc:chgData name="Okos, Florian" userId="40f8031e-7e80-4995-afe7-257422c635be" providerId="ADAL" clId="{340BEC67-97A0-074E-A58E-7CFBA4B30750}" dt="2024-07-02T08:46:48.501" v="2108" actId="2696"/>
        <pc:sldMkLst>
          <pc:docMk/>
          <pc:sldMk cId="499156657" sldId="2147483608"/>
        </pc:sldMkLst>
      </pc:sldChg>
      <pc:sldChg chg="modSp add del mod ord">
        <pc:chgData name="Okos, Florian" userId="40f8031e-7e80-4995-afe7-257422c635be" providerId="ADAL" clId="{340BEC67-97A0-074E-A58E-7CFBA4B30750}" dt="2024-07-02T07:55:18.067" v="1995" actId="2696"/>
        <pc:sldMkLst>
          <pc:docMk/>
          <pc:sldMk cId="27249491" sldId="2147483609"/>
        </pc:sldMkLst>
      </pc:sldChg>
      <pc:sldChg chg="addSp modSp add mod">
        <pc:chgData name="Okos, Florian" userId="40f8031e-7e80-4995-afe7-257422c635be" providerId="ADAL" clId="{340BEC67-97A0-074E-A58E-7CFBA4B30750}" dt="2024-07-02T08:47:18.478" v="2116" actId="20577"/>
        <pc:sldMkLst>
          <pc:docMk/>
          <pc:sldMk cId="2696317524" sldId="2147483610"/>
        </pc:sldMkLst>
      </pc:sldChg>
      <pc:sldChg chg="delSp modSp add mod">
        <pc:chgData name="Okos, Florian" userId="40f8031e-7e80-4995-afe7-257422c635be" providerId="ADAL" clId="{340BEC67-97A0-074E-A58E-7CFBA4B30750}" dt="2024-07-02T08:24:59.271" v="2093" actId="20577"/>
        <pc:sldMkLst>
          <pc:docMk/>
          <pc:sldMk cId="285653180" sldId="2147483611"/>
        </pc:sldMkLst>
      </pc:sldChg>
      <pc:sldChg chg="modSp add mod">
        <pc:chgData name="Okos, Florian" userId="40f8031e-7e80-4995-afe7-257422c635be" providerId="ADAL" clId="{340BEC67-97A0-074E-A58E-7CFBA4B30750}" dt="2024-07-02T08:19:04.264" v="2080" actId="20577"/>
        <pc:sldMkLst>
          <pc:docMk/>
          <pc:sldMk cId="2676425699" sldId="2147483612"/>
        </pc:sldMkLst>
      </pc:sldChg>
      <pc:sldChg chg="del">
        <pc:chgData name="Okos, Florian" userId="40f8031e-7e80-4995-afe7-257422c635be" providerId="ADAL" clId="{340BEC67-97A0-074E-A58E-7CFBA4B30750}" dt="2024-09-11T07:24:22.294" v="2645" actId="2696"/>
        <pc:sldMkLst>
          <pc:docMk/>
          <pc:sldMk cId="2799028052" sldId="2147483613"/>
        </pc:sldMkLst>
      </pc:sldChg>
      <pc:sldChg chg="addSp delSp modSp new mod">
        <pc:chgData name="Okos, Florian" userId="40f8031e-7e80-4995-afe7-257422c635be" providerId="ADAL" clId="{340BEC67-97A0-074E-A58E-7CFBA4B30750}" dt="2024-09-11T14:30:05.689" v="2932"/>
        <pc:sldMkLst>
          <pc:docMk/>
          <pc:sldMk cId="3280608231" sldId="2147483623"/>
        </pc:sldMkLst>
      </pc:sldChg>
    </pc:docChg>
  </pc:docChgLst>
  <pc:docChgLst>
    <pc:chgData name="Maier, Timo" userId="6cc461fc-b839-4725-8e95-6c4298586820" providerId="ADAL" clId="{6CBF55CE-2545-B143-9662-71A10CDEA20D}"/>
    <pc:docChg chg="undo custSel modSld">
      <pc:chgData name="Maier, Timo" userId="6cc461fc-b839-4725-8e95-6c4298586820" providerId="ADAL" clId="{6CBF55CE-2545-B143-9662-71A10CDEA20D}" dt="2024-10-29T13:22:23.445" v="3" actId="20577"/>
      <pc:docMkLst>
        <pc:docMk/>
      </pc:docMkLst>
      <pc:sldChg chg="modSp mod">
        <pc:chgData name="Maier, Timo" userId="6cc461fc-b839-4725-8e95-6c4298586820" providerId="ADAL" clId="{6CBF55CE-2545-B143-9662-71A10CDEA20D}" dt="2024-10-29T13:22:23.445" v="3" actId="20577"/>
        <pc:sldMkLst>
          <pc:docMk/>
          <pc:sldMk cId="3639523501" sldId="2147483605"/>
        </pc:sldMkLst>
        <pc:graphicFrameChg chg="mod modGraphic">
          <ac:chgData name="Maier, Timo" userId="6cc461fc-b839-4725-8e95-6c4298586820" providerId="ADAL" clId="{6CBF55CE-2545-B143-9662-71A10CDEA20D}" dt="2024-10-29T13:22:23.445" v="3" actId="20577"/>
          <ac:graphicFrameMkLst>
            <pc:docMk/>
            <pc:sldMk cId="3639523501" sldId="2147483605"/>
            <ac:graphicFrameMk id="2" creationId="{1B13D625-8245-F64B-9432-43601C6B7E18}"/>
          </ac:graphicFrameMkLst>
        </pc:graphicFrameChg>
      </pc:sldChg>
    </pc:docChg>
  </pc:docChgLst>
  <pc:docChgLst>
    <pc:chgData name="Schupp, Rebekka" userId="S::rebekka.schupp@sap.com::be9bd3fd-c1d0-4a0f-9730-621b4b8c668f" providerId="AD" clId="Web-{5DB171D5-02F8-ED21-BFF1-F199039801FF}"/>
    <pc:docChg chg="modSld">
      <pc:chgData name="Schupp, Rebekka" userId="S::rebekka.schupp@sap.com::be9bd3fd-c1d0-4a0f-9730-621b4b8c668f" providerId="AD" clId="Web-{5DB171D5-02F8-ED21-BFF1-F199039801FF}" dt="2024-06-18T09:11:04.963" v="1" actId="20577"/>
      <pc:docMkLst>
        <pc:docMk/>
      </pc:docMkLst>
      <pc:sldChg chg="modSp">
        <pc:chgData name="Schupp, Rebekka" userId="S::rebekka.schupp@sap.com::be9bd3fd-c1d0-4a0f-9730-621b4b8c668f" providerId="AD" clId="Web-{5DB171D5-02F8-ED21-BFF1-F199039801FF}" dt="2024-06-18T09:11:04.963" v="1" actId="20577"/>
        <pc:sldMkLst>
          <pc:docMk/>
          <pc:sldMk cId="953036600" sldId="2147483604"/>
        </pc:sldMkLst>
      </pc:sldChg>
    </pc:docChg>
  </pc:docChgLst>
  <pc:docChgLst>
    <pc:chgData name="Pfeil, Alex" userId="ba9e60fb-e013-4dfa-96fe-c8a1b8e61dcf" providerId="ADAL" clId="{A4562E26-EF4D-41AE-B3D7-19054202C044}"/>
    <pc:docChg chg="custSel modMainMaster">
      <pc:chgData name="Pfeil, Alex" userId="ba9e60fb-e013-4dfa-96fe-c8a1b8e61dcf" providerId="ADAL" clId="{A4562E26-EF4D-41AE-B3D7-19054202C044}" dt="2024-12-12T07:57:00.838" v="21" actId="139"/>
      <pc:docMkLst>
        <pc:docMk/>
      </pc:docMkLst>
      <pc:sldMasterChg chg="modSldLayout">
        <pc:chgData name="Pfeil, Alex" userId="ba9e60fb-e013-4dfa-96fe-c8a1b8e61dcf" providerId="ADAL" clId="{A4562E26-EF4D-41AE-B3D7-19054202C044}" dt="2024-12-12T07:57:00.838" v="21" actId="139"/>
        <pc:sldMasterMkLst>
          <pc:docMk/>
          <pc:sldMasterMk cId="3408294523" sldId="2147483733"/>
        </pc:sldMasterMkLst>
        <pc:sldLayoutChg chg="modSp mod">
          <pc:chgData name="Pfeil, Alex" userId="ba9e60fb-e013-4dfa-96fe-c8a1b8e61dcf" providerId="ADAL" clId="{A4562E26-EF4D-41AE-B3D7-19054202C044}" dt="2024-12-12T07:57:00.719" v="1" actId="139"/>
          <pc:sldLayoutMkLst>
            <pc:docMk/>
            <pc:sldMasterMk cId="3408294523" sldId="2147483733"/>
            <pc:sldLayoutMk cId="1982410628" sldId="2147483773"/>
          </pc:sldLayoutMkLst>
          <pc:spChg chg="mod">
            <ac:chgData name="Pfeil, Alex" userId="ba9e60fb-e013-4dfa-96fe-c8a1b8e61dcf" providerId="ADAL" clId="{A4562E26-EF4D-41AE-B3D7-19054202C044}" dt="2024-12-12T07:57:00.719" v="1" actId="139"/>
            <ac:spMkLst>
              <pc:docMk/>
              <pc:sldMasterMk cId="3408294523" sldId="2147483733"/>
              <pc:sldLayoutMk cId="1982410628" sldId="2147483773"/>
              <ac:spMk id="6" creationId="{870EB466-B92B-9D4D-974E-A49C0F424152}"/>
            </ac:spMkLst>
          </pc:spChg>
        </pc:sldLayoutChg>
        <pc:sldLayoutChg chg="modSp mod">
          <pc:chgData name="Pfeil, Alex" userId="ba9e60fb-e013-4dfa-96fe-c8a1b8e61dcf" providerId="ADAL" clId="{A4562E26-EF4D-41AE-B3D7-19054202C044}" dt="2024-12-12T07:57:00.755" v="7" actId="139"/>
          <pc:sldLayoutMkLst>
            <pc:docMk/>
            <pc:sldMasterMk cId="3408294523" sldId="2147483733"/>
            <pc:sldLayoutMk cId="1084997862" sldId="2147483777"/>
          </pc:sldLayoutMkLst>
          <pc:spChg chg="mod">
            <ac:chgData name="Pfeil, Alex" userId="ba9e60fb-e013-4dfa-96fe-c8a1b8e61dcf" providerId="ADAL" clId="{A4562E26-EF4D-41AE-B3D7-19054202C044}" dt="2024-12-12T07:57:00.755" v="7" actId="139"/>
            <ac:spMkLst>
              <pc:docMk/>
              <pc:sldMasterMk cId="3408294523" sldId="2147483733"/>
              <pc:sldLayoutMk cId="1084997862" sldId="2147483777"/>
              <ac:spMk id="4" creationId="{13EDB9F6-FBDA-8ED8-A84B-244CC53CFF99}"/>
            </ac:spMkLst>
          </pc:spChg>
        </pc:sldLayoutChg>
        <pc:sldLayoutChg chg="modSp mod">
          <pc:chgData name="Pfeil, Alex" userId="ba9e60fb-e013-4dfa-96fe-c8a1b8e61dcf" providerId="ADAL" clId="{A4562E26-EF4D-41AE-B3D7-19054202C044}" dt="2024-12-12T07:57:00.732" v="3" actId="139"/>
          <pc:sldLayoutMkLst>
            <pc:docMk/>
            <pc:sldMasterMk cId="3408294523" sldId="2147483733"/>
            <pc:sldLayoutMk cId="2667257257" sldId="2147483780"/>
          </pc:sldLayoutMkLst>
          <pc:spChg chg="mod">
            <ac:chgData name="Pfeil, Alex" userId="ba9e60fb-e013-4dfa-96fe-c8a1b8e61dcf" providerId="ADAL" clId="{A4562E26-EF4D-41AE-B3D7-19054202C044}" dt="2024-12-12T07:57:00.732" v="3" actId="139"/>
            <ac:spMkLst>
              <pc:docMk/>
              <pc:sldMasterMk cId="3408294523" sldId="2147483733"/>
              <pc:sldLayoutMk cId="2667257257" sldId="2147483780"/>
              <ac:spMk id="7" creationId="{1D05DC80-84C9-9ECA-3B84-3577D8D81659}"/>
            </ac:spMkLst>
          </pc:spChg>
        </pc:sldLayoutChg>
        <pc:sldLayoutChg chg="modSp mod">
          <pc:chgData name="Pfeil, Alex" userId="ba9e60fb-e013-4dfa-96fe-c8a1b8e61dcf" providerId="ADAL" clId="{A4562E26-EF4D-41AE-B3D7-19054202C044}" dt="2024-12-12T07:57:00.744" v="5" actId="139"/>
          <pc:sldLayoutMkLst>
            <pc:docMk/>
            <pc:sldMasterMk cId="3408294523" sldId="2147483733"/>
            <pc:sldLayoutMk cId="277845837" sldId="2147483787"/>
          </pc:sldLayoutMkLst>
          <pc:spChg chg="mod">
            <ac:chgData name="Pfeil, Alex" userId="ba9e60fb-e013-4dfa-96fe-c8a1b8e61dcf" providerId="ADAL" clId="{A4562E26-EF4D-41AE-B3D7-19054202C044}" dt="2024-12-12T07:57:00.744" v="5" actId="139"/>
            <ac:spMkLst>
              <pc:docMk/>
              <pc:sldMasterMk cId="3408294523" sldId="2147483733"/>
              <pc:sldLayoutMk cId="277845837" sldId="2147483787"/>
              <ac:spMk id="8" creationId="{F1333C1B-AD40-D53A-5A1E-EFB8C6390D49}"/>
            </ac:spMkLst>
          </pc:spChg>
        </pc:sldLayoutChg>
        <pc:sldLayoutChg chg="modSp mod">
          <pc:chgData name="Pfeil, Alex" userId="ba9e60fb-e013-4dfa-96fe-c8a1b8e61dcf" providerId="ADAL" clId="{A4562E26-EF4D-41AE-B3D7-19054202C044}" dt="2024-12-12T07:57:00.768" v="9" actId="139"/>
          <pc:sldLayoutMkLst>
            <pc:docMk/>
            <pc:sldMasterMk cId="3408294523" sldId="2147483733"/>
            <pc:sldLayoutMk cId="2183850539" sldId="2147483788"/>
          </pc:sldLayoutMkLst>
          <pc:spChg chg="mod">
            <ac:chgData name="Pfeil, Alex" userId="ba9e60fb-e013-4dfa-96fe-c8a1b8e61dcf" providerId="ADAL" clId="{A4562E26-EF4D-41AE-B3D7-19054202C044}" dt="2024-12-12T07:57:00.768" v="9" actId="139"/>
            <ac:spMkLst>
              <pc:docMk/>
              <pc:sldMasterMk cId="3408294523" sldId="2147483733"/>
              <pc:sldLayoutMk cId="2183850539" sldId="2147483788"/>
              <ac:spMk id="9" creationId="{CE0C2033-6FDF-7DD6-E25C-C03296FDAD00}"/>
            </ac:spMkLst>
          </pc:spChg>
        </pc:sldLayoutChg>
        <pc:sldLayoutChg chg="modSp mod">
          <pc:chgData name="Pfeil, Alex" userId="ba9e60fb-e013-4dfa-96fe-c8a1b8e61dcf" providerId="ADAL" clId="{A4562E26-EF4D-41AE-B3D7-19054202C044}" dt="2024-12-12T07:57:00.780" v="11" actId="139"/>
          <pc:sldLayoutMkLst>
            <pc:docMk/>
            <pc:sldMasterMk cId="3408294523" sldId="2147483733"/>
            <pc:sldLayoutMk cId="1554761476" sldId="2147483789"/>
          </pc:sldLayoutMkLst>
          <pc:spChg chg="mod">
            <ac:chgData name="Pfeil, Alex" userId="ba9e60fb-e013-4dfa-96fe-c8a1b8e61dcf" providerId="ADAL" clId="{A4562E26-EF4D-41AE-B3D7-19054202C044}" dt="2024-12-12T07:57:00.780" v="11" actId="139"/>
            <ac:spMkLst>
              <pc:docMk/>
              <pc:sldMasterMk cId="3408294523" sldId="2147483733"/>
              <pc:sldLayoutMk cId="1554761476" sldId="2147483789"/>
              <ac:spMk id="11" creationId="{62D91ACB-BD14-46CB-4B61-F4B072D877C0}"/>
            </ac:spMkLst>
          </pc:spChg>
        </pc:sldLayoutChg>
        <pc:sldLayoutChg chg="modSp mod">
          <pc:chgData name="Pfeil, Alex" userId="ba9e60fb-e013-4dfa-96fe-c8a1b8e61dcf" providerId="ADAL" clId="{A4562E26-EF4D-41AE-B3D7-19054202C044}" dt="2024-12-12T07:57:00.792" v="13" actId="139"/>
          <pc:sldLayoutMkLst>
            <pc:docMk/>
            <pc:sldMasterMk cId="3408294523" sldId="2147483733"/>
            <pc:sldLayoutMk cId="1315975548" sldId="2147483790"/>
          </pc:sldLayoutMkLst>
          <pc:spChg chg="mod">
            <ac:chgData name="Pfeil, Alex" userId="ba9e60fb-e013-4dfa-96fe-c8a1b8e61dcf" providerId="ADAL" clId="{A4562E26-EF4D-41AE-B3D7-19054202C044}" dt="2024-12-12T07:57:00.792" v="13" actId="139"/>
            <ac:spMkLst>
              <pc:docMk/>
              <pc:sldMasterMk cId="3408294523" sldId="2147483733"/>
              <pc:sldLayoutMk cId="1315975548" sldId="2147483790"/>
              <ac:spMk id="3" creationId="{D417CEF6-1FCD-75B6-FA13-C583ECCE7BE5}"/>
            </ac:spMkLst>
          </pc:spChg>
        </pc:sldLayoutChg>
        <pc:sldLayoutChg chg="modSp mod">
          <pc:chgData name="Pfeil, Alex" userId="ba9e60fb-e013-4dfa-96fe-c8a1b8e61dcf" providerId="ADAL" clId="{A4562E26-EF4D-41AE-B3D7-19054202C044}" dt="2024-12-12T07:57:00.803" v="15" actId="139"/>
          <pc:sldLayoutMkLst>
            <pc:docMk/>
            <pc:sldMasterMk cId="3408294523" sldId="2147483733"/>
            <pc:sldLayoutMk cId="4293282121" sldId="2147483791"/>
          </pc:sldLayoutMkLst>
          <pc:spChg chg="mod">
            <ac:chgData name="Pfeil, Alex" userId="ba9e60fb-e013-4dfa-96fe-c8a1b8e61dcf" providerId="ADAL" clId="{A4562E26-EF4D-41AE-B3D7-19054202C044}" dt="2024-12-12T07:57:00.803" v="15" actId="139"/>
            <ac:spMkLst>
              <pc:docMk/>
              <pc:sldMasterMk cId="3408294523" sldId="2147483733"/>
              <pc:sldLayoutMk cId="4293282121" sldId="2147483791"/>
              <ac:spMk id="3" creationId="{D67AB148-356D-F356-4E6C-9664D9EB9DF3}"/>
            </ac:spMkLst>
          </pc:spChg>
        </pc:sldLayoutChg>
        <pc:sldLayoutChg chg="modSp mod">
          <pc:chgData name="Pfeil, Alex" userId="ba9e60fb-e013-4dfa-96fe-c8a1b8e61dcf" providerId="ADAL" clId="{A4562E26-EF4D-41AE-B3D7-19054202C044}" dt="2024-12-12T07:57:00.814" v="17" actId="139"/>
          <pc:sldLayoutMkLst>
            <pc:docMk/>
            <pc:sldMasterMk cId="3408294523" sldId="2147483733"/>
            <pc:sldLayoutMk cId="2910220013" sldId="2147483792"/>
          </pc:sldLayoutMkLst>
          <pc:spChg chg="mod">
            <ac:chgData name="Pfeil, Alex" userId="ba9e60fb-e013-4dfa-96fe-c8a1b8e61dcf" providerId="ADAL" clId="{A4562E26-EF4D-41AE-B3D7-19054202C044}" dt="2024-12-12T07:57:00.814" v="17" actId="139"/>
            <ac:spMkLst>
              <pc:docMk/>
              <pc:sldMasterMk cId="3408294523" sldId="2147483733"/>
              <pc:sldLayoutMk cId="2910220013" sldId="2147483792"/>
              <ac:spMk id="3" creationId="{BBFBBDC3-D031-6041-465D-9F7147F423CF}"/>
            </ac:spMkLst>
          </pc:spChg>
        </pc:sldLayoutChg>
        <pc:sldLayoutChg chg="modSp mod">
          <pc:chgData name="Pfeil, Alex" userId="ba9e60fb-e013-4dfa-96fe-c8a1b8e61dcf" providerId="ADAL" clId="{A4562E26-EF4D-41AE-B3D7-19054202C044}" dt="2024-12-12T07:57:00.826" v="19" actId="139"/>
          <pc:sldLayoutMkLst>
            <pc:docMk/>
            <pc:sldMasterMk cId="3408294523" sldId="2147483733"/>
            <pc:sldLayoutMk cId="1043655704" sldId="2147483793"/>
          </pc:sldLayoutMkLst>
          <pc:spChg chg="mod">
            <ac:chgData name="Pfeil, Alex" userId="ba9e60fb-e013-4dfa-96fe-c8a1b8e61dcf" providerId="ADAL" clId="{A4562E26-EF4D-41AE-B3D7-19054202C044}" dt="2024-12-12T07:57:00.826" v="19" actId="139"/>
            <ac:spMkLst>
              <pc:docMk/>
              <pc:sldMasterMk cId="3408294523" sldId="2147483733"/>
              <pc:sldLayoutMk cId="1043655704" sldId="2147483793"/>
              <ac:spMk id="3" creationId="{4A078429-99DD-7555-B0F4-FEF46FD297B0}"/>
            </ac:spMkLst>
          </pc:spChg>
        </pc:sldLayoutChg>
        <pc:sldLayoutChg chg="modSp mod">
          <pc:chgData name="Pfeil, Alex" userId="ba9e60fb-e013-4dfa-96fe-c8a1b8e61dcf" providerId="ADAL" clId="{A4562E26-EF4D-41AE-B3D7-19054202C044}" dt="2024-12-12T07:57:00.838" v="21" actId="139"/>
          <pc:sldLayoutMkLst>
            <pc:docMk/>
            <pc:sldMasterMk cId="3408294523" sldId="2147483733"/>
            <pc:sldLayoutMk cId="1979749642" sldId="2147483794"/>
          </pc:sldLayoutMkLst>
          <pc:spChg chg="mod">
            <ac:chgData name="Pfeil, Alex" userId="ba9e60fb-e013-4dfa-96fe-c8a1b8e61dcf" providerId="ADAL" clId="{A4562E26-EF4D-41AE-B3D7-19054202C044}" dt="2024-12-12T07:57:00.838" v="21" actId="139"/>
            <ac:spMkLst>
              <pc:docMk/>
              <pc:sldMasterMk cId="3408294523" sldId="2147483733"/>
              <pc:sldLayoutMk cId="1979749642" sldId="2147483794"/>
              <ac:spMk id="5" creationId="{7A6CB977-D711-D436-9DC2-AAFCC56F9CAA}"/>
            </ac:spMkLst>
          </pc:spChg>
        </pc:sldLayoutChg>
      </pc:sldMasterChg>
    </pc:docChg>
  </pc:docChgLst>
  <pc:docChgLst>
    <pc:chgData name="Heinrich, Erik" userId="9d6b26bc-55d6-48ff-b9bb-b1ddf0151725" providerId="ADAL" clId="{EB26BB36-C511-480F-8B30-6F97B04E1576}"/>
    <pc:docChg chg="modSld">
      <pc:chgData name="Heinrich, Erik" userId="9d6b26bc-55d6-48ff-b9bb-b1ddf0151725" providerId="ADAL" clId="{EB26BB36-C511-480F-8B30-6F97B04E1576}" dt="2024-07-15T13:48:50.816" v="2" actId="20577"/>
      <pc:docMkLst>
        <pc:docMk/>
      </pc:docMkLst>
      <pc:sldChg chg="modSp mod">
        <pc:chgData name="Heinrich, Erik" userId="9d6b26bc-55d6-48ff-b9bb-b1ddf0151725" providerId="ADAL" clId="{EB26BB36-C511-480F-8B30-6F97B04E1576}" dt="2024-07-15T13:48:50.816" v="2" actId="20577"/>
        <pc:sldMkLst>
          <pc:docMk/>
          <pc:sldMk cId="3639523501" sldId="2147483605"/>
        </pc:sldMkLst>
      </pc:sldChg>
    </pc:docChg>
  </pc:docChgLst>
  <pc:docChgLst>
    <pc:chgData name="Maier, Timo" userId="6cc461fc-b839-4725-8e95-6c4298586820" providerId="ADAL" clId="{AB588EB2-531D-3345-A8AB-88C2248C84E1}"/>
    <pc:docChg chg="custSel modSld">
      <pc:chgData name="Maier, Timo" userId="6cc461fc-b839-4725-8e95-6c4298586820" providerId="ADAL" clId="{AB588EB2-531D-3345-A8AB-88C2248C84E1}" dt="2024-12-11T07:50:55.695" v="14" actId="478"/>
      <pc:docMkLst>
        <pc:docMk/>
      </pc:docMkLst>
      <pc:sldChg chg="delSp mod">
        <pc:chgData name="Maier, Timo" userId="6cc461fc-b839-4725-8e95-6c4298586820" providerId="ADAL" clId="{AB588EB2-531D-3345-A8AB-88C2248C84E1}" dt="2024-12-11T07:50:55.695" v="14" actId="478"/>
        <pc:sldMkLst>
          <pc:docMk/>
          <pc:sldMk cId="1401693984" sldId="2147477316"/>
        </pc:sldMkLst>
        <pc:spChg chg="del">
          <ac:chgData name="Maier, Timo" userId="6cc461fc-b839-4725-8e95-6c4298586820" providerId="ADAL" clId="{AB588EB2-531D-3345-A8AB-88C2248C84E1}" dt="2024-12-11T07:50:55.695" v="14" actId="478"/>
          <ac:spMkLst>
            <pc:docMk/>
            <pc:sldMk cId="1401693984" sldId="2147477316"/>
            <ac:spMk id="10" creationId="{FA986E02-C37E-CBA5-DB2F-91BEA00317A5}"/>
          </ac:spMkLst>
        </pc:spChg>
      </pc:sldChg>
      <pc:sldChg chg="delSp modSp mod">
        <pc:chgData name="Maier, Timo" userId="6cc461fc-b839-4725-8e95-6c4298586820" providerId="ADAL" clId="{AB588EB2-531D-3345-A8AB-88C2248C84E1}" dt="2024-12-10T08:18:33.641" v="13" actId="20577"/>
        <pc:sldMkLst>
          <pc:docMk/>
          <pc:sldMk cId="1446643629" sldId="2147483568"/>
        </pc:sldMkLst>
        <pc:spChg chg="mod">
          <ac:chgData name="Maier, Timo" userId="6cc461fc-b839-4725-8e95-6c4298586820" providerId="ADAL" clId="{AB588EB2-531D-3345-A8AB-88C2248C84E1}" dt="2024-12-10T08:16:59.681" v="10" actId="20577"/>
          <ac:spMkLst>
            <pc:docMk/>
            <pc:sldMk cId="1446643629" sldId="2147483568"/>
            <ac:spMk id="2" creationId="{D0CCB027-5D90-A2AD-C46B-EDC81427A246}"/>
          </ac:spMkLst>
        </pc:spChg>
        <pc:spChg chg="del">
          <ac:chgData name="Maier, Timo" userId="6cc461fc-b839-4725-8e95-6c4298586820" providerId="ADAL" clId="{AB588EB2-531D-3345-A8AB-88C2248C84E1}" dt="2024-12-10T08:17:03.343" v="11" actId="478"/>
          <ac:spMkLst>
            <pc:docMk/>
            <pc:sldMk cId="1446643629" sldId="2147483568"/>
            <ac:spMk id="5" creationId="{B5AFA6EF-8176-4FA6-4CB0-3DBE8345A28C}"/>
          </ac:spMkLst>
        </pc:spChg>
        <pc:spChg chg="mod">
          <ac:chgData name="Maier, Timo" userId="6cc461fc-b839-4725-8e95-6c4298586820" providerId="ADAL" clId="{AB588EB2-531D-3345-A8AB-88C2248C84E1}" dt="2024-12-10T08:16:55.299" v="5" actId="14100"/>
          <ac:spMkLst>
            <pc:docMk/>
            <pc:sldMk cId="1446643629" sldId="2147483568"/>
            <ac:spMk id="6" creationId="{3B57558F-423E-9F48-7B7C-ADF2F5E9C45A}"/>
          </ac:spMkLst>
        </pc:spChg>
        <pc:graphicFrameChg chg="modGraphic">
          <ac:chgData name="Maier, Timo" userId="6cc461fc-b839-4725-8e95-6c4298586820" providerId="ADAL" clId="{AB588EB2-531D-3345-A8AB-88C2248C84E1}" dt="2024-12-10T08:18:33.641" v="13" actId="20577"/>
          <ac:graphicFrameMkLst>
            <pc:docMk/>
            <pc:sldMk cId="1446643629" sldId="2147483568"/>
            <ac:graphicFrameMk id="4" creationId="{1CBC07A3-8B80-56B2-3CA3-7C3CEBF2255D}"/>
          </ac:graphicFrameMkLst>
        </pc:graphicFrameChg>
      </pc:sldChg>
    </pc:docChg>
  </pc:docChgLst>
  <pc:docChgLst>
    <pc:chgData name="Okos, Florian" userId="S::florian.okos@sap.com::40f8031e-7e80-4995-afe7-257422c635be" providerId="AD" clId="Web-{6C6A7EAA-C01B-41F4-AA60-85444F51D0D4}"/>
    <pc:docChg chg="modSld">
      <pc:chgData name="Okos, Florian" userId="S::florian.okos@sap.com::40f8031e-7e80-4995-afe7-257422c635be" providerId="AD" clId="Web-{6C6A7EAA-C01B-41F4-AA60-85444F51D0D4}" dt="2024-07-01T13:57:39.951" v="5"/>
      <pc:docMkLst>
        <pc:docMk/>
      </pc:docMkLst>
      <pc:sldChg chg="modSp">
        <pc:chgData name="Okos, Florian" userId="S::florian.okos@sap.com::40f8031e-7e80-4995-afe7-257422c635be" providerId="AD" clId="Web-{6C6A7EAA-C01B-41F4-AA60-85444F51D0D4}" dt="2024-07-01T13:57:39.951" v="5"/>
        <pc:sldMkLst>
          <pc:docMk/>
          <pc:sldMk cId="3639523501" sldId="2147483605"/>
        </pc:sldMkLst>
      </pc:sldChg>
    </pc:docChg>
  </pc:docChgLst>
  <pc:docChgLst>
    <pc:chgData name="Brandstaetter, Ilka" userId="d6adcea4-0701-4fe4-9d84-d6787ffa696c" providerId="ADAL" clId="{B973246C-2B88-4813-87E3-63CAD1657D57}"/>
    <pc:docChg chg="custSel modSld sldOrd modMainMaster">
      <pc:chgData name="Brandstaetter, Ilka" userId="d6adcea4-0701-4fe4-9d84-d6787ffa696c" providerId="ADAL" clId="{B973246C-2B88-4813-87E3-63CAD1657D57}" dt="2024-10-08T02:25:39.344" v="45" actId="139"/>
      <pc:docMkLst>
        <pc:docMk/>
      </pc:docMkLst>
      <pc:sldChg chg="ord">
        <pc:chgData name="Brandstaetter, Ilka" userId="d6adcea4-0701-4fe4-9d84-d6787ffa696c" providerId="ADAL" clId="{B973246C-2B88-4813-87E3-63CAD1657D57}" dt="2024-09-25T22:57:34.375" v="23"/>
        <pc:sldMkLst>
          <pc:docMk/>
          <pc:sldMk cId="508763584" sldId="2147483606"/>
        </pc:sldMkLst>
      </pc:sldChg>
      <pc:sldMasterChg chg="modSldLayout">
        <pc:chgData name="Brandstaetter, Ilka" userId="d6adcea4-0701-4fe4-9d84-d6787ffa696c" providerId="ADAL" clId="{B973246C-2B88-4813-87E3-63CAD1657D57}" dt="2024-10-08T02:25:39.344" v="45" actId="139"/>
        <pc:sldMasterMkLst>
          <pc:docMk/>
          <pc:sldMasterMk cId="3408294523" sldId="2147483733"/>
        </pc:sldMasterMkLst>
        <pc:sldLayoutChg chg="modSp mod">
          <pc:chgData name="Brandstaetter, Ilka" userId="d6adcea4-0701-4fe4-9d84-d6787ffa696c" providerId="ADAL" clId="{B973246C-2B88-4813-87E3-63CAD1657D57}" dt="2024-10-08T02:25:39.232" v="25" actId="139"/>
          <pc:sldLayoutMkLst>
            <pc:docMk/>
            <pc:sldMasterMk cId="3408294523" sldId="2147483733"/>
            <pc:sldLayoutMk cId="1982410628" sldId="2147483773"/>
          </pc:sldLayoutMkLst>
          <pc:spChg chg="mod">
            <ac:chgData name="Brandstaetter, Ilka" userId="d6adcea4-0701-4fe4-9d84-d6787ffa696c" providerId="ADAL" clId="{B973246C-2B88-4813-87E3-63CAD1657D57}" dt="2024-10-08T02:25:39.232" v="25" actId="139"/>
            <ac:spMkLst>
              <pc:docMk/>
              <pc:sldMasterMk cId="3408294523" sldId="2147483733"/>
              <pc:sldLayoutMk cId="1982410628" sldId="2147483773"/>
              <ac:spMk id="6" creationId="{870EB466-B92B-9D4D-974E-A49C0F424152}"/>
            </ac:spMkLst>
          </pc:spChg>
        </pc:sldLayoutChg>
        <pc:sldLayoutChg chg="modSp mod">
          <pc:chgData name="Brandstaetter, Ilka" userId="d6adcea4-0701-4fe4-9d84-d6787ffa696c" providerId="ADAL" clId="{B973246C-2B88-4813-87E3-63CAD1657D57}" dt="2024-10-08T02:25:39.273" v="31" actId="139"/>
          <pc:sldLayoutMkLst>
            <pc:docMk/>
            <pc:sldMasterMk cId="3408294523" sldId="2147483733"/>
            <pc:sldLayoutMk cId="1084997862" sldId="2147483777"/>
          </pc:sldLayoutMkLst>
          <pc:spChg chg="mod">
            <ac:chgData name="Brandstaetter, Ilka" userId="d6adcea4-0701-4fe4-9d84-d6787ffa696c" providerId="ADAL" clId="{B973246C-2B88-4813-87E3-63CAD1657D57}" dt="2024-10-08T02:25:39.273" v="31" actId="139"/>
            <ac:spMkLst>
              <pc:docMk/>
              <pc:sldMasterMk cId="3408294523" sldId="2147483733"/>
              <pc:sldLayoutMk cId="1084997862" sldId="2147483777"/>
              <ac:spMk id="4" creationId="{13EDB9F6-FBDA-8ED8-A84B-244CC53CFF99}"/>
            </ac:spMkLst>
          </pc:spChg>
        </pc:sldLayoutChg>
        <pc:sldLayoutChg chg="modSp mod">
          <pc:chgData name="Brandstaetter, Ilka" userId="d6adcea4-0701-4fe4-9d84-d6787ffa696c" providerId="ADAL" clId="{B973246C-2B88-4813-87E3-63CAD1657D57}" dt="2024-10-08T02:25:39.251" v="27" actId="139"/>
          <pc:sldLayoutMkLst>
            <pc:docMk/>
            <pc:sldMasterMk cId="3408294523" sldId="2147483733"/>
            <pc:sldLayoutMk cId="2667257257" sldId="2147483780"/>
          </pc:sldLayoutMkLst>
          <pc:spChg chg="mod">
            <ac:chgData name="Brandstaetter, Ilka" userId="d6adcea4-0701-4fe4-9d84-d6787ffa696c" providerId="ADAL" clId="{B973246C-2B88-4813-87E3-63CAD1657D57}" dt="2024-10-08T02:25:39.251" v="27" actId="139"/>
            <ac:spMkLst>
              <pc:docMk/>
              <pc:sldMasterMk cId="3408294523" sldId="2147483733"/>
              <pc:sldLayoutMk cId="2667257257" sldId="2147483780"/>
              <ac:spMk id="7" creationId="{1D05DC80-84C9-9ECA-3B84-3577D8D81659}"/>
            </ac:spMkLst>
          </pc:spChg>
        </pc:sldLayoutChg>
        <pc:sldLayoutChg chg="modSp mod">
          <pc:chgData name="Brandstaetter, Ilka" userId="d6adcea4-0701-4fe4-9d84-d6787ffa696c" providerId="ADAL" clId="{B973246C-2B88-4813-87E3-63CAD1657D57}" dt="2024-10-08T02:25:39.263" v="29" actId="139"/>
          <pc:sldLayoutMkLst>
            <pc:docMk/>
            <pc:sldMasterMk cId="3408294523" sldId="2147483733"/>
            <pc:sldLayoutMk cId="277845837" sldId="2147483787"/>
          </pc:sldLayoutMkLst>
          <pc:spChg chg="mod">
            <ac:chgData name="Brandstaetter, Ilka" userId="d6adcea4-0701-4fe4-9d84-d6787ffa696c" providerId="ADAL" clId="{B973246C-2B88-4813-87E3-63CAD1657D57}" dt="2024-10-08T02:25:39.263" v="29" actId="139"/>
            <ac:spMkLst>
              <pc:docMk/>
              <pc:sldMasterMk cId="3408294523" sldId="2147483733"/>
              <pc:sldLayoutMk cId="277845837" sldId="2147483787"/>
              <ac:spMk id="8" creationId="{F1333C1B-AD40-D53A-5A1E-EFB8C6390D49}"/>
            </ac:spMkLst>
          </pc:spChg>
        </pc:sldLayoutChg>
        <pc:sldLayoutChg chg="modSp mod">
          <pc:chgData name="Brandstaetter, Ilka" userId="d6adcea4-0701-4fe4-9d84-d6787ffa696c" providerId="ADAL" clId="{B973246C-2B88-4813-87E3-63CAD1657D57}" dt="2024-10-08T02:25:39.284" v="33" actId="139"/>
          <pc:sldLayoutMkLst>
            <pc:docMk/>
            <pc:sldMasterMk cId="3408294523" sldId="2147483733"/>
            <pc:sldLayoutMk cId="2183850539" sldId="2147483788"/>
          </pc:sldLayoutMkLst>
          <pc:spChg chg="mod">
            <ac:chgData name="Brandstaetter, Ilka" userId="d6adcea4-0701-4fe4-9d84-d6787ffa696c" providerId="ADAL" clId="{B973246C-2B88-4813-87E3-63CAD1657D57}" dt="2024-10-08T02:25:39.284" v="33" actId="139"/>
            <ac:spMkLst>
              <pc:docMk/>
              <pc:sldMasterMk cId="3408294523" sldId="2147483733"/>
              <pc:sldLayoutMk cId="2183850539" sldId="2147483788"/>
              <ac:spMk id="9" creationId="{CE0C2033-6FDF-7DD6-E25C-C03296FDAD00}"/>
            </ac:spMkLst>
          </pc:spChg>
        </pc:sldLayoutChg>
        <pc:sldLayoutChg chg="modSp mod">
          <pc:chgData name="Brandstaetter, Ilka" userId="d6adcea4-0701-4fe4-9d84-d6787ffa696c" providerId="ADAL" clId="{B973246C-2B88-4813-87E3-63CAD1657D57}" dt="2024-10-08T02:25:39.294" v="35" actId="139"/>
          <pc:sldLayoutMkLst>
            <pc:docMk/>
            <pc:sldMasterMk cId="3408294523" sldId="2147483733"/>
            <pc:sldLayoutMk cId="1554761476" sldId="2147483789"/>
          </pc:sldLayoutMkLst>
          <pc:spChg chg="mod">
            <ac:chgData name="Brandstaetter, Ilka" userId="d6adcea4-0701-4fe4-9d84-d6787ffa696c" providerId="ADAL" clId="{B973246C-2B88-4813-87E3-63CAD1657D57}" dt="2024-10-08T02:25:39.294" v="35" actId="139"/>
            <ac:spMkLst>
              <pc:docMk/>
              <pc:sldMasterMk cId="3408294523" sldId="2147483733"/>
              <pc:sldLayoutMk cId="1554761476" sldId="2147483789"/>
              <ac:spMk id="11" creationId="{62D91ACB-BD14-46CB-4B61-F4B072D877C0}"/>
            </ac:spMkLst>
          </pc:spChg>
        </pc:sldLayoutChg>
        <pc:sldLayoutChg chg="modSp mod">
          <pc:chgData name="Brandstaetter, Ilka" userId="d6adcea4-0701-4fe4-9d84-d6787ffa696c" providerId="ADAL" clId="{B973246C-2B88-4813-87E3-63CAD1657D57}" dt="2024-10-08T02:25:39.303" v="37" actId="139"/>
          <pc:sldLayoutMkLst>
            <pc:docMk/>
            <pc:sldMasterMk cId="3408294523" sldId="2147483733"/>
            <pc:sldLayoutMk cId="1315975548" sldId="2147483790"/>
          </pc:sldLayoutMkLst>
          <pc:spChg chg="mod">
            <ac:chgData name="Brandstaetter, Ilka" userId="d6adcea4-0701-4fe4-9d84-d6787ffa696c" providerId="ADAL" clId="{B973246C-2B88-4813-87E3-63CAD1657D57}" dt="2024-10-08T02:25:39.303" v="37" actId="139"/>
            <ac:spMkLst>
              <pc:docMk/>
              <pc:sldMasterMk cId="3408294523" sldId="2147483733"/>
              <pc:sldLayoutMk cId="1315975548" sldId="2147483790"/>
              <ac:spMk id="3" creationId="{D417CEF6-1FCD-75B6-FA13-C583ECCE7BE5}"/>
            </ac:spMkLst>
          </pc:spChg>
        </pc:sldLayoutChg>
        <pc:sldLayoutChg chg="modSp mod">
          <pc:chgData name="Brandstaetter, Ilka" userId="d6adcea4-0701-4fe4-9d84-d6787ffa696c" providerId="ADAL" clId="{B973246C-2B88-4813-87E3-63CAD1657D57}" dt="2024-10-08T02:25:39.312" v="39" actId="139"/>
          <pc:sldLayoutMkLst>
            <pc:docMk/>
            <pc:sldMasterMk cId="3408294523" sldId="2147483733"/>
            <pc:sldLayoutMk cId="4293282121" sldId="2147483791"/>
          </pc:sldLayoutMkLst>
          <pc:spChg chg="mod">
            <ac:chgData name="Brandstaetter, Ilka" userId="d6adcea4-0701-4fe4-9d84-d6787ffa696c" providerId="ADAL" clId="{B973246C-2B88-4813-87E3-63CAD1657D57}" dt="2024-10-08T02:25:39.312" v="39" actId="139"/>
            <ac:spMkLst>
              <pc:docMk/>
              <pc:sldMasterMk cId="3408294523" sldId="2147483733"/>
              <pc:sldLayoutMk cId="4293282121" sldId="2147483791"/>
              <ac:spMk id="3" creationId="{D67AB148-356D-F356-4E6C-9664D9EB9DF3}"/>
            </ac:spMkLst>
          </pc:spChg>
        </pc:sldLayoutChg>
        <pc:sldLayoutChg chg="modSp mod">
          <pc:chgData name="Brandstaetter, Ilka" userId="d6adcea4-0701-4fe4-9d84-d6787ffa696c" providerId="ADAL" clId="{B973246C-2B88-4813-87E3-63CAD1657D57}" dt="2024-10-08T02:25:39.322" v="41" actId="139"/>
          <pc:sldLayoutMkLst>
            <pc:docMk/>
            <pc:sldMasterMk cId="3408294523" sldId="2147483733"/>
            <pc:sldLayoutMk cId="2910220013" sldId="2147483792"/>
          </pc:sldLayoutMkLst>
          <pc:spChg chg="mod">
            <ac:chgData name="Brandstaetter, Ilka" userId="d6adcea4-0701-4fe4-9d84-d6787ffa696c" providerId="ADAL" clId="{B973246C-2B88-4813-87E3-63CAD1657D57}" dt="2024-10-08T02:25:39.322" v="41" actId="139"/>
            <ac:spMkLst>
              <pc:docMk/>
              <pc:sldMasterMk cId="3408294523" sldId="2147483733"/>
              <pc:sldLayoutMk cId="2910220013" sldId="2147483792"/>
              <ac:spMk id="3" creationId="{BBFBBDC3-D031-6041-465D-9F7147F423CF}"/>
            </ac:spMkLst>
          </pc:spChg>
        </pc:sldLayoutChg>
        <pc:sldLayoutChg chg="modSp mod">
          <pc:chgData name="Brandstaetter, Ilka" userId="d6adcea4-0701-4fe4-9d84-d6787ffa696c" providerId="ADAL" clId="{B973246C-2B88-4813-87E3-63CAD1657D57}" dt="2024-10-08T02:25:39.332" v="43" actId="139"/>
          <pc:sldLayoutMkLst>
            <pc:docMk/>
            <pc:sldMasterMk cId="3408294523" sldId="2147483733"/>
            <pc:sldLayoutMk cId="1043655704" sldId="2147483793"/>
          </pc:sldLayoutMkLst>
          <pc:spChg chg="mod">
            <ac:chgData name="Brandstaetter, Ilka" userId="d6adcea4-0701-4fe4-9d84-d6787ffa696c" providerId="ADAL" clId="{B973246C-2B88-4813-87E3-63CAD1657D57}" dt="2024-10-08T02:25:39.332" v="43" actId="139"/>
            <ac:spMkLst>
              <pc:docMk/>
              <pc:sldMasterMk cId="3408294523" sldId="2147483733"/>
              <pc:sldLayoutMk cId="1043655704" sldId="2147483793"/>
              <ac:spMk id="3" creationId="{4A078429-99DD-7555-B0F4-FEF46FD297B0}"/>
            </ac:spMkLst>
          </pc:spChg>
        </pc:sldLayoutChg>
        <pc:sldLayoutChg chg="modSp mod">
          <pc:chgData name="Brandstaetter, Ilka" userId="d6adcea4-0701-4fe4-9d84-d6787ffa696c" providerId="ADAL" clId="{B973246C-2B88-4813-87E3-63CAD1657D57}" dt="2024-10-08T02:25:39.344" v="45" actId="139"/>
          <pc:sldLayoutMkLst>
            <pc:docMk/>
            <pc:sldMasterMk cId="3408294523" sldId="2147483733"/>
            <pc:sldLayoutMk cId="1979749642" sldId="2147483794"/>
          </pc:sldLayoutMkLst>
          <pc:spChg chg="mod">
            <ac:chgData name="Brandstaetter, Ilka" userId="d6adcea4-0701-4fe4-9d84-d6787ffa696c" providerId="ADAL" clId="{B973246C-2B88-4813-87E3-63CAD1657D57}" dt="2024-10-08T02:25:39.344" v="45" actId="139"/>
            <ac:spMkLst>
              <pc:docMk/>
              <pc:sldMasterMk cId="3408294523" sldId="2147483733"/>
              <pc:sldLayoutMk cId="1979749642" sldId="2147483794"/>
              <ac:spMk id="5" creationId="{7A6CB977-D711-D436-9DC2-AAFCC56F9CAA}"/>
            </ac:spMkLst>
          </pc:spChg>
        </pc:sldLayoutChg>
      </pc:sldMasterChg>
    </pc:docChg>
  </pc:docChgLst>
  <pc:docChgLst>
    <pc:chgData name="Pfeil, Alex" userId="ba9e60fb-e013-4dfa-96fe-c8a1b8e61dcf" providerId="ADAL" clId="{83C25698-CA97-4F61-AF84-79507EA5CF61}"/>
    <pc:docChg chg="modSld">
      <pc:chgData name="Pfeil, Alex" userId="ba9e60fb-e013-4dfa-96fe-c8a1b8e61dcf" providerId="ADAL" clId="{83C25698-CA97-4F61-AF84-79507EA5CF61}" dt="2024-07-04T14:33:55.413" v="5" actId="14100"/>
      <pc:docMkLst>
        <pc:docMk/>
      </pc:docMkLst>
      <pc:sldChg chg="addSp modSp mod">
        <pc:chgData name="Pfeil, Alex" userId="ba9e60fb-e013-4dfa-96fe-c8a1b8e61dcf" providerId="ADAL" clId="{83C25698-CA97-4F61-AF84-79507EA5CF61}" dt="2024-07-04T14:33:55.413" v="5" actId="14100"/>
        <pc:sldMkLst>
          <pc:docMk/>
          <pc:sldMk cId="508763584" sldId="2147483606"/>
        </pc:sldMkLst>
      </pc:sldChg>
    </pc:docChg>
  </pc:docChgLst>
  <pc:docChgLst>
    <pc:chgData name="Maier, Timo" userId="6cc461fc-b839-4725-8e95-6c4298586820" providerId="ADAL" clId="{6371A7C7-8E8A-E343-9B15-71FE62244485}"/>
    <pc:docChg chg="undo redo custSel addSld delSld modSld sldOrd modSection">
      <pc:chgData name="Maier, Timo" userId="6cc461fc-b839-4725-8e95-6c4298586820" providerId="ADAL" clId="{6371A7C7-8E8A-E343-9B15-71FE62244485}" dt="2024-09-24T11:44:16.198" v="929" actId="478"/>
      <pc:docMkLst>
        <pc:docMk/>
      </pc:docMkLst>
      <pc:sldChg chg="modNotes">
        <pc:chgData name="Maier, Timo" userId="6cc461fc-b839-4725-8e95-6c4298586820" providerId="ADAL" clId="{6371A7C7-8E8A-E343-9B15-71FE62244485}" dt="2024-09-17T12:33:02.740" v="641" actId="27636"/>
        <pc:sldMkLst>
          <pc:docMk/>
          <pc:sldMk cId="1267931823" sldId="262"/>
        </pc:sldMkLst>
      </pc:sldChg>
      <pc:sldChg chg="add">
        <pc:chgData name="Maier, Timo" userId="6cc461fc-b839-4725-8e95-6c4298586820" providerId="ADAL" clId="{6371A7C7-8E8A-E343-9B15-71FE62244485}" dt="2024-09-23T15:20:38.117" v="925"/>
        <pc:sldMkLst>
          <pc:docMk/>
          <pc:sldMk cId="2994215092" sldId="269"/>
        </pc:sldMkLst>
      </pc:sldChg>
      <pc:sldChg chg="delSp add mod ord">
        <pc:chgData name="Maier, Timo" userId="6cc461fc-b839-4725-8e95-6c4298586820" providerId="ADAL" clId="{6371A7C7-8E8A-E343-9B15-71FE62244485}" dt="2024-09-24T11:44:16.198" v="929" actId="478"/>
        <pc:sldMkLst>
          <pc:docMk/>
          <pc:sldMk cId="895436882" sldId="270"/>
        </pc:sldMkLst>
      </pc:sldChg>
      <pc:sldChg chg="mod modShow">
        <pc:chgData name="Maier, Timo" userId="6cc461fc-b839-4725-8e95-6c4298586820" providerId="ADAL" clId="{6371A7C7-8E8A-E343-9B15-71FE62244485}" dt="2024-09-22T21:08:34.947" v="696" actId="729"/>
        <pc:sldMkLst>
          <pc:docMk/>
          <pc:sldMk cId="303264891" sldId="2147376814"/>
        </pc:sldMkLst>
      </pc:sldChg>
      <pc:sldChg chg="modSp add mod">
        <pc:chgData name="Maier, Timo" userId="6cc461fc-b839-4725-8e95-6c4298586820" providerId="ADAL" clId="{6371A7C7-8E8A-E343-9B15-71FE62244485}" dt="2024-09-22T10:59:40.282" v="692" actId="20577"/>
        <pc:sldMkLst>
          <pc:docMk/>
          <pc:sldMk cId="1957290143" sldId="2147376931"/>
        </pc:sldMkLst>
        <pc:spChg chg="mod">
          <ac:chgData name="Maier, Timo" userId="6cc461fc-b839-4725-8e95-6c4298586820" providerId="ADAL" clId="{6371A7C7-8E8A-E343-9B15-71FE62244485}" dt="2024-09-22T10:59:40.282" v="692" actId="20577"/>
          <ac:spMkLst>
            <pc:docMk/>
            <pc:sldMk cId="1957290143" sldId="2147376931"/>
            <ac:spMk id="4" creationId="{3B69BFCC-79B9-6BA0-16AB-19D8AD8E1BF0}"/>
          </ac:spMkLst>
        </pc:spChg>
      </pc:sldChg>
      <pc:sldChg chg="addSp delSp modSp mod">
        <pc:chgData name="Maier, Timo" userId="6cc461fc-b839-4725-8e95-6c4298586820" providerId="ADAL" clId="{6371A7C7-8E8A-E343-9B15-71FE62244485}" dt="2024-09-18T07:15:31.456" v="642" actId="478"/>
        <pc:sldMkLst>
          <pc:docMk/>
          <pc:sldMk cId="1121829975" sldId="2147376942"/>
        </pc:sldMkLst>
      </pc:sldChg>
      <pc:sldChg chg="addSp modSp del">
        <pc:chgData name="Maier, Timo" userId="6cc461fc-b839-4725-8e95-6c4298586820" providerId="ADAL" clId="{6371A7C7-8E8A-E343-9B15-71FE62244485}" dt="2024-09-23T15:20:41.086" v="926" actId="2696"/>
        <pc:sldMkLst>
          <pc:docMk/>
          <pc:sldMk cId="3127923041" sldId="2147376950"/>
        </pc:sldMkLst>
      </pc:sldChg>
      <pc:sldChg chg="addSp modSp mod">
        <pc:chgData name="Maier, Timo" userId="6cc461fc-b839-4725-8e95-6c4298586820" providerId="ADAL" clId="{6371A7C7-8E8A-E343-9B15-71FE62244485}" dt="2024-09-22T10:59:13.148" v="677" actId="20577"/>
        <pc:sldMkLst>
          <pc:docMk/>
          <pc:sldMk cId="3864302308" sldId="2147376951"/>
        </pc:sldMkLst>
        <pc:spChg chg="mod">
          <ac:chgData name="Maier, Timo" userId="6cc461fc-b839-4725-8e95-6c4298586820" providerId="ADAL" clId="{6371A7C7-8E8A-E343-9B15-71FE62244485}" dt="2024-09-22T10:59:13.148" v="677" actId="20577"/>
          <ac:spMkLst>
            <pc:docMk/>
            <pc:sldMk cId="3864302308" sldId="2147376951"/>
            <ac:spMk id="2" creationId="{EE9FDA8B-A478-4CC4-69D1-AD85CC90457C}"/>
          </ac:spMkLst>
        </pc:spChg>
      </pc:sldChg>
      <pc:sldChg chg="addSp modSp mod">
        <pc:chgData name="Maier, Timo" userId="6cc461fc-b839-4725-8e95-6c4298586820" providerId="ADAL" clId="{6371A7C7-8E8A-E343-9B15-71FE62244485}" dt="2024-09-16T13:23:45.474" v="600" actId="1035"/>
        <pc:sldMkLst>
          <pc:docMk/>
          <pc:sldMk cId="2524960141" sldId="2147376952"/>
        </pc:sldMkLst>
      </pc:sldChg>
      <pc:sldChg chg="delSp modSp add mod">
        <pc:chgData name="Maier, Timo" userId="6cc461fc-b839-4725-8e95-6c4298586820" providerId="ADAL" clId="{6371A7C7-8E8A-E343-9B15-71FE62244485}" dt="2024-09-17T07:27:10.562" v="640" actId="20577"/>
        <pc:sldMkLst>
          <pc:docMk/>
          <pc:sldMk cId="2346323281" sldId="2147376958"/>
        </pc:sldMkLst>
        <pc:spChg chg="mod">
          <ac:chgData name="Maier, Timo" userId="6cc461fc-b839-4725-8e95-6c4298586820" providerId="ADAL" clId="{6371A7C7-8E8A-E343-9B15-71FE62244485}" dt="2024-09-17T07:27:10.562" v="640" actId="20577"/>
          <ac:spMkLst>
            <pc:docMk/>
            <pc:sldMk cId="2346323281" sldId="2147376958"/>
            <ac:spMk id="4" creationId="{F65F53F9-005F-4A1A-968A-89E37CC749C7}"/>
          </ac:spMkLst>
        </pc:spChg>
        <pc:picChg chg="mod">
          <ac:chgData name="Maier, Timo" userId="6cc461fc-b839-4725-8e95-6c4298586820" providerId="ADAL" clId="{6371A7C7-8E8A-E343-9B15-71FE62244485}" dt="2024-09-16T13:17:20.832" v="599" actId="1076"/>
          <ac:picMkLst>
            <pc:docMk/>
            <pc:sldMk cId="2346323281" sldId="2147376958"/>
            <ac:picMk id="5" creationId="{CB7F646B-67DE-98F5-1409-4F09C9BC044E}"/>
          </ac:picMkLst>
        </pc:picChg>
      </pc:sldChg>
      <pc:sldChg chg="mod modShow">
        <pc:chgData name="Maier, Timo" userId="6cc461fc-b839-4725-8e95-6c4298586820" providerId="ADAL" clId="{6371A7C7-8E8A-E343-9B15-71FE62244485}" dt="2024-09-22T21:08:28.281" v="694" actId="729"/>
        <pc:sldMkLst>
          <pc:docMk/>
          <pc:sldMk cId="1039500865" sldId="2147377197"/>
        </pc:sldMkLst>
      </pc:sldChg>
      <pc:sldChg chg="addSp modSp mod">
        <pc:chgData name="Maier, Timo" userId="6cc461fc-b839-4725-8e95-6c4298586820" providerId="ADAL" clId="{6371A7C7-8E8A-E343-9B15-71FE62244485}" dt="2024-09-22T10:59:19.148" v="678" actId="20577"/>
        <pc:sldMkLst>
          <pc:docMk/>
          <pc:sldMk cId="1155962617" sldId="2147479095"/>
        </pc:sldMkLst>
        <pc:spChg chg="mod">
          <ac:chgData name="Maier, Timo" userId="6cc461fc-b839-4725-8e95-6c4298586820" providerId="ADAL" clId="{6371A7C7-8E8A-E343-9B15-71FE62244485}" dt="2024-09-22T10:59:19.148" v="678" actId="20577"/>
          <ac:spMkLst>
            <pc:docMk/>
            <pc:sldMk cId="1155962617" sldId="2147479095"/>
            <ac:spMk id="2" creationId="{5C85B5D4-DE09-0A3D-A83E-A9DC6537F474}"/>
          </ac:spMkLst>
        </pc:spChg>
      </pc:sldChg>
      <pc:sldChg chg="mod modShow">
        <pc:chgData name="Maier, Timo" userId="6cc461fc-b839-4725-8e95-6c4298586820" providerId="ADAL" clId="{6371A7C7-8E8A-E343-9B15-71FE62244485}" dt="2024-09-22T21:08:41.559" v="697" actId="729"/>
        <pc:sldMkLst>
          <pc:docMk/>
          <pc:sldMk cId="4087980484" sldId="2147483054"/>
        </pc:sldMkLst>
      </pc:sldChg>
      <pc:sldChg chg="mod modShow">
        <pc:chgData name="Maier, Timo" userId="6cc461fc-b839-4725-8e95-6c4298586820" providerId="ADAL" clId="{6371A7C7-8E8A-E343-9B15-71FE62244485}" dt="2024-09-22T21:08:33.089" v="695" actId="729"/>
        <pc:sldMkLst>
          <pc:docMk/>
          <pc:sldMk cId="4215330131" sldId="2147483498"/>
        </pc:sldMkLst>
      </pc:sldChg>
      <pc:sldChg chg="addSp modSp mod">
        <pc:chgData name="Maier, Timo" userId="6cc461fc-b839-4725-8e95-6c4298586820" providerId="ADAL" clId="{6371A7C7-8E8A-E343-9B15-71FE62244485}" dt="2024-09-11T07:28:10.646" v="26" actId="20577"/>
        <pc:sldMkLst>
          <pc:docMk/>
          <pc:sldMk cId="508763584" sldId="2147483606"/>
        </pc:sldMkLst>
      </pc:sldChg>
      <pc:sldChg chg="mod modShow">
        <pc:chgData name="Maier, Timo" userId="6cc461fc-b839-4725-8e95-6c4298586820" providerId="ADAL" clId="{6371A7C7-8E8A-E343-9B15-71FE62244485}" dt="2024-09-16T13:10:10.781" v="548" actId="729"/>
        <pc:sldMkLst>
          <pc:docMk/>
          <pc:sldMk cId="1396739958" sldId="2147483607"/>
        </pc:sldMkLst>
      </pc:sldChg>
      <pc:sldChg chg="addSp delSp modSp mod">
        <pc:chgData name="Maier, Timo" userId="6cc461fc-b839-4725-8e95-6c4298586820" providerId="ADAL" clId="{6371A7C7-8E8A-E343-9B15-71FE62244485}" dt="2024-09-22T21:07:41.838" v="693" actId="20577"/>
        <pc:sldMkLst>
          <pc:docMk/>
          <pc:sldMk cId="2696317524" sldId="2147483610"/>
        </pc:sldMkLst>
        <pc:spChg chg="mod">
          <ac:chgData name="Maier, Timo" userId="6cc461fc-b839-4725-8e95-6c4298586820" providerId="ADAL" clId="{6371A7C7-8E8A-E343-9B15-71FE62244485}" dt="2024-09-16T12:57:56.246" v="250" actId="20577"/>
          <ac:spMkLst>
            <pc:docMk/>
            <pc:sldMk cId="2696317524" sldId="2147483610"/>
            <ac:spMk id="3" creationId="{BEE50134-2086-6F35-B4DC-24980866B5A6}"/>
          </ac:spMkLst>
        </pc:spChg>
        <pc:spChg chg="mod">
          <ac:chgData name="Maier, Timo" userId="6cc461fc-b839-4725-8e95-6c4298586820" providerId="ADAL" clId="{6371A7C7-8E8A-E343-9B15-71FE62244485}" dt="2024-09-22T21:07:41.838" v="693" actId="20577"/>
          <ac:spMkLst>
            <pc:docMk/>
            <pc:sldMk cId="2696317524" sldId="2147483610"/>
            <ac:spMk id="4" creationId="{00000000-0000-0000-0000-000000000000}"/>
          </ac:spMkLst>
        </pc:spChg>
        <pc:spChg chg="mod">
          <ac:chgData name="Maier, Timo" userId="6cc461fc-b839-4725-8e95-6c4298586820" providerId="ADAL" clId="{6371A7C7-8E8A-E343-9B15-71FE62244485}" dt="2024-09-16T12:58:01.377" v="252" actId="20577"/>
          <ac:spMkLst>
            <pc:docMk/>
            <pc:sldMk cId="2696317524" sldId="2147483610"/>
            <ac:spMk id="15" creationId="{6DF4DEEA-F5A3-5CDC-C6B9-BD9F93727496}"/>
          </ac:spMkLst>
        </pc:spChg>
        <pc:spChg chg="add mod">
          <ac:chgData name="Maier, Timo" userId="6cc461fc-b839-4725-8e95-6c4298586820" providerId="ADAL" clId="{6371A7C7-8E8A-E343-9B15-71FE62244485}" dt="2024-09-16T13:15:15.256" v="586" actId="20577"/>
          <ac:spMkLst>
            <pc:docMk/>
            <pc:sldMk cId="2696317524" sldId="2147483610"/>
            <ac:spMk id="22" creationId="{CB0F3720-AA88-5B66-CC58-8A38991D636A}"/>
          </ac:spMkLst>
        </pc:spChg>
        <pc:spChg chg="mod">
          <ac:chgData name="Maier, Timo" userId="6cc461fc-b839-4725-8e95-6c4298586820" providerId="ADAL" clId="{6371A7C7-8E8A-E343-9B15-71FE62244485}" dt="2024-09-16T12:58:31.898" v="263" actId="1076"/>
          <ac:spMkLst>
            <pc:docMk/>
            <pc:sldMk cId="2696317524" sldId="2147483610"/>
            <ac:spMk id="33" creationId="{ECD4176E-3307-4AEE-B858-A8911D07832D}"/>
          </ac:spMkLst>
        </pc:spChg>
        <pc:cxnChg chg="mod">
          <ac:chgData name="Maier, Timo" userId="6cc461fc-b839-4725-8e95-6c4298586820" providerId="ADAL" clId="{6371A7C7-8E8A-E343-9B15-71FE62244485}" dt="2024-09-16T12:57:45.318" v="244" actId="478"/>
          <ac:cxnSpMkLst>
            <pc:docMk/>
            <pc:sldMk cId="2696317524" sldId="2147483610"/>
            <ac:cxnSpMk id="6" creationId="{64BB035F-5E4F-DC8C-D8AA-1C5F8B5797EE}"/>
          </ac:cxnSpMkLst>
        </pc:cxnChg>
      </pc:sldChg>
      <pc:sldChg chg="addSp modSp mod">
        <pc:chgData name="Maier, Timo" userId="6cc461fc-b839-4725-8e95-6c4298586820" providerId="ADAL" clId="{6371A7C7-8E8A-E343-9B15-71FE62244485}" dt="2024-09-22T21:14:32.421" v="924" actId="20577"/>
        <pc:sldMkLst>
          <pc:docMk/>
          <pc:sldMk cId="2676425699" sldId="2147483612"/>
        </pc:sldMkLst>
        <pc:spChg chg="mod">
          <ac:chgData name="Maier, Timo" userId="6cc461fc-b839-4725-8e95-6c4298586820" providerId="ADAL" clId="{6371A7C7-8E8A-E343-9B15-71FE62244485}" dt="2024-09-22T21:14:32.421" v="924" actId="20577"/>
          <ac:spMkLst>
            <pc:docMk/>
            <pc:sldMk cId="2676425699" sldId="2147483612"/>
            <ac:spMk id="2" creationId="{E39D29D7-A1F5-C980-F07F-1358561247DF}"/>
          </ac:spMkLst>
        </pc:spChg>
        <pc:spChg chg="mod">
          <ac:chgData name="Maier, Timo" userId="6cc461fc-b839-4725-8e95-6c4298586820" providerId="ADAL" clId="{6371A7C7-8E8A-E343-9B15-71FE62244485}" dt="2024-09-22T21:11:32.458" v="702"/>
          <ac:spMkLst>
            <pc:docMk/>
            <pc:sldMk cId="2676425699" sldId="2147483612"/>
            <ac:spMk id="3" creationId="{11072366-AF44-D84F-6CBA-3D0D0BB74E9B}"/>
          </ac:spMkLst>
        </pc:spChg>
      </pc:sldChg>
    </pc:docChg>
  </pc:docChgLst>
  <pc:docChgLst>
    <pc:chgData name="Heinrich, Erik" userId="9d6b26bc-55d6-48ff-b9bb-b1ddf0151725" providerId="ADAL" clId="{51CD73E0-E802-4A2C-A5C0-961C4BFCB4BC}"/>
    <pc:docChg chg="modSld">
      <pc:chgData name="Heinrich, Erik" userId="9d6b26bc-55d6-48ff-b9bb-b1ddf0151725" providerId="ADAL" clId="{51CD73E0-E802-4A2C-A5C0-961C4BFCB4BC}" dt="2024-08-29T08:28:05.051" v="32" actId="1076"/>
      <pc:docMkLst>
        <pc:docMk/>
      </pc:docMkLst>
      <pc:sldChg chg="addSp modSp mod">
        <pc:chgData name="Heinrich, Erik" userId="9d6b26bc-55d6-48ff-b9bb-b1ddf0151725" providerId="ADAL" clId="{51CD73E0-E802-4A2C-A5C0-961C4BFCB4BC}" dt="2024-08-28T10:18:50.119" v="19" actId="20577"/>
        <pc:sldMkLst>
          <pc:docMk/>
          <pc:sldMk cId="508763584" sldId="2147483606"/>
        </pc:sldMkLst>
      </pc:sldChg>
      <pc:sldChg chg="modSp mod">
        <pc:chgData name="Heinrich, Erik" userId="9d6b26bc-55d6-48ff-b9bb-b1ddf0151725" providerId="ADAL" clId="{51CD73E0-E802-4A2C-A5C0-961C4BFCB4BC}" dt="2024-08-29T08:28:05.051" v="32" actId="1076"/>
        <pc:sldMkLst>
          <pc:docMk/>
          <pc:sldMk cId="1360599850" sldId="2147483620"/>
        </pc:sldMkLst>
      </pc:sldChg>
    </pc:docChg>
  </pc:docChgLst>
  <pc:docChgLst>
    <pc:chgData name="Florian Okos (EXT florian.okos@sap.com)" userId="40f8031e-7e80-4995-afe7-257422c635be" providerId="ADAL" clId="{340BEC67-97A0-074E-A58E-7CFBA4B30750}"/>
    <pc:docChg chg="undo custSel addSld delSld modSld sldOrd addSection modSection">
      <pc:chgData name="Florian Okos (EXT florian.okos@sap.com)" userId="40f8031e-7e80-4995-afe7-257422c635be" providerId="ADAL" clId="{340BEC67-97A0-074E-A58E-7CFBA4B30750}" dt="2024-08-20T07:21:30.317" v="359" actId="108"/>
      <pc:docMkLst>
        <pc:docMk/>
      </pc:docMkLst>
      <pc:sldChg chg="addSp modSp mod ord">
        <pc:chgData name="Florian Okos (EXT florian.okos@sap.com)" userId="40f8031e-7e80-4995-afe7-257422c635be" providerId="ADAL" clId="{340BEC67-97A0-074E-A58E-7CFBA4B30750}" dt="2024-08-19T12:17:21.323" v="286" actId="20578"/>
        <pc:sldMkLst>
          <pc:docMk/>
          <pc:sldMk cId="2286617899" sldId="259"/>
        </pc:sldMkLst>
      </pc:sldChg>
      <pc:sldChg chg="ord">
        <pc:chgData name="Florian Okos (EXT florian.okos@sap.com)" userId="40f8031e-7e80-4995-afe7-257422c635be" providerId="ADAL" clId="{340BEC67-97A0-074E-A58E-7CFBA4B30750}" dt="2024-08-19T12:17:41.360" v="288" actId="20578"/>
        <pc:sldMkLst>
          <pc:docMk/>
          <pc:sldMk cId="219324281" sldId="403"/>
        </pc:sldMkLst>
      </pc:sldChg>
      <pc:sldChg chg="del">
        <pc:chgData name="Florian Okos (EXT florian.okos@sap.com)" userId="40f8031e-7e80-4995-afe7-257422c635be" providerId="ADAL" clId="{340BEC67-97A0-074E-A58E-7CFBA4B30750}" dt="2024-08-19T12:11:44.228" v="53" actId="2696"/>
        <pc:sldMkLst>
          <pc:docMk/>
          <pc:sldMk cId="1584008482" sldId="938"/>
        </pc:sldMkLst>
      </pc:sldChg>
      <pc:sldChg chg="del">
        <pc:chgData name="Florian Okos (EXT florian.okos@sap.com)" userId="40f8031e-7e80-4995-afe7-257422c635be" providerId="ADAL" clId="{340BEC67-97A0-074E-A58E-7CFBA4B30750}" dt="2024-08-19T12:11:31.056" v="51" actId="2696"/>
        <pc:sldMkLst>
          <pc:docMk/>
          <pc:sldMk cId="1176669024" sldId="8652"/>
        </pc:sldMkLst>
      </pc:sldChg>
      <pc:sldChg chg="addSp modSp mod">
        <pc:chgData name="Florian Okos (EXT florian.okos@sap.com)" userId="40f8031e-7e80-4995-afe7-257422c635be" providerId="ADAL" clId="{340BEC67-97A0-074E-A58E-7CFBA4B30750}" dt="2024-08-19T12:14:10.637" v="183" actId="20577"/>
        <pc:sldMkLst>
          <pc:docMk/>
          <pc:sldMk cId="989715596" sldId="2146849106"/>
        </pc:sldMkLst>
      </pc:sldChg>
      <pc:sldChg chg="del">
        <pc:chgData name="Florian Okos (EXT florian.okos@sap.com)" userId="40f8031e-7e80-4995-afe7-257422c635be" providerId="ADAL" clId="{340BEC67-97A0-074E-A58E-7CFBA4B30750}" dt="2024-08-19T12:11:41.684" v="52" actId="2696"/>
        <pc:sldMkLst>
          <pc:docMk/>
          <pc:sldMk cId="1401693984" sldId="2147477316"/>
        </pc:sldMkLst>
      </pc:sldChg>
      <pc:sldChg chg="addSp modSp mod ord">
        <pc:chgData name="Florian Okos (EXT florian.okos@sap.com)" userId="40f8031e-7e80-4995-afe7-257422c635be" providerId="ADAL" clId="{340BEC67-97A0-074E-A58E-7CFBA4B30750}" dt="2024-08-19T12:20:01.921" v="348" actId="20578"/>
        <pc:sldMkLst>
          <pc:docMk/>
          <pc:sldMk cId="3689292654" sldId="2147483015"/>
        </pc:sldMkLst>
      </pc:sldChg>
      <pc:sldChg chg="ord">
        <pc:chgData name="Florian Okos (EXT florian.okos@sap.com)" userId="40f8031e-7e80-4995-afe7-257422c635be" providerId="ADAL" clId="{340BEC67-97A0-074E-A58E-7CFBA4B30750}" dt="2024-08-19T12:20:01.921" v="348" actId="20578"/>
        <pc:sldMkLst>
          <pc:docMk/>
          <pc:sldMk cId="2425872606" sldId="2147483018"/>
        </pc:sldMkLst>
      </pc:sldChg>
      <pc:sldChg chg="addSp delSp modSp mod ord">
        <pc:chgData name="Florian Okos (EXT florian.okos@sap.com)" userId="40f8031e-7e80-4995-afe7-257422c635be" providerId="ADAL" clId="{340BEC67-97A0-074E-A58E-7CFBA4B30750}" dt="2024-08-19T12:20:01.921" v="348" actId="20578"/>
        <pc:sldMkLst>
          <pc:docMk/>
          <pc:sldMk cId="2699902935" sldId="2147483019"/>
        </pc:sldMkLst>
      </pc:sldChg>
      <pc:sldChg chg="addSp modSp mod ord">
        <pc:chgData name="Florian Okos (EXT florian.okos@sap.com)" userId="40f8031e-7e80-4995-afe7-257422c635be" providerId="ADAL" clId="{340BEC67-97A0-074E-A58E-7CFBA4B30750}" dt="2024-08-19T12:19:14.843" v="345" actId="1076"/>
        <pc:sldMkLst>
          <pc:docMk/>
          <pc:sldMk cId="455073347" sldId="2147483537"/>
        </pc:sldMkLst>
      </pc:sldChg>
      <pc:sldChg chg="modSp add">
        <pc:chgData name="Florian Okos (EXT florian.okos@sap.com)" userId="40f8031e-7e80-4995-afe7-257422c635be" providerId="ADAL" clId="{340BEC67-97A0-074E-A58E-7CFBA4B30750}" dt="2024-08-19T12:06:32.807" v="0"/>
        <pc:sldMkLst>
          <pc:docMk/>
          <pc:sldMk cId="1446643629" sldId="2147483568"/>
        </pc:sldMkLst>
      </pc:sldChg>
      <pc:sldChg chg="addSp delSp modSp add mod ord">
        <pc:chgData name="Florian Okos (EXT florian.okos@sap.com)" userId="40f8031e-7e80-4995-afe7-257422c635be" providerId="ADAL" clId="{340BEC67-97A0-074E-A58E-7CFBA4B30750}" dt="2024-08-19T12:10:26.313" v="37"/>
        <pc:sldMkLst>
          <pc:docMk/>
          <pc:sldMk cId="349464627" sldId="2147483573"/>
        </pc:sldMkLst>
      </pc:sldChg>
      <pc:sldChg chg="add ord">
        <pc:chgData name="Florian Okos (EXT florian.okos@sap.com)" userId="40f8031e-7e80-4995-afe7-257422c635be" providerId="ADAL" clId="{340BEC67-97A0-074E-A58E-7CFBA4B30750}" dt="2024-08-19T12:06:50.095" v="3" actId="20578"/>
        <pc:sldMkLst>
          <pc:docMk/>
          <pc:sldMk cId="804722400" sldId="2147483574"/>
        </pc:sldMkLst>
      </pc:sldChg>
      <pc:sldChg chg="del">
        <pc:chgData name="Florian Okos (EXT florian.okos@sap.com)" userId="40f8031e-7e80-4995-afe7-257422c635be" providerId="ADAL" clId="{340BEC67-97A0-074E-A58E-7CFBA4B30750}" dt="2024-08-19T12:09:04.305" v="7" actId="2696"/>
        <pc:sldMkLst>
          <pc:docMk/>
          <pc:sldMk cId="953036600" sldId="2147483604"/>
        </pc:sldMkLst>
      </pc:sldChg>
      <pc:sldChg chg="modSp mod ord">
        <pc:chgData name="Florian Okos (EXT florian.okos@sap.com)" userId="40f8031e-7e80-4995-afe7-257422c635be" providerId="ADAL" clId="{340BEC67-97A0-074E-A58E-7CFBA4B30750}" dt="2024-08-20T07:21:30.317" v="359" actId="108"/>
        <pc:sldMkLst>
          <pc:docMk/>
          <pc:sldMk cId="3639523501" sldId="2147483605"/>
        </pc:sldMkLst>
      </pc:sldChg>
      <pc:sldChg chg="addSp modSp mod">
        <pc:chgData name="Florian Okos (EXT florian.okos@sap.com)" userId="40f8031e-7e80-4995-afe7-257422c635be" providerId="ADAL" clId="{340BEC67-97A0-074E-A58E-7CFBA4B30750}" dt="2024-08-19T12:19:02.298" v="344" actId="1076"/>
        <pc:sldMkLst>
          <pc:docMk/>
          <pc:sldMk cId="508763584" sldId="2147483606"/>
        </pc:sldMkLst>
      </pc:sldChg>
      <pc:sldChg chg="del ord">
        <pc:chgData name="Florian Okos (EXT florian.okos@sap.com)" userId="40f8031e-7e80-4995-afe7-257422c635be" providerId="ADAL" clId="{340BEC67-97A0-074E-A58E-7CFBA4B30750}" dt="2024-08-19T12:18:11.471" v="291" actId="2696"/>
        <pc:sldMkLst>
          <pc:docMk/>
          <pc:sldMk cId="285653180" sldId="2147483611"/>
        </pc:sldMkLst>
      </pc:sldChg>
      <pc:sldChg chg="add del">
        <pc:chgData name="Florian Okos (EXT florian.okos@sap.com)" userId="40f8031e-7e80-4995-afe7-257422c635be" providerId="ADAL" clId="{340BEC67-97A0-074E-A58E-7CFBA4B30750}" dt="2024-08-19T12:09:18.554" v="9"/>
        <pc:sldMkLst>
          <pc:docMk/>
          <pc:sldMk cId="2104677444" sldId="2147483613"/>
        </pc:sldMkLst>
      </pc:sldChg>
      <pc:sldChg chg="addSp delSp modSp new mod modClrScheme chgLayout">
        <pc:chgData name="Florian Okos (EXT florian.okos@sap.com)" userId="40f8031e-7e80-4995-afe7-257422c635be" providerId="ADAL" clId="{340BEC67-97A0-074E-A58E-7CFBA4B30750}" dt="2024-08-19T12:19:32.685" v="347" actId="13926"/>
        <pc:sldMkLst>
          <pc:docMk/>
          <pc:sldMk cId="2799028052" sldId="2147483613"/>
        </pc:sldMkLst>
      </pc:sldChg>
      <pc:sldChg chg="modSp add del mod">
        <pc:chgData name="Florian Okos (EXT florian.okos@sap.com)" userId="40f8031e-7e80-4995-afe7-257422c635be" providerId="ADAL" clId="{340BEC67-97A0-074E-A58E-7CFBA4B30750}" dt="2024-08-19T12:17:29.710" v="287" actId="2696"/>
        <pc:sldMkLst>
          <pc:docMk/>
          <pc:sldMk cId="921778468" sldId="2147483614"/>
        </pc:sldMkLst>
      </pc:sldChg>
      <pc:sldChg chg="add del">
        <pc:chgData name="Florian Okos (EXT florian.okos@sap.com)" userId="40f8031e-7e80-4995-afe7-257422c635be" providerId="ADAL" clId="{340BEC67-97A0-074E-A58E-7CFBA4B30750}" dt="2024-08-19T12:09:18.554" v="9"/>
        <pc:sldMkLst>
          <pc:docMk/>
          <pc:sldMk cId="1530281682" sldId="2147483614"/>
        </pc:sldMkLst>
      </pc:sldChg>
      <pc:sldChg chg="add del">
        <pc:chgData name="Florian Okos (EXT florian.okos@sap.com)" userId="40f8031e-7e80-4995-afe7-257422c635be" providerId="ADAL" clId="{340BEC67-97A0-074E-A58E-7CFBA4B30750}" dt="2024-08-19T12:09:34.458" v="12"/>
        <pc:sldMkLst>
          <pc:docMk/>
          <pc:sldMk cId="4188412907" sldId="2147483614"/>
        </pc:sldMkLst>
      </pc:sldChg>
      <pc:sldChg chg="add del">
        <pc:chgData name="Florian Okos (EXT florian.okos@sap.com)" userId="40f8031e-7e80-4995-afe7-257422c635be" providerId="ADAL" clId="{340BEC67-97A0-074E-A58E-7CFBA4B30750}" dt="2024-08-19T12:09:34.458" v="12"/>
        <pc:sldMkLst>
          <pc:docMk/>
          <pc:sldMk cId="3512654500" sldId="2147483615"/>
        </pc:sldMkLst>
      </pc:sldChg>
      <pc:sldChg chg="modSp new del mod">
        <pc:chgData name="Florian Okos (EXT florian.okos@sap.com)" userId="40f8031e-7e80-4995-afe7-257422c635be" providerId="ADAL" clId="{340BEC67-97A0-074E-A58E-7CFBA4B30750}" dt="2024-08-19T12:20:47.482" v="355" actId="2696"/>
        <pc:sldMkLst>
          <pc:docMk/>
          <pc:sldMk cId="3896815773" sldId="2147483615"/>
        </pc:sldMkLst>
      </pc:sldChg>
    </pc:docChg>
  </pc:docChgLst>
  <pc:docChgLst>
    <pc:chgData name="Okos, Florian" userId="S::florian.okos@sap.com::40f8031e-7e80-4995-afe7-257422c635be" providerId="AD" clId="Web-{184A4D88-9D1A-4E50-9E80-9EDD0526FFE6}"/>
    <pc:docChg chg="mod modSld">
      <pc:chgData name="Okos, Florian" userId="S::florian.okos@sap.com::40f8031e-7e80-4995-afe7-257422c635be" providerId="AD" clId="Web-{184A4D88-9D1A-4E50-9E80-9EDD0526FFE6}" dt="2024-06-18T08:59:18.762" v="16"/>
      <pc:docMkLst>
        <pc:docMk/>
      </pc:docMkLst>
      <pc:sldChg chg="modSp addCm">
        <pc:chgData name="Okos, Florian" userId="S::florian.okos@sap.com::40f8031e-7e80-4995-afe7-257422c635be" providerId="AD" clId="Web-{184A4D88-9D1A-4E50-9E80-9EDD0526FFE6}" dt="2024-06-18T08:59:18.762" v="16"/>
        <pc:sldMkLst>
          <pc:docMk/>
          <pc:sldMk cId="3639523501" sldId="2147483605"/>
        </pc:sldMkLst>
        <pc:extLst>
          <p:ext xmlns:p="http://schemas.openxmlformats.org/presentationml/2006/main" uri="{D6D511B9-2390-475A-947B-AFAB55BFBCF1}">
            <pc226:cmChg xmlns:pc226="http://schemas.microsoft.com/office/powerpoint/2022/06/main/command" chg="add">
              <pc226:chgData name="Okos, Florian" userId="S::florian.okos@sap.com::40f8031e-7e80-4995-afe7-257422c635be" providerId="AD" clId="Web-{184A4D88-9D1A-4E50-9E80-9EDD0526FFE6}" dt="2024-06-18T08:59:18.762" v="16"/>
              <pc2:cmMkLst xmlns:pc2="http://schemas.microsoft.com/office/powerpoint/2019/9/main/command">
                <pc:docMk/>
                <pc:sldMk cId="3639523501" sldId="2147483605"/>
                <pc2:cmMk id="{9EAAE121-8BB4-4704-BF95-3FC1B2BEACB8}"/>
              </pc2:cmMkLst>
            </pc226:cmChg>
          </p:ext>
        </pc:extLst>
      </pc:sldChg>
      <pc:sldChg chg="modSp">
        <pc:chgData name="Okos, Florian" userId="S::florian.okos@sap.com::40f8031e-7e80-4995-afe7-257422c635be" providerId="AD" clId="Web-{184A4D88-9D1A-4E50-9E80-9EDD0526FFE6}" dt="2024-06-18T08:57:19.821" v="2" actId="14100"/>
        <pc:sldMkLst>
          <pc:docMk/>
          <pc:sldMk cId="508763584" sldId="2147483606"/>
        </pc:sldMkLst>
      </pc:sldChg>
    </pc:docChg>
  </pc:docChgLst>
  <pc:docChgLst>
    <pc:chgData name="Heinrich, Erik" userId="9d6b26bc-55d6-48ff-b9bb-b1ddf0151725" providerId="ADAL" clId="{AE694019-EEB4-4507-B065-1A8FA0AA931F}"/>
    <pc:docChg chg="undo custSel addSld delSld modSld sldOrd modSection">
      <pc:chgData name="Heinrich, Erik" userId="9d6b26bc-55d6-48ff-b9bb-b1ddf0151725" providerId="ADAL" clId="{AE694019-EEB4-4507-B065-1A8FA0AA931F}" dt="2024-09-17T15:07:50.985" v="2370" actId="33986"/>
      <pc:docMkLst>
        <pc:docMk/>
      </pc:docMkLst>
      <pc:sldChg chg="modSp add del mod ord">
        <pc:chgData name="Heinrich, Erik" userId="9d6b26bc-55d6-48ff-b9bb-b1ddf0151725" providerId="ADAL" clId="{AE694019-EEB4-4507-B065-1A8FA0AA931F}" dt="2024-09-17T12:30:01.496" v="541" actId="47"/>
        <pc:sldMkLst>
          <pc:docMk/>
          <pc:sldMk cId="122217539" sldId="262"/>
        </pc:sldMkLst>
      </pc:sldChg>
      <pc:sldChg chg="add modAnim modNotesTx">
        <pc:chgData name="Heinrich, Erik" userId="9d6b26bc-55d6-48ff-b9bb-b1ddf0151725" providerId="ADAL" clId="{AE694019-EEB4-4507-B065-1A8FA0AA931F}" dt="2024-09-17T12:33:27.287" v="600"/>
        <pc:sldMkLst>
          <pc:docMk/>
          <pc:sldMk cId="1267931823" sldId="262"/>
        </pc:sldMkLst>
      </pc:sldChg>
      <pc:sldChg chg="addSp modSp new mod">
        <pc:chgData name="Heinrich, Erik" userId="9d6b26bc-55d6-48ff-b9bb-b1ddf0151725" providerId="ADAL" clId="{AE694019-EEB4-4507-B065-1A8FA0AA931F}" dt="2024-09-17T13:25:52.384" v="1775" actId="1076"/>
        <pc:sldMkLst>
          <pc:docMk/>
          <pc:sldMk cId="1783623476" sldId="263"/>
        </pc:sldMkLst>
        <pc:spChg chg="mod">
          <ac:chgData name="Heinrich, Erik" userId="9d6b26bc-55d6-48ff-b9bb-b1ddf0151725" providerId="ADAL" clId="{AE694019-EEB4-4507-B065-1A8FA0AA931F}" dt="2024-09-17T13:23:29.127" v="1561" actId="20577"/>
          <ac:spMkLst>
            <pc:docMk/>
            <pc:sldMk cId="1783623476" sldId="263"/>
            <ac:spMk id="2" creationId="{979ABB63-24DC-00A9-D483-6BBD697C9F6D}"/>
          </ac:spMkLst>
        </pc:spChg>
        <pc:spChg chg="mod">
          <ac:chgData name="Heinrich, Erik" userId="9d6b26bc-55d6-48ff-b9bb-b1ddf0151725" providerId="ADAL" clId="{AE694019-EEB4-4507-B065-1A8FA0AA931F}" dt="2024-09-17T13:10:52.753" v="835"/>
          <ac:spMkLst>
            <pc:docMk/>
            <pc:sldMk cId="1783623476" sldId="263"/>
            <ac:spMk id="3" creationId="{07657CCD-3D37-B0B4-1D37-F16F90743865}"/>
          </ac:spMkLst>
        </pc:spChg>
        <pc:picChg chg="add mod">
          <ac:chgData name="Heinrich, Erik" userId="9d6b26bc-55d6-48ff-b9bb-b1ddf0151725" providerId="ADAL" clId="{AE694019-EEB4-4507-B065-1A8FA0AA931F}" dt="2024-09-17T13:25:52.384" v="1775" actId="1076"/>
          <ac:picMkLst>
            <pc:docMk/>
            <pc:sldMk cId="1783623476" sldId="263"/>
            <ac:picMk id="5" creationId="{70A54EB0-769B-8491-AC81-51EE68CB9609}"/>
          </ac:picMkLst>
        </pc:picChg>
      </pc:sldChg>
      <pc:sldChg chg="add del">
        <pc:chgData name="Heinrich, Erik" userId="9d6b26bc-55d6-48ff-b9bb-b1ddf0151725" providerId="ADAL" clId="{AE694019-EEB4-4507-B065-1A8FA0AA931F}" dt="2024-09-17T12:48:09.012" v="648" actId="47"/>
        <pc:sldMkLst>
          <pc:docMk/>
          <pc:sldMk cId="1899943175" sldId="263"/>
        </pc:sldMkLst>
      </pc:sldChg>
      <pc:sldChg chg="modSp add del mod">
        <pc:chgData name="Heinrich, Erik" userId="9d6b26bc-55d6-48ff-b9bb-b1ddf0151725" providerId="ADAL" clId="{AE694019-EEB4-4507-B065-1A8FA0AA931F}" dt="2024-09-17T12:35:03.710" v="604" actId="47"/>
        <pc:sldMkLst>
          <pc:docMk/>
          <pc:sldMk cId="1902932817" sldId="263"/>
        </pc:sldMkLst>
      </pc:sldChg>
      <pc:sldChg chg="addSp delSp modSp add mod">
        <pc:chgData name="Heinrich, Erik" userId="9d6b26bc-55d6-48ff-b9bb-b1ddf0151725" providerId="ADAL" clId="{AE694019-EEB4-4507-B065-1A8FA0AA931F}" dt="2024-09-17T15:07:50.985" v="2370" actId="33986"/>
        <pc:sldMkLst>
          <pc:docMk/>
          <pc:sldMk cId="1265747994" sldId="264"/>
        </pc:sldMkLst>
        <pc:spChg chg="add mod">
          <ac:chgData name="Heinrich, Erik" userId="9d6b26bc-55d6-48ff-b9bb-b1ddf0151725" providerId="ADAL" clId="{AE694019-EEB4-4507-B065-1A8FA0AA931F}" dt="2024-09-17T15:04:26.506" v="2360" actId="20577"/>
          <ac:spMkLst>
            <pc:docMk/>
            <pc:sldMk cId="1265747994" sldId="264"/>
            <ac:spMk id="5" creationId="{A8B16113-2599-8BAF-F0DF-8C58EC5F627C}"/>
          </ac:spMkLst>
        </pc:spChg>
        <pc:picChg chg="add mod">
          <ac:chgData name="Heinrich, Erik" userId="9d6b26bc-55d6-48ff-b9bb-b1ddf0151725" providerId="ADAL" clId="{AE694019-EEB4-4507-B065-1A8FA0AA931F}" dt="2024-09-17T15:04:34.673" v="2363" actId="1076"/>
          <ac:picMkLst>
            <pc:docMk/>
            <pc:sldMk cId="1265747994" sldId="264"/>
            <ac:picMk id="3" creationId="{0DF93714-9D6E-A31D-FF77-2502BF2024E1}"/>
          </ac:picMkLst>
        </pc:picChg>
        <pc:picChg chg="add mod">
          <ac:chgData name="Heinrich, Erik" userId="9d6b26bc-55d6-48ff-b9bb-b1ddf0151725" providerId="ADAL" clId="{AE694019-EEB4-4507-B065-1A8FA0AA931F}" dt="2024-09-17T15:07:00.561" v="2366" actId="1076"/>
          <ac:picMkLst>
            <pc:docMk/>
            <pc:sldMk cId="1265747994" sldId="264"/>
            <ac:picMk id="7" creationId="{C92EA76B-2AA4-E638-4C26-E1D89AD325BC}"/>
          </ac:picMkLst>
        </pc:picChg>
        <pc:cxnChg chg="add mod">
          <ac:chgData name="Heinrich, Erik" userId="9d6b26bc-55d6-48ff-b9bb-b1ddf0151725" providerId="ADAL" clId="{AE694019-EEB4-4507-B065-1A8FA0AA931F}" dt="2024-09-17T15:07:50.985" v="2370" actId="33986"/>
          <ac:cxnSpMkLst>
            <pc:docMk/>
            <pc:sldMk cId="1265747994" sldId="264"/>
            <ac:cxnSpMk id="8" creationId="{53983834-3FC6-2872-CD77-536479F3C650}"/>
          </ac:cxnSpMkLst>
        </pc:cxnChg>
      </pc:sldChg>
      <pc:sldChg chg="modSp add del mod">
        <pc:chgData name="Heinrich, Erik" userId="9d6b26bc-55d6-48ff-b9bb-b1ddf0151725" providerId="ADAL" clId="{AE694019-EEB4-4507-B065-1A8FA0AA931F}" dt="2024-09-17T12:32:32.089" v="598" actId="47"/>
        <pc:sldMkLst>
          <pc:docMk/>
          <pc:sldMk cId="2089708728" sldId="264"/>
        </pc:sldMkLst>
      </pc:sldChg>
      <pc:sldChg chg="add ord">
        <pc:chgData name="Heinrich, Erik" userId="9d6b26bc-55d6-48ff-b9bb-b1ddf0151725" providerId="ADAL" clId="{AE694019-EEB4-4507-B065-1A8FA0AA931F}" dt="2024-09-17T12:49:15.044" v="650"/>
        <pc:sldMkLst>
          <pc:docMk/>
          <pc:sldMk cId="2193553839" sldId="265"/>
        </pc:sldMkLst>
      </pc:sldChg>
      <pc:sldChg chg="addSp modSp add mod">
        <pc:chgData name="Heinrich, Erik" userId="9d6b26bc-55d6-48ff-b9bb-b1ddf0151725" providerId="ADAL" clId="{AE694019-EEB4-4507-B065-1A8FA0AA931F}" dt="2024-09-17T13:54:46.332" v="2154" actId="20577"/>
        <pc:sldMkLst>
          <pc:docMk/>
          <pc:sldMk cId="1703777975" sldId="266"/>
        </pc:sldMkLst>
        <pc:spChg chg="mod">
          <ac:chgData name="Heinrich, Erik" userId="9d6b26bc-55d6-48ff-b9bb-b1ddf0151725" providerId="ADAL" clId="{AE694019-EEB4-4507-B065-1A8FA0AA931F}" dt="2024-09-17T13:54:46.332" v="2154" actId="20577"/>
          <ac:spMkLst>
            <pc:docMk/>
            <pc:sldMk cId="1703777975" sldId="266"/>
            <ac:spMk id="2" creationId="{979ABB63-24DC-00A9-D483-6BBD697C9F6D}"/>
          </ac:spMkLst>
        </pc:spChg>
        <pc:spChg chg="mod">
          <ac:chgData name="Heinrich, Erik" userId="9d6b26bc-55d6-48ff-b9bb-b1ddf0151725" providerId="ADAL" clId="{AE694019-EEB4-4507-B065-1A8FA0AA931F}" dt="2024-09-17T13:11:14.158" v="896"/>
          <ac:spMkLst>
            <pc:docMk/>
            <pc:sldMk cId="1703777975" sldId="266"/>
            <ac:spMk id="3" creationId="{07657CCD-3D37-B0B4-1D37-F16F90743865}"/>
          </ac:spMkLst>
        </pc:spChg>
        <pc:picChg chg="add mod">
          <ac:chgData name="Heinrich, Erik" userId="9d6b26bc-55d6-48ff-b9bb-b1ddf0151725" providerId="ADAL" clId="{AE694019-EEB4-4507-B065-1A8FA0AA931F}" dt="2024-09-17T13:54:30.805" v="2091" actId="14100"/>
          <ac:picMkLst>
            <pc:docMk/>
            <pc:sldMk cId="1703777975" sldId="266"/>
            <ac:picMk id="5" creationId="{B02CD0C3-CA5F-A79E-0B3D-4C4F9B9A318E}"/>
          </ac:picMkLst>
        </pc:picChg>
        <pc:picChg chg="add mod">
          <ac:chgData name="Heinrich, Erik" userId="9d6b26bc-55d6-48ff-b9bb-b1ddf0151725" providerId="ADAL" clId="{AE694019-EEB4-4507-B065-1A8FA0AA931F}" dt="2024-09-17T13:54:33.790" v="2094" actId="1076"/>
          <ac:picMkLst>
            <pc:docMk/>
            <pc:sldMk cId="1703777975" sldId="266"/>
            <ac:picMk id="7" creationId="{2AF057DF-FAD8-21C5-07B3-D269B7B522F6}"/>
          </ac:picMkLst>
        </pc:picChg>
      </pc:sldChg>
      <pc:sldChg chg="addSp modSp add mod">
        <pc:chgData name="Heinrich, Erik" userId="9d6b26bc-55d6-48ff-b9bb-b1ddf0151725" providerId="ADAL" clId="{AE694019-EEB4-4507-B065-1A8FA0AA931F}" dt="2024-09-17T13:25:43.660" v="1772" actId="1076"/>
        <pc:sldMkLst>
          <pc:docMk/>
          <pc:sldMk cId="1207617717" sldId="267"/>
        </pc:sldMkLst>
        <pc:spChg chg="mod">
          <ac:chgData name="Heinrich, Erik" userId="9d6b26bc-55d6-48ff-b9bb-b1ddf0151725" providerId="ADAL" clId="{AE694019-EEB4-4507-B065-1A8FA0AA931F}" dt="2024-09-17T13:25:27.435" v="1768" actId="115"/>
          <ac:spMkLst>
            <pc:docMk/>
            <pc:sldMk cId="1207617717" sldId="267"/>
            <ac:spMk id="2" creationId="{979ABB63-24DC-00A9-D483-6BBD697C9F6D}"/>
          </ac:spMkLst>
        </pc:spChg>
        <pc:spChg chg="mod">
          <ac:chgData name="Heinrich, Erik" userId="9d6b26bc-55d6-48ff-b9bb-b1ddf0151725" providerId="ADAL" clId="{AE694019-EEB4-4507-B065-1A8FA0AA931F}" dt="2024-09-17T13:11:03.187" v="859"/>
          <ac:spMkLst>
            <pc:docMk/>
            <pc:sldMk cId="1207617717" sldId="267"/>
            <ac:spMk id="3" creationId="{07657CCD-3D37-B0B4-1D37-F16F90743865}"/>
          </ac:spMkLst>
        </pc:spChg>
        <pc:picChg chg="add mod">
          <ac:chgData name="Heinrich, Erik" userId="9d6b26bc-55d6-48ff-b9bb-b1ddf0151725" providerId="ADAL" clId="{AE694019-EEB4-4507-B065-1A8FA0AA931F}" dt="2024-09-17T13:25:43.660" v="1772" actId="1076"/>
          <ac:picMkLst>
            <pc:docMk/>
            <pc:sldMk cId="1207617717" sldId="267"/>
            <ac:picMk id="5" creationId="{D6C92E56-924C-4DB4-B805-591BCC7950EB}"/>
          </ac:picMkLst>
        </pc:picChg>
      </pc:sldChg>
      <pc:sldChg chg="addSp delSp modSp add del mod ord">
        <pc:chgData name="Heinrich, Erik" userId="9d6b26bc-55d6-48ff-b9bb-b1ddf0151725" providerId="ADAL" clId="{AE694019-EEB4-4507-B065-1A8FA0AA931F}" dt="2024-09-17T13:21:46.263" v="1454" actId="1076"/>
        <pc:sldMkLst>
          <pc:docMk/>
          <pc:sldMk cId="1609682107" sldId="404"/>
        </pc:sldMkLst>
        <pc:spChg chg="mod">
          <ac:chgData name="Heinrich, Erik" userId="9d6b26bc-55d6-48ff-b9bb-b1ddf0151725" providerId="ADAL" clId="{AE694019-EEB4-4507-B065-1A8FA0AA931F}" dt="2024-09-17T13:21:38.588" v="1453" actId="20577"/>
          <ac:spMkLst>
            <pc:docMk/>
            <pc:sldMk cId="1609682107" sldId="404"/>
            <ac:spMk id="2" creationId="{E38E81FA-BD36-D246-A0BA-94256E3D831A}"/>
          </ac:spMkLst>
        </pc:spChg>
        <pc:spChg chg="mod">
          <ac:chgData name="Heinrich, Erik" userId="9d6b26bc-55d6-48ff-b9bb-b1ddf0151725" providerId="ADAL" clId="{AE694019-EEB4-4507-B065-1A8FA0AA931F}" dt="2024-09-17T12:35:37.394" v="626" actId="20577"/>
          <ac:spMkLst>
            <pc:docMk/>
            <pc:sldMk cId="1609682107" sldId="404"/>
            <ac:spMk id="24" creationId="{00000000-0000-0000-0000-000000000000}"/>
          </ac:spMkLst>
        </pc:spChg>
        <pc:picChg chg="mod">
          <ac:chgData name="Heinrich, Erik" userId="9d6b26bc-55d6-48ff-b9bb-b1ddf0151725" providerId="ADAL" clId="{AE694019-EEB4-4507-B065-1A8FA0AA931F}" dt="2024-09-17T13:19:55.157" v="1281" actId="14100"/>
          <ac:picMkLst>
            <pc:docMk/>
            <pc:sldMk cId="1609682107" sldId="404"/>
            <ac:picMk id="4" creationId="{4D8657EF-4C2F-EF95-45D0-EAA6370C2D10}"/>
          </ac:picMkLst>
        </pc:picChg>
        <pc:picChg chg="add mod">
          <ac:chgData name="Heinrich, Erik" userId="9d6b26bc-55d6-48ff-b9bb-b1ddf0151725" providerId="ADAL" clId="{AE694019-EEB4-4507-B065-1A8FA0AA931F}" dt="2024-09-17T13:21:46.263" v="1454" actId="1076"/>
          <ac:picMkLst>
            <pc:docMk/>
            <pc:sldMk cId="1609682107" sldId="404"/>
            <ac:picMk id="5" creationId="{325C42E6-4ADD-C1E9-FFAE-18AE5E21A575}"/>
          </ac:picMkLst>
        </pc:picChg>
      </pc:sldChg>
      <pc:sldChg chg="ord">
        <pc:chgData name="Heinrich, Erik" userId="9d6b26bc-55d6-48ff-b9bb-b1ddf0151725" providerId="ADAL" clId="{AE694019-EEB4-4507-B065-1A8FA0AA931F}" dt="2024-09-17T12:08:42.433" v="538"/>
        <pc:sldMkLst>
          <pc:docMk/>
          <pc:sldMk cId="4018025862" sldId="405"/>
        </pc:sldMkLst>
      </pc:sldChg>
      <pc:sldChg chg="del">
        <pc:chgData name="Heinrich, Erik" userId="9d6b26bc-55d6-48ff-b9bb-b1ddf0151725" providerId="ADAL" clId="{AE694019-EEB4-4507-B065-1A8FA0AA931F}" dt="2024-09-12T09:57:50.274" v="271" actId="47"/>
        <pc:sldMkLst>
          <pc:docMk/>
          <pc:sldMk cId="2735406355" sldId="406"/>
        </pc:sldMkLst>
      </pc:sldChg>
      <pc:sldChg chg="ord">
        <pc:chgData name="Heinrich, Erik" userId="9d6b26bc-55d6-48ff-b9bb-b1ddf0151725" providerId="ADAL" clId="{AE694019-EEB4-4507-B065-1A8FA0AA931F}" dt="2024-09-12T09:53:13.229" v="1"/>
        <pc:sldMkLst>
          <pc:docMk/>
          <pc:sldMk cId="455073347" sldId="2147483537"/>
        </pc:sldMkLst>
      </pc:sldChg>
      <pc:sldChg chg="modSp mod">
        <pc:chgData name="Heinrich, Erik" userId="9d6b26bc-55d6-48ff-b9bb-b1ddf0151725" providerId="ADAL" clId="{AE694019-EEB4-4507-B065-1A8FA0AA931F}" dt="2024-09-12T09:54:22.516" v="25" actId="20577"/>
        <pc:sldMkLst>
          <pc:docMk/>
          <pc:sldMk cId="3639523501" sldId="2147483605"/>
        </pc:sldMkLst>
        <pc:graphicFrameChg chg="modGraphic">
          <ac:chgData name="Heinrich, Erik" userId="9d6b26bc-55d6-48ff-b9bb-b1ddf0151725" providerId="ADAL" clId="{AE694019-EEB4-4507-B065-1A8FA0AA931F}" dt="2024-09-12T09:54:22.516" v="25" actId="20577"/>
          <ac:graphicFrameMkLst>
            <pc:docMk/>
            <pc:sldMk cId="3639523501" sldId="2147483605"/>
            <ac:graphicFrameMk id="2" creationId="{1B13D625-8245-F64B-9432-43601C6B7E18}"/>
          </ac:graphicFrameMkLst>
        </pc:graphicFrameChg>
      </pc:sldChg>
      <pc:sldChg chg="addSp delSp modSp mod ord">
        <pc:chgData name="Heinrich, Erik" userId="9d6b26bc-55d6-48ff-b9bb-b1ddf0151725" providerId="ADAL" clId="{AE694019-EEB4-4507-B065-1A8FA0AA931F}" dt="2024-09-17T12:48:04.803" v="647" actId="1076"/>
        <pc:sldMkLst>
          <pc:docMk/>
          <pc:sldMk cId="1918519848" sldId="2147483611"/>
        </pc:sldMkLst>
        <pc:spChg chg="mod">
          <ac:chgData name="Heinrich, Erik" userId="9d6b26bc-55d6-48ff-b9bb-b1ddf0151725" providerId="ADAL" clId="{AE694019-EEB4-4507-B065-1A8FA0AA931F}" dt="2024-09-17T12:30:14.861" v="596" actId="20577"/>
          <ac:spMkLst>
            <pc:docMk/>
            <pc:sldMk cId="1918519848" sldId="2147483611"/>
            <ac:spMk id="24" creationId="{00000000-0000-0000-0000-000000000000}"/>
          </ac:spMkLst>
        </pc:spChg>
        <pc:spChg chg="add mod">
          <ac:chgData name="Heinrich, Erik" userId="9d6b26bc-55d6-48ff-b9bb-b1ddf0151725" providerId="ADAL" clId="{AE694019-EEB4-4507-B065-1A8FA0AA931F}" dt="2024-09-17T12:48:04.803" v="647" actId="1076"/>
          <ac:spMkLst>
            <pc:docMk/>
            <pc:sldMk cId="1918519848" sldId="2147483611"/>
            <ac:spMk id="249" creationId="{E31D9C2C-10CD-E882-23E3-E9956A286E5F}"/>
          </ac:spMkLst>
        </pc:spChg>
        <pc:spChg chg="add mod">
          <ac:chgData name="Heinrich, Erik" userId="9d6b26bc-55d6-48ff-b9bb-b1ddf0151725" providerId="ADAL" clId="{AE694019-EEB4-4507-B065-1A8FA0AA931F}" dt="2024-09-17T12:48:04.803" v="647" actId="1076"/>
          <ac:spMkLst>
            <pc:docMk/>
            <pc:sldMk cId="1918519848" sldId="2147483611"/>
            <ac:spMk id="250" creationId="{45FD08BD-8DD9-3639-C640-3E4778565AAF}"/>
          </ac:spMkLst>
        </pc:spChg>
        <pc:spChg chg="add mod">
          <ac:chgData name="Heinrich, Erik" userId="9d6b26bc-55d6-48ff-b9bb-b1ddf0151725" providerId="ADAL" clId="{AE694019-EEB4-4507-B065-1A8FA0AA931F}" dt="2024-09-17T12:48:04.803" v="647" actId="1076"/>
          <ac:spMkLst>
            <pc:docMk/>
            <pc:sldMk cId="1918519848" sldId="2147483611"/>
            <ac:spMk id="251" creationId="{22880D3B-F802-3D87-C36E-F2F37AD7AE8F}"/>
          </ac:spMkLst>
        </pc:spChg>
        <pc:spChg chg="add mod">
          <ac:chgData name="Heinrich, Erik" userId="9d6b26bc-55d6-48ff-b9bb-b1ddf0151725" providerId="ADAL" clId="{AE694019-EEB4-4507-B065-1A8FA0AA931F}" dt="2024-09-17T12:48:04.803" v="647" actId="1076"/>
          <ac:spMkLst>
            <pc:docMk/>
            <pc:sldMk cId="1918519848" sldId="2147483611"/>
            <ac:spMk id="252" creationId="{774F22A9-CF43-3EDE-52D0-E4381AE198DF}"/>
          </ac:spMkLst>
        </pc:spChg>
        <pc:spChg chg="mod">
          <ac:chgData name="Heinrich, Erik" userId="9d6b26bc-55d6-48ff-b9bb-b1ddf0151725" providerId="ADAL" clId="{AE694019-EEB4-4507-B065-1A8FA0AA931F}" dt="2024-09-17T12:47:59.679" v="646"/>
          <ac:spMkLst>
            <pc:docMk/>
            <pc:sldMk cId="1918519848" sldId="2147483611"/>
            <ac:spMk id="254" creationId="{905738FA-B42E-DCE5-4520-CB9B54CA7BEA}"/>
          </ac:spMkLst>
        </pc:spChg>
        <pc:spChg chg="mod">
          <ac:chgData name="Heinrich, Erik" userId="9d6b26bc-55d6-48ff-b9bb-b1ddf0151725" providerId="ADAL" clId="{AE694019-EEB4-4507-B065-1A8FA0AA931F}" dt="2024-09-17T12:47:59.679" v="646"/>
          <ac:spMkLst>
            <pc:docMk/>
            <pc:sldMk cId="1918519848" sldId="2147483611"/>
            <ac:spMk id="255" creationId="{300D42F7-5DD5-C1B9-0B0F-C42AFA8ED251}"/>
          </ac:spMkLst>
        </pc:spChg>
        <pc:spChg chg="mod">
          <ac:chgData name="Heinrich, Erik" userId="9d6b26bc-55d6-48ff-b9bb-b1ddf0151725" providerId="ADAL" clId="{AE694019-EEB4-4507-B065-1A8FA0AA931F}" dt="2024-09-17T12:47:59.679" v="646"/>
          <ac:spMkLst>
            <pc:docMk/>
            <pc:sldMk cId="1918519848" sldId="2147483611"/>
            <ac:spMk id="256" creationId="{4E55C699-847F-3A14-23D1-EF84DB619ABB}"/>
          </ac:spMkLst>
        </pc:spChg>
        <pc:spChg chg="mod">
          <ac:chgData name="Heinrich, Erik" userId="9d6b26bc-55d6-48ff-b9bb-b1ddf0151725" providerId="ADAL" clId="{AE694019-EEB4-4507-B065-1A8FA0AA931F}" dt="2024-09-17T12:47:59.679" v="646"/>
          <ac:spMkLst>
            <pc:docMk/>
            <pc:sldMk cId="1918519848" sldId="2147483611"/>
            <ac:spMk id="257" creationId="{85353F39-5ECF-6962-6867-4F78C045FA69}"/>
          </ac:spMkLst>
        </pc:spChg>
        <pc:spChg chg="mod">
          <ac:chgData name="Heinrich, Erik" userId="9d6b26bc-55d6-48ff-b9bb-b1ddf0151725" providerId="ADAL" clId="{AE694019-EEB4-4507-B065-1A8FA0AA931F}" dt="2024-09-17T12:47:59.679" v="646"/>
          <ac:spMkLst>
            <pc:docMk/>
            <pc:sldMk cId="1918519848" sldId="2147483611"/>
            <ac:spMk id="258" creationId="{00FBB800-BEDC-5587-B230-22AEC182408D}"/>
          </ac:spMkLst>
        </pc:spChg>
        <pc:spChg chg="mod">
          <ac:chgData name="Heinrich, Erik" userId="9d6b26bc-55d6-48ff-b9bb-b1ddf0151725" providerId="ADAL" clId="{AE694019-EEB4-4507-B065-1A8FA0AA931F}" dt="2024-09-17T12:47:59.679" v="646"/>
          <ac:spMkLst>
            <pc:docMk/>
            <pc:sldMk cId="1918519848" sldId="2147483611"/>
            <ac:spMk id="259" creationId="{CAD88D57-7AFE-3752-496B-3A81CE30F14E}"/>
          </ac:spMkLst>
        </pc:spChg>
        <pc:spChg chg="mod">
          <ac:chgData name="Heinrich, Erik" userId="9d6b26bc-55d6-48ff-b9bb-b1ddf0151725" providerId="ADAL" clId="{AE694019-EEB4-4507-B065-1A8FA0AA931F}" dt="2024-09-17T12:47:59.679" v="646"/>
          <ac:spMkLst>
            <pc:docMk/>
            <pc:sldMk cId="1918519848" sldId="2147483611"/>
            <ac:spMk id="260" creationId="{2FDB9A34-1E3E-4026-170D-F4717706BA0A}"/>
          </ac:spMkLst>
        </pc:spChg>
        <pc:spChg chg="mod">
          <ac:chgData name="Heinrich, Erik" userId="9d6b26bc-55d6-48ff-b9bb-b1ddf0151725" providerId="ADAL" clId="{AE694019-EEB4-4507-B065-1A8FA0AA931F}" dt="2024-09-17T12:47:59.679" v="646"/>
          <ac:spMkLst>
            <pc:docMk/>
            <pc:sldMk cId="1918519848" sldId="2147483611"/>
            <ac:spMk id="261" creationId="{401F1B32-9016-990B-9383-BDB3BFF2A77C}"/>
          </ac:spMkLst>
        </pc:spChg>
        <pc:spChg chg="mod">
          <ac:chgData name="Heinrich, Erik" userId="9d6b26bc-55d6-48ff-b9bb-b1ddf0151725" providerId="ADAL" clId="{AE694019-EEB4-4507-B065-1A8FA0AA931F}" dt="2024-09-17T12:47:59.679" v="646"/>
          <ac:spMkLst>
            <pc:docMk/>
            <pc:sldMk cId="1918519848" sldId="2147483611"/>
            <ac:spMk id="262" creationId="{C9DCD720-AB00-BBF7-4235-49179FAC104C}"/>
          </ac:spMkLst>
        </pc:spChg>
        <pc:spChg chg="mod">
          <ac:chgData name="Heinrich, Erik" userId="9d6b26bc-55d6-48ff-b9bb-b1ddf0151725" providerId="ADAL" clId="{AE694019-EEB4-4507-B065-1A8FA0AA931F}" dt="2024-09-17T12:47:59.679" v="646"/>
          <ac:spMkLst>
            <pc:docMk/>
            <pc:sldMk cId="1918519848" sldId="2147483611"/>
            <ac:spMk id="263" creationId="{7F49F6FE-68A2-01E3-0D3A-1C9EFCB3BA3E}"/>
          </ac:spMkLst>
        </pc:spChg>
        <pc:spChg chg="mod">
          <ac:chgData name="Heinrich, Erik" userId="9d6b26bc-55d6-48ff-b9bb-b1ddf0151725" providerId="ADAL" clId="{AE694019-EEB4-4507-B065-1A8FA0AA931F}" dt="2024-09-17T12:47:59.679" v="646"/>
          <ac:spMkLst>
            <pc:docMk/>
            <pc:sldMk cId="1918519848" sldId="2147483611"/>
            <ac:spMk id="264" creationId="{9238DB33-F18D-AF39-B58C-51ECF1E75B2D}"/>
          </ac:spMkLst>
        </pc:spChg>
        <pc:spChg chg="mod">
          <ac:chgData name="Heinrich, Erik" userId="9d6b26bc-55d6-48ff-b9bb-b1ddf0151725" providerId="ADAL" clId="{AE694019-EEB4-4507-B065-1A8FA0AA931F}" dt="2024-09-17T12:47:59.679" v="646"/>
          <ac:spMkLst>
            <pc:docMk/>
            <pc:sldMk cId="1918519848" sldId="2147483611"/>
            <ac:spMk id="265" creationId="{47C90E18-2EAB-4FBF-0C74-6DF60AFB6597}"/>
          </ac:spMkLst>
        </pc:spChg>
        <pc:spChg chg="mod">
          <ac:chgData name="Heinrich, Erik" userId="9d6b26bc-55d6-48ff-b9bb-b1ddf0151725" providerId="ADAL" clId="{AE694019-EEB4-4507-B065-1A8FA0AA931F}" dt="2024-09-17T12:47:59.679" v="646"/>
          <ac:spMkLst>
            <pc:docMk/>
            <pc:sldMk cId="1918519848" sldId="2147483611"/>
            <ac:spMk id="266" creationId="{0014EEAC-11B1-B646-3094-949EE7ED73C1}"/>
          </ac:spMkLst>
        </pc:spChg>
        <pc:spChg chg="mod">
          <ac:chgData name="Heinrich, Erik" userId="9d6b26bc-55d6-48ff-b9bb-b1ddf0151725" providerId="ADAL" clId="{AE694019-EEB4-4507-B065-1A8FA0AA931F}" dt="2024-09-17T12:47:59.679" v="646"/>
          <ac:spMkLst>
            <pc:docMk/>
            <pc:sldMk cId="1918519848" sldId="2147483611"/>
            <ac:spMk id="274" creationId="{2EC69C72-363E-2F95-ED09-A3B72B02C3E6}"/>
          </ac:spMkLst>
        </pc:spChg>
        <pc:spChg chg="mod">
          <ac:chgData name="Heinrich, Erik" userId="9d6b26bc-55d6-48ff-b9bb-b1ddf0151725" providerId="ADAL" clId="{AE694019-EEB4-4507-B065-1A8FA0AA931F}" dt="2024-09-17T12:47:59.679" v="646"/>
          <ac:spMkLst>
            <pc:docMk/>
            <pc:sldMk cId="1918519848" sldId="2147483611"/>
            <ac:spMk id="275" creationId="{D8B26133-5C8D-DB7B-14ED-F39AD96AF189}"/>
          </ac:spMkLst>
        </pc:spChg>
        <pc:spChg chg="mod">
          <ac:chgData name="Heinrich, Erik" userId="9d6b26bc-55d6-48ff-b9bb-b1ddf0151725" providerId="ADAL" clId="{AE694019-EEB4-4507-B065-1A8FA0AA931F}" dt="2024-09-17T12:47:59.679" v="646"/>
          <ac:spMkLst>
            <pc:docMk/>
            <pc:sldMk cId="1918519848" sldId="2147483611"/>
            <ac:spMk id="277" creationId="{6A9DE9AC-9861-C980-14DA-9D3523F7E5D4}"/>
          </ac:spMkLst>
        </pc:spChg>
        <pc:spChg chg="mod">
          <ac:chgData name="Heinrich, Erik" userId="9d6b26bc-55d6-48ff-b9bb-b1ddf0151725" providerId="ADAL" clId="{AE694019-EEB4-4507-B065-1A8FA0AA931F}" dt="2024-09-17T12:47:59.679" v="646"/>
          <ac:spMkLst>
            <pc:docMk/>
            <pc:sldMk cId="1918519848" sldId="2147483611"/>
            <ac:spMk id="278" creationId="{8A4B64B7-B360-E153-2C7E-5BAA62E1C72B}"/>
          </ac:spMkLst>
        </pc:spChg>
        <pc:spChg chg="mod">
          <ac:chgData name="Heinrich, Erik" userId="9d6b26bc-55d6-48ff-b9bb-b1ddf0151725" providerId="ADAL" clId="{AE694019-EEB4-4507-B065-1A8FA0AA931F}" dt="2024-09-17T12:47:59.679" v="646"/>
          <ac:spMkLst>
            <pc:docMk/>
            <pc:sldMk cId="1918519848" sldId="2147483611"/>
            <ac:spMk id="279" creationId="{7347BFE3-5D35-375B-11DF-844DED4A344E}"/>
          </ac:spMkLst>
        </pc:spChg>
        <pc:spChg chg="mod">
          <ac:chgData name="Heinrich, Erik" userId="9d6b26bc-55d6-48ff-b9bb-b1ddf0151725" providerId="ADAL" clId="{AE694019-EEB4-4507-B065-1A8FA0AA931F}" dt="2024-09-17T12:47:59.679" v="646"/>
          <ac:spMkLst>
            <pc:docMk/>
            <pc:sldMk cId="1918519848" sldId="2147483611"/>
            <ac:spMk id="280" creationId="{34CA4FD8-E2E3-FB46-CD72-C67CD186A109}"/>
          </ac:spMkLst>
        </pc:spChg>
        <pc:spChg chg="mod">
          <ac:chgData name="Heinrich, Erik" userId="9d6b26bc-55d6-48ff-b9bb-b1ddf0151725" providerId="ADAL" clId="{AE694019-EEB4-4507-B065-1A8FA0AA931F}" dt="2024-09-17T12:47:59.679" v="646"/>
          <ac:spMkLst>
            <pc:docMk/>
            <pc:sldMk cId="1918519848" sldId="2147483611"/>
            <ac:spMk id="281" creationId="{CE8C1C06-1142-E129-40E1-FC6FE3F3641F}"/>
          </ac:spMkLst>
        </pc:spChg>
        <pc:spChg chg="mod">
          <ac:chgData name="Heinrich, Erik" userId="9d6b26bc-55d6-48ff-b9bb-b1ddf0151725" providerId="ADAL" clId="{AE694019-EEB4-4507-B065-1A8FA0AA931F}" dt="2024-09-17T12:47:59.679" v="646"/>
          <ac:spMkLst>
            <pc:docMk/>
            <pc:sldMk cId="1918519848" sldId="2147483611"/>
            <ac:spMk id="282" creationId="{71E83EE9-479F-A197-5C7D-0803B6E72D62}"/>
          </ac:spMkLst>
        </pc:spChg>
        <pc:spChg chg="mod">
          <ac:chgData name="Heinrich, Erik" userId="9d6b26bc-55d6-48ff-b9bb-b1ddf0151725" providerId="ADAL" clId="{AE694019-EEB4-4507-B065-1A8FA0AA931F}" dt="2024-09-17T12:47:59.679" v="646"/>
          <ac:spMkLst>
            <pc:docMk/>
            <pc:sldMk cId="1918519848" sldId="2147483611"/>
            <ac:spMk id="283" creationId="{12A03F28-A830-6264-8017-542E855B63E2}"/>
          </ac:spMkLst>
        </pc:spChg>
        <pc:spChg chg="mod">
          <ac:chgData name="Heinrich, Erik" userId="9d6b26bc-55d6-48ff-b9bb-b1ddf0151725" providerId="ADAL" clId="{AE694019-EEB4-4507-B065-1A8FA0AA931F}" dt="2024-09-17T12:47:59.679" v="646"/>
          <ac:spMkLst>
            <pc:docMk/>
            <pc:sldMk cId="1918519848" sldId="2147483611"/>
            <ac:spMk id="284" creationId="{1F362CD3-1B9C-10E9-BC84-E8EA12C804A4}"/>
          </ac:spMkLst>
        </pc:spChg>
        <pc:spChg chg="mod">
          <ac:chgData name="Heinrich, Erik" userId="9d6b26bc-55d6-48ff-b9bb-b1ddf0151725" providerId="ADAL" clId="{AE694019-EEB4-4507-B065-1A8FA0AA931F}" dt="2024-09-17T12:47:59.679" v="646"/>
          <ac:spMkLst>
            <pc:docMk/>
            <pc:sldMk cId="1918519848" sldId="2147483611"/>
            <ac:spMk id="285" creationId="{CA08B721-FD48-56D3-EA34-C383B042A252}"/>
          </ac:spMkLst>
        </pc:spChg>
        <pc:spChg chg="mod">
          <ac:chgData name="Heinrich, Erik" userId="9d6b26bc-55d6-48ff-b9bb-b1ddf0151725" providerId="ADAL" clId="{AE694019-EEB4-4507-B065-1A8FA0AA931F}" dt="2024-09-17T12:47:59.679" v="646"/>
          <ac:spMkLst>
            <pc:docMk/>
            <pc:sldMk cId="1918519848" sldId="2147483611"/>
            <ac:spMk id="286" creationId="{58404814-01AA-C31A-A1E3-A9FB6DDF178D}"/>
          </ac:spMkLst>
        </pc:spChg>
        <pc:spChg chg="mod">
          <ac:chgData name="Heinrich, Erik" userId="9d6b26bc-55d6-48ff-b9bb-b1ddf0151725" providerId="ADAL" clId="{AE694019-EEB4-4507-B065-1A8FA0AA931F}" dt="2024-09-17T12:47:59.679" v="646"/>
          <ac:spMkLst>
            <pc:docMk/>
            <pc:sldMk cId="1918519848" sldId="2147483611"/>
            <ac:spMk id="287" creationId="{059C439D-E899-2C8C-25FB-F6C6ECABC594}"/>
          </ac:spMkLst>
        </pc:spChg>
        <pc:spChg chg="mod">
          <ac:chgData name="Heinrich, Erik" userId="9d6b26bc-55d6-48ff-b9bb-b1ddf0151725" providerId="ADAL" clId="{AE694019-EEB4-4507-B065-1A8FA0AA931F}" dt="2024-09-17T12:47:59.679" v="646"/>
          <ac:spMkLst>
            <pc:docMk/>
            <pc:sldMk cId="1918519848" sldId="2147483611"/>
            <ac:spMk id="288" creationId="{4E3D77AB-D87F-5601-3D2C-DEBEE5F04F61}"/>
          </ac:spMkLst>
        </pc:spChg>
        <pc:spChg chg="mod">
          <ac:chgData name="Heinrich, Erik" userId="9d6b26bc-55d6-48ff-b9bb-b1ddf0151725" providerId="ADAL" clId="{AE694019-EEB4-4507-B065-1A8FA0AA931F}" dt="2024-09-17T12:47:59.679" v="646"/>
          <ac:spMkLst>
            <pc:docMk/>
            <pc:sldMk cId="1918519848" sldId="2147483611"/>
            <ac:spMk id="289" creationId="{64CBF5E3-2122-BD17-B2EB-E2C4CA7EF590}"/>
          </ac:spMkLst>
        </pc:spChg>
        <pc:spChg chg="mod">
          <ac:chgData name="Heinrich, Erik" userId="9d6b26bc-55d6-48ff-b9bb-b1ddf0151725" providerId="ADAL" clId="{AE694019-EEB4-4507-B065-1A8FA0AA931F}" dt="2024-09-17T12:47:59.679" v="646"/>
          <ac:spMkLst>
            <pc:docMk/>
            <pc:sldMk cId="1918519848" sldId="2147483611"/>
            <ac:spMk id="290" creationId="{DB00DA53-7DC5-7376-CE0F-27CF355F5C2C}"/>
          </ac:spMkLst>
        </pc:spChg>
        <pc:spChg chg="mod">
          <ac:chgData name="Heinrich, Erik" userId="9d6b26bc-55d6-48ff-b9bb-b1ddf0151725" providerId="ADAL" clId="{AE694019-EEB4-4507-B065-1A8FA0AA931F}" dt="2024-09-17T12:47:59.679" v="646"/>
          <ac:spMkLst>
            <pc:docMk/>
            <pc:sldMk cId="1918519848" sldId="2147483611"/>
            <ac:spMk id="291" creationId="{6F1CCC25-4267-0099-E831-5217E9BF80BA}"/>
          </ac:spMkLst>
        </pc:spChg>
        <pc:spChg chg="mod">
          <ac:chgData name="Heinrich, Erik" userId="9d6b26bc-55d6-48ff-b9bb-b1ddf0151725" providerId="ADAL" clId="{AE694019-EEB4-4507-B065-1A8FA0AA931F}" dt="2024-09-17T12:47:59.679" v="646"/>
          <ac:spMkLst>
            <pc:docMk/>
            <pc:sldMk cId="1918519848" sldId="2147483611"/>
            <ac:spMk id="292" creationId="{F3FFA03E-C3DD-194F-21DD-2A2E71DA01B8}"/>
          </ac:spMkLst>
        </pc:spChg>
        <pc:spChg chg="mod">
          <ac:chgData name="Heinrich, Erik" userId="9d6b26bc-55d6-48ff-b9bb-b1ddf0151725" providerId="ADAL" clId="{AE694019-EEB4-4507-B065-1A8FA0AA931F}" dt="2024-09-17T12:47:59.679" v="646"/>
          <ac:spMkLst>
            <pc:docMk/>
            <pc:sldMk cId="1918519848" sldId="2147483611"/>
            <ac:spMk id="293" creationId="{8B04D79F-3EA6-50B7-39F6-E7D711A1F49C}"/>
          </ac:spMkLst>
        </pc:spChg>
        <pc:spChg chg="mod">
          <ac:chgData name="Heinrich, Erik" userId="9d6b26bc-55d6-48ff-b9bb-b1ddf0151725" providerId="ADAL" clId="{AE694019-EEB4-4507-B065-1A8FA0AA931F}" dt="2024-09-17T12:47:59.679" v="646"/>
          <ac:spMkLst>
            <pc:docMk/>
            <pc:sldMk cId="1918519848" sldId="2147483611"/>
            <ac:spMk id="294" creationId="{119165D6-BAA5-1920-4621-F87E82151645}"/>
          </ac:spMkLst>
        </pc:spChg>
        <pc:spChg chg="mod">
          <ac:chgData name="Heinrich, Erik" userId="9d6b26bc-55d6-48ff-b9bb-b1ddf0151725" providerId="ADAL" clId="{AE694019-EEB4-4507-B065-1A8FA0AA931F}" dt="2024-09-17T12:47:59.679" v="646"/>
          <ac:spMkLst>
            <pc:docMk/>
            <pc:sldMk cId="1918519848" sldId="2147483611"/>
            <ac:spMk id="295" creationId="{AD1C7A50-1F72-14C9-5E96-AAFE7EC87A45}"/>
          </ac:spMkLst>
        </pc:spChg>
        <pc:spChg chg="mod">
          <ac:chgData name="Heinrich, Erik" userId="9d6b26bc-55d6-48ff-b9bb-b1ddf0151725" providerId="ADAL" clId="{AE694019-EEB4-4507-B065-1A8FA0AA931F}" dt="2024-09-17T12:47:59.679" v="646"/>
          <ac:spMkLst>
            <pc:docMk/>
            <pc:sldMk cId="1918519848" sldId="2147483611"/>
            <ac:spMk id="296" creationId="{DD7C18FD-D445-BD90-D494-B988542A88E7}"/>
          </ac:spMkLst>
        </pc:spChg>
        <pc:spChg chg="mod">
          <ac:chgData name="Heinrich, Erik" userId="9d6b26bc-55d6-48ff-b9bb-b1ddf0151725" providerId="ADAL" clId="{AE694019-EEB4-4507-B065-1A8FA0AA931F}" dt="2024-09-17T12:47:59.679" v="646"/>
          <ac:spMkLst>
            <pc:docMk/>
            <pc:sldMk cId="1918519848" sldId="2147483611"/>
            <ac:spMk id="297" creationId="{81175152-83D2-5AB4-4F97-6E1B024BFC37}"/>
          </ac:spMkLst>
        </pc:spChg>
        <pc:spChg chg="mod">
          <ac:chgData name="Heinrich, Erik" userId="9d6b26bc-55d6-48ff-b9bb-b1ddf0151725" providerId="ADAL" clId="{AE694019-EEB4-4507-B065-1A8FA0AA931F}" dt="2024-09-17T12:47:59.679" v="646"/>
          <ac:spMkLst>
            <pc:docMk/>
            <pc:sldMk cId="1918519848" sldId="2147483611"/>
            <ac:spMk id="298" creationId="{0C5A8646-1320-B2D7-8311-74F09F3583E4}"/>
          </ac:spMkLst>
        </pc:spChg>
        <pc:spChg chg="mod">
          <ac:chgData name="Heinrich, Erik" userId="9d6b26bc-55d6-48ff-b9bb-b1ddf0151725" providerId="ADAL" clId="{AE694019-EEB4-4507-B065-1A8FA0AA931F}" dt="2024-09-17T12:47:59.679" v="646"/>
          <ac:spMkLst>
            <pc:docMk/>
            <pc:sldMk cId="1918519848" sldId="2147483611"/>
            <ac:spMk id="299" creationId="{8B58024C-D38E-D020-0762-165571910AFE}"/>
          </ac:spMkLst>
        </pc:spChg>
        <pc:spChg chg="mod">
          <ac:chgData name="Heinrich, Erik" userId="9d6b26bc-55d6-48ff-b9bb-b1ddf0151725" providerId="ADAL" clId="{AE694019-EEB4-4507-B065-1A8FA0AA931F}" dt="2024-09-17T12:47:59.679" v="646"/>
          <ac:spMkLst>
            <pc:docMk/>
            <pc:sldMk cId="1918519848" sldId="2147483611"/>
            <ac:spMk id="300" creationId="{2ECB517B-19E1-5A19-A765-C753547616DA}"/>
          </ac:spMkLst>
        </pc:spChg>
        <pc:spChg chg="mod">
          <ac:chgData name="Heinrich, Erik" userId="9d6b26bc-55d6-48ff-b9bb-b1ddf0151725" providerId="ADAL" clId="{AE694019-EEB4-4507-B065-1A8FA0AA931F}" dt="2024-09-17T12:47:59.679" v="646"/>
          <ac:spMkLst>
            <pc:docMk/>
            <pc:sldMk cId="1918519848" sldId="2147483611"/>
            <ac:spMk id="301" creationId="{1B55D890-73D3-543D-CFBB-09750FAA933F}"/>
          </ac:spMkLst>
        </pc:spChg>
        <pc:spChg chg="mod">
          <ac:chgData name="Heinrich, Erik" userId="9d6b26bc-55d6-48ff-b9bb-b1ddf0151725" providerId="ADAL" clId="{AE694019-EEB4-4507-B065-1A8FA0AA931F}" dt="2024-09-17T12:47:59.679" v="646"/>
          <ac:spMkLst>
            <pc:docMk/>
            <pc:sldMk cId="1918519848" sldId="2147483611"/>
            <ac:spMk id="302" creationId="{015B2CD1-943F-F130-3A4E-E5401532723F}"/>
          </ac:spMkLst>
        </pc:spChg>
        <pc:spChg chg="mod">
          <ac:chgData name="Heinrich, Erik" userId="9d6b26bc-55d6-48ff-b9bb-b1ddf0151725" providerId="ADAL" clId="{AE694019-EEB4-4507-B065-1A8FA0AA931F}" dt="2024-09-17T12:47:59.679" v="646"/>
          <ac:spMkLst>
            <pc:docMk/>
            <pc:sldMk cId="1918519848" sldId="2147483611"/>
            <ac:spMk id="303" creationId="{F0E24D19-E95F-1E3E-BFC0-E14CB9BEBDA4}"/>
          </ac:spMkLst>
        </pc:spChg>
        <pc:spChg chg="mod">
          <ac:chgData name="Heinrich, Erik" userId="9d6b26bc-55d6-48ff-b9bb-b1ddf0151725" providerId="ADAL" clId="{AE694019-EEB4-4507-B065-1A8FA0AA931F}" dt="2024-09-17T12:47:59.679" v="646"/>
          <ac:spMkLst>
            <pc:docMk/>
            <pc:sldMk cId="1918519848" sldId="2147483611"/>
            <ac:spMk id="304" creationId="{61DB084F-0F42-30B5-A34B-796A5D1B4623}"/>
          </ac:spMkLst>
        </pc:spChg>
        <pc:spChg chg="mod">
          <ac:chgData name="Heinrich, Erik" userId="9d6b26bc-55d6-48ff-b9bb-b1ddf0151725" providerId="ADAL" clId="{AE694019-EEB4-4507-B065-1A8FA0AA931F}" dt="2024-09-17T12:47:59.679" v="646"/>
          <ac:spMkLst>
            <pc:docMk/>
            <pc:sldMk cId="1918519848" sldId="2147483611"/>
            <ac:spMk id="305" creationId="{63369695-0C6B-D5A6-96F1-8E6C6BAF3952}"/>
          </ac:spMkLst>
        </pc:spChg>
        <pc:spChg chg="mod">
          <ac:chgData name="Heinrich, Erik" userId="9d6b26bc-55d6-48ff-b9bb-b1ddf0151725" providerId="ADAL" clId="{AE694019-EEB4-4507-B065-1A8FA0AA931F}" dt="2024-09-17T12:47:59.679" v="646"/>
          <ac:spMkLst>
            <pc:docMk/>
            <pc:sldMk cId="1918519848" sldId="2147483611"/>
            <ac:spMk id="306" creationId="{78CF0E15-041E-BEE3-6467-7B3255C8D0E6}"/>
          </ac:spMkLst>
        </pc:spChg>
        <pc:spChg chg="mod">
          <ac:chgData name="Heinrich, Erik" userId="9d6b26bc-55d6-48ff-b9bb-b1ddf0151725" providerId="ADAL" clId="{AE694019-EEB4-4507-B065-1A8FA0AA931F}" dt="2024-09-17T12:47:59.679" v="646"/>
          <ac:spMkLst>
            <pc:docMk/>
            <pc:sldMk cId="1918519848" sldId="2147483611"/>
            <ac:spMk id="307" creationId="{8F35044A-DB67-5986-4A47-D83669E70414}"/>
          </ac:spMkLst>
        </pc:spChg>
        <pc:spChg chg="mod">
          <ac:chgData name="Heinrich, Erik" userId="9d6b26bc-55d6-48ff-b9bb-b1ddf0151725" providerId="ADAL" clId="{AE694019-EEB4-4507-B065-1A8FA0AA931F}" dt="2024-09-17T12:47:59.679" v="646"/>
          <ac:spMkLst>
            <pc:docMk/>
            <pc:sldMk cId="1918519848" sldId="2147483611"/>
            <ac:spMk id="308" creationId="{2B92811A-C45A-97CD-8D34-1416A89D128D}"/>
          </ac:spMkLst>
        </pc:spChg>
        <pc:spChg chg="mod">
          <ac:chgData name="Heinrich, Erik" userId="9d6b26bc-55d6-48ff-b9bb-b1ddf0151725" providerId="ADAL" clId="{AE694019-EEB4-4507-B065-1A8FA0AA931F}" dt="2024-09-17T12:47:59.679" v="646"/>
          <ac:spMkLst>
            <pc:docMk/>
            <pc:sldMk cId="1918519848" sldId="2147483611"/>
            <ac:spMk id="309" creationId="{84EACCEA-A0E7-9E2B-8479-850B217AE5EB}"/>
          </ac:spMkLst>
        </pc:spChg>
        <pc:spChg chg="mod">
          <ac:chgData name="Heinrich, Erik" userId="9d6b26bc-55d6-48ff-b9bb-b1ddf0151725" providerId="ADAL" clId="{AE694019-EEB4-4507-B065-1A8FA0AA931F}" dt="2024-09-17T12:47:59.679" v="646"/>
          <ac:spMkLst>
            <pc:docMk/>
            <pc:sldMk cId="1918519848" sldId="2147483611"/>
            <ac:spMk id="310" creationId="{D8892F16-7371-267D-D523-8A680A051559}"/>
          </ac:spMkLst>
        </pc:spChg>
        <pc:spChg chg="mod">
          <ac:chgData name="Heinrich, Erik" userId="9d6b26bc-55d6-48ff-b9bb-b1ddf0151725" providerId="ADAL" clId="{AE694019-EEB4-4507-B065-1A8FA0AA931F}" dt="2024-09-17T12:47:59.679" v="646"/>
          <ac:spMkLst>
            <pc:docMk/>
            <pc:sldMk cId="1918519848" sldId="2147483611"/>
            <ac:spMk id="311" creationId="{19DF3851-3B1C-5C04-B533-1BF449A59022}"/>
          </ac:spMkLst>
        </pc:spChg>
        <pc:spChg chg="mod">
          <ac:chgData name="Heinrich, Erik" userId="9d6b26bc-55d6-48ff-b9bb-b1ddf0151725" providerId="ADAL" clId="{AE694019-EEB4-4507-B065-1A8FA0AA931F}" dt="2024-09-17T12:47:59.679" v="646"/>
          <ac:spMkLst>
            <pc:docMk/>
            <pc:sldMk cId="1918519848" sldId="2147483611"/>
            <ac:spMk id="312" creationId="{FDF64D03-F078-7B6A-CB5B-73CEFA72121E}"/>
          </ac:spMkLst>
        </pc:spChg>
        <pc:spChg chg="mod">
          <ac:chgData name="Heinrich, Erik" userId="9d6b26bc-55d6-48ff-b9bb-b1ddf0151725" providerId="ADAL" clId="{AE694019-EEB4-4507-B065-1A8FA0AA931F}" dt="2024-09-17T12:47:59.679" v="646"/>
          <ac:spMkLst>
            <pc:docMk/>
            <pc:sldMk cId="1918519848" sldId="2147483611"/>
            <ac:spMk id="313" creationId="{98CB47D4-765F-A0C0-9C8B-520CA2D3A822}"/>
          </ac:spMkLst>
        </pc:spChg>
        <pc:spChg chg="mod">
          <ac:chgData name="Heinrich, Erik" userId="9d6b26bc-55d6-48ff-b9bb-b1ddf0151725" providerId="ADAL" clId="{AE694019-EEB4-4507-B065-1A8FA0AA931F}" dt="2024-09-17T12:47:59.679" v="646"/>
          <ac:spMkLst>
            <pc:docMk/>
            <pc:sldMk cId="1918519848" sldId="2147483611"/>
            <ac:spMk id="314" creationId="{3C08444F-128F-0B43-9D20-8C721EA67C23}"/>
          </ac:spMkLst>
        </pc:spChg>
        <pc:spChg chg="mod">
          <ac:chgData name="Heinrich, Erik" userId="9d6b26bc-55d6-48ff-b9bb-b1ddf0151725" providerId="ADAL" clId="{AE694019-EEB4-4507-B065-1A8FA0AA931F}" dt="2024-09-17T12:47:59.679" v="646"/>
          <ac:spMkLst>
            <pc:docMk/>
            <pc:sldMk cId="1918519848" sldId="2147483611"/>
            <ac:spMk id="315" creationId="{0FDC01CC-2978-E0F9-261D-9AA432D3DCE7}"/>
          </ac:spMkLst>
        </pc:spChg>
        <pc:spChg chg="mod">
          <ac:chgData name="Heinrich, Erik" userId="9d6b26bc-55d6-48ff-b9bb-b1ddf0151725" providerId="ADAL" clId="{AE694019-EEB4-4507-B065-1A8FA0AA931F}" dt="2024-09-17T12:47:59.679" v="646"/>
          <ac:spMkLst>
            <pc:docMk/>
            <pc:sldMk cId="1918519848" sldId="2147483611"/>
            <ac:spMk id="316" creationId="{48419D02-27E6-A960-4518-A10AD9707215}"/>
          </ac:spMkLst>
        </pc:spChg>
        <pc:spChg chg="mod">
          <ac:chgData name="Heinrich, Erik" userId="9d6b26bc-55d6-48ff-b9bb-b1ddf0151725" providerId="ADAL" clId="{AE694019-EEB4-4507-B065-1A8FA0AA931F}" dt="2024-09-17T12:47:59.679" v="646"/>
          <ac:spMkLst>
            <pc:docMk/>
            <pc:sldMk cId="1918519848" sldId="2147483611"/>
            <ac:spMk id="317" creationId="{98DE84F4-3BDE-11B1-B00F-F622941C1784}"/>
          </ac:spMkLst>
        </pc:spChg>
        <pc:spChg chg="mod">
          <ac:chgData name="Heinrich, Erik" userId="9d6b26bc-55d6-48ff-b9bb-b1ddf0151725" providerId="ADAL" clId="{AE694019-EEB4-4507-B065-1A8FA0AA931F}" dt="2024-09-17T12:47:59.679" v="646"/>
          <ac:spMkLst>
            <pc:docMk/>
            <pc:sldMk cId="1918519848" sldId="2147483611"/>
            <ac:spMk id="318" creationId="{89A503C4-701E-6E4A-D6AD-8DA1621E52ED}"/>
          </ac:spMkLst>
        </pc:spChg>
        <pc:spChg chg="mod">
          <ac:chgData name="Heinrich, Erik" userId="9d6b26bc-55d6-48ff-b9bb-b1ddf0151725" providerId="ADAL" clId="{AE694019-EEB4-4507-B065-1A8FA0AA931F}" dt="2024-09-17T12:47:59.679" v="646"/>
          <ac:spMkLst>
            <pc:docMk/>
            <pc:sldMk cId="1918519848" sldId="2147483611"/>
            <ac:spMk id="319" creationId="{734A5D6A-9D50-9EDA-1778-E5A15CE91C6C}"/>
          </ac:spMkLst>
        </pc:spChg>
        <pc:spChg chg="mod">
          <ac:chgData name="Heinrich, Erik" userId="9d6b26bc-55d6-48ff-b9bb-b1ddf0151725" providerId="ADAL" clId="{AE694019-EEB4-4507-B065-1A8FA0AA931F}" dt="2024-09-17T12:47:59.679" v="646"/>
          <ac:spMkLst>
            <pc:docMk/>
            <pc:sldMk cId="1918519848" sldId="2147483611"/>
            <ac:spMk id="320" creationId="{0E906153-EED2-096C-0BD5-8A26962DD996}"/>
          </ac:spMkLst>
        </pc:spChg>
        <pc:spChg chg="mod">
          <ac:chgData name="Heinrich, Erik" userId="9d6b26bc-55d6-48ff-b9bb-b1ddf0151725" providerId="ADAL" clId="{AE694019-EEB4-4507-B065-1A8FA0AA931F}" dt="2024-09-17T12:47:59.679" v="646"/>
          <ac:spMkLst>
            <pc:docMk/>
            <pc:sldMk cId="1918519848" sldId="2147483611"/>
            <ac:spMk id="321" creationId="{208F5CC9-F934-8F5B-2ACE-2F4FBA24DF83}"/>
          </ac:spMkLst>
        </pc:spChg>
        <pc:spChg chg="mod">
          <ac:chgData name="Heinrich, Erik" userId="9d6b26bc-55d6-48ff-b9bb-b1ddf0151725" providerId="ADAL" clId="{AE694019-EEB4-4507-B065-1A8FA0AA931F}" dt="2024-09-17T12:47:59.679" v="646"/>
          <ac:spMkLst>
            <pc:docMk/>
            <pc:sldMk cId="1918519848" sldId="2147483611"/>
            <ac:spMk id="322" creationId="{C0E9CAA5-8A73-F7D2-112C-6E9FD5CC310A}"/>
          </ac:spMkLst>
        </pc:spChg>
        <pc:spChg chg="mod">
          <ac:chgData name="Heinrich, Erik" userId="9d6b26bc-55d6-48ff-b9bb-b1ddf0151725" providerId="ADAL" clId="{AE694019-EEB4-4507-B065-1A8FA0AA931F}" dt="2024-09-17T12:47:59.679" v="646"/>
          <ac:spMkLst>
            <pc:docMk/>
            <pc:sldMk cId="1918519848" sldId="2147483611"/>
            <ac:spMk id="323" creationId="{C6AEDBA2-E076-6BE3-3A72-4CB357291575}"/>
          </ac:spMkLst>
        </pc:spChg>
        <pc:spChg chg="mod">
          <ac:chgData name="Heinrich, Erik" userId="9d6b26bc-55d6-48ff-b9bb-b1ddf0151725" providerId="ADAL" clId="{AE694019-EEB4-4507-B065-1A8FA0AA931F}" dt="2024-09-17T12:47:59.679" v="646"/>
          <ac:spMkLst>
            <pc:docMk/>
            <pc:sldMk cId="1918519848" sldId="2147483611"/>
            <ac:spMk id="324" creationId="{2F28D01A-C944-5D81-7935-6994F9297D5C}"/>
          </ac:spMkLst>
        </pc:spChg>
        <pc:spChg chg="mod">
          <ac:chgData name="Heinrich, Erik" userId="9d6b26bc-55d6-48ff-b9bb-b1ddf0151725" providerId="ADAL" clId="{AE694019-EEB4-4507-B065-1A8FA0AA931F}" dt="2024-09-17T12:47:59.679" v="646"/>
          <ac:spMkLst>
            <pc:docMk/>
            <pc:sldMk cId="1918519848" sldId="2147483611"/>
            <ac:spMk id="325" creationId="{C6F02231-8017-20C1-1CF7-E52671E8FC38}"/>
          </ac:spMkLst>
        </pc:spChg>
        <pc:spChg chg="mod">
          <ac:chgData name="Heinrich, Erik" userId="9d6b26bc-55d6-48ff-b9bb-b1ddf0151725" providerId="ADAL" clId="{AE694019-EEB4-4507-B065-1A8FA0AA931F}" dt="2024-09-17T12:47:59.679" v="646"/>
          <ac:spMkLst>
            <pc:docMk/>
            <pc:sldMk cId="1918519848" sldId="2147483611"/>
            <ac:spMk id="326" creationId="{52DCF7B4-223C-B148-870B-E9EDE024409E}"/>
          </ac:spMkLst>
        </pc:spChg>
        <pc:spChg chg="mod">
          <ac:chgData name="Heinrich, Erik" userId="9d6b26bc-55d6-48ff-b9bb-b1ddf0151725" providerId="ADAL" clId="{AE694019-EEB4-4507-B065-1A8FA0AA931F}" dt="2024-09-17T12:47:59.679" v="646"/>
          <ac:spMkLst>
            <pc:docMk/>
            <pc:sldMk cId="1918519848" sldId="2147483611"/>
            <ac:spMk id="327" creationId="{8D4B4B99-EF89-4CBA-4B4C-022783318E1C}"/>
          </ac:spMkLst>
        </pc:spChg>
        <pc:spChg chg="mod">
          <ac:chgData name="Heinrich, Erik" userId="9d6b26bc-55d6-48ff-b9bb-b1ddf0151725" providerId="ADAL" clId="{AE694019-EEB4-4507-B065-1A8FA0AA931F}" dt="2024-09-17T12:47:59.679" v="646"/>
          <ac:spMkLst>
            <pc:docMk/>
            <pc:sldMk cId="1918519848" sldId="2147483611"/>
            <ac:spMk id="328" creationId="{ABE12ABE-DA3D-C9CC-7910-33441B40F889}"/>
          </ac:spMkLst>
        </pc:spChg>
        <pc:spChg chg="mod">
          <ac:chgData name="Heinrich, Erik" userId="9d6b26bc-55d6-48ff-b9bb-b1ddf0151725" providerId="ADAL" clId="{AE694019-EEB4-4507-B065-1A8FA0AA931F}" dt="2024-09-17T12:47:59.679" v="646"/>
          <ac:spMkLst>
            <pc:docMk/>
            <pc:sldMk cId="1918519848" sldId="2147483611"/>
            <ac:spMk id="329" creationId="{D14B7206-B033-D4B2-1DFC-3273FBF348FC}"/>
          </ac:spMkLst>
        </pc:spChg>
        <pc:spChg chg="mod">
          <ac:chgData name="Heinrich, Erik" userId="9d6b26bc-55d6-48ff-b9bb-b1ddf0151725" providerId="ADAL" clId="{AE694019-EEB4-4507-B065-1A8FA0AA931F}" dt="2024-09-17T12:47:59.679" v="646"/>
          <ac:spMkLst>
            <pc:docMk/>
            <pc:sldMk cId="1918519848" sldId="2147483611"/>
            <ac:spMk id="330" creationId="{7E057D22-6BEE-6DFC-FF46-D0547AB8A9A7}"/>
          </ac:spMkLst>
        </pc:spChg>
        <pc:spChg chg="mod">
          <ac:chgData name="Heinrich, Erik" userId="9d6b26bc-55d6-48ff-b9bb-b1ddf0151725" providerId="ADAL" clId="{AE694019-EEB4-4507-B065-1A8FA0AA931F}" dt="2024-09-17T12:47:59.679" v="646"/>
          <ac:spMkLst>
            <pc:docMk/>
            <pc:sldMk cId="1918519848" sldId="2147483611"/>
            <ac:spMk id="331" creationId="{05E9565D-2788-C169-3B4E-780B2429F8D0}"/>
          </ac:spMkLst>
        </pc:spChg>
        <pc:spChg chg="mod">
          <ac:chgData name="Heinrich, Erik" userId="9d6b26bc-55d6-48ff-b9bb-b1ddf0151725" providerId="ADAL" clId="{AE694019-EEB4-4507-B065-1A8FA0AA931F}" dt="2024-09-17T12:47:59.679" v="646"/>
          <ac:spMkLst>
            <pc:docMk/>
            <pc:sldMk cId="1918519848" sldId="2147483611"/>
            <ac:spMk id="332" creationId="{B5F18179-471C-0C48-2D0D-22C8C9ACB1C6}"/>
          </ac:spMkLst>
        </pc:spChg>
        <pc:spChg chg="mod">
          <ac:chgData name="Heinrich, Erik" userId="9d6b26bc-55d6-48ff-b9bb-b1ddf0151725" providerId="ADAL" clId="{AE694019-EEB4-4507-B065-1A8FA0AA931F}" dt="2024-09-17T12:47:59.679" v="646"/>
          <ac:spMkLst>
            <pc:docMk/>
            <pc:sldMk cId="1918519848" sldId="2147483611"/>
            <ac:spMk id="333" creationId="{0CC685CF-112C-B3FF-7EC3-A773C9A590B9}"/>
          </ac:spMkLst>
        </pc:spChg>
        <pc:spChg chg="mod">
          <ac:chgData name="Heinrich, Erik" userId="9d6b26bc-55d6-48ff-b9bb-b1ddf0151725" providerId="ADAL" clId="{AE694019-EEB4-4507-B065-1A8FA0AA931F}" dt="2024-09-17T12:47:59.679" v="646"/>
          <ac:spMkLst>
            <pc:docMk/>
            <pc:sldMk cId="1918519848" sldId="2147483611"/>
            <ac:spMk id="334" creationId="{0547A394-CC75-75E1-1F56-39FE7F9FDC7F}"/>
          </ac:spMkLst>
        </pc:spChg>
        <pc:spChg chg="mod">
          <ac:chgData name="Heinrich, Erik" userId="9d6b26bc-55d6-48ff-b9bb-b1ddf0151725" providerId="ADAL" clId="{AE694019-EEB4-4507-B065-1A8FA0AA931F}" dt="2024-09-17T12:47:59.679" v="646"/>
          <ac:spMkLst>
            <pc:docMk/>
            <pc:sldMk cId="1918519848" sldId="2147483611"/>
            <ac:spMk id="335" creationId="{C5E48E7F-27B7-E804-9D62-E8CD0302EEA5}"/>
          </ac:spMkLst>
        </pc:spChg>
        <pc:spChg chg="mod">
          <ac:chgData name="Heinrich, Erik" userId="9d6b26bc-55d6-48ff-b9bb-b1ddf0151725" providerId="ADAL" clId="{AE694019-EEB4-4507-B065-1A8FA0AA931F}" dt="2024-09-17T12:47:59.679" v="646"/>
          <ac:spMkLst>
            <pc:docMk/>
            <pc:sldMk cId="1918519848" sldId="2147483611"/>
            <ac:spMk id="336" creationId="{5375AA30-04A5-44A9-2C79-5B22D09FF713}"/>
          </ac:spMkLst>
        </pc:spChg>
        <pc:spChg chg="mod">
          <ac:chgData name="Heinrich, Erik" userId="9d6b26bc-55d6-48ff-b9bb-b1ddf0151725" providerId="ADAL" clId="{AE694019-EEB4-4507-B065-1A8FA0AA931F}" dt="2024-09-17T12:47:59.679" v="646"/>
          <ac:spMkLst>
            <pc:docMk/>
            <pc:sldMk cId="1918519848" sldId="2147483611"/>
            <ac:spMk id="337" creationId="{BF93CECB-F34F-7398-4DF3-898AB12B926B}"/>
          </ac:spMkLst>
        </pc:spChg>
        <pc:spChg chg="mod">
          <ac:chgData name="Heinrich, Erik" userId="9d6b26bc-55d6-48ff-b9bb-b1ddf0151725" providerId="ADAL" clId="{AE694019-EEB4-4507-B065-1A8FA0AA931F}" dt="2024-09-17T12:47:59.679" v="646"/>
          <ac:spMkLst>
            <pc:docMk/>
            <pc:sldMk cId="1918519848" sldId="2147483611"/>
            <ac:spMk id="338" creationId="{7BE917E8-5932-6CAC-8A9B-E802CA6BFFC4}"/>
          </ac:spMkLst>
        </pc:spChg>
        <pc:spChg chg="mod">
          <ac:chgData name="Heinrich, Erik" userId="9d6b26bc-55d6-48ff-b9bb-b1ddf0151725" providerId="ADAL" clId="{AE694019-EEB4-4507-B065-1A8FA0AA931F}" dt="2024-09-17T12:47:59.679" v="646"/>
          <ac:spMkLst>
            <pc:docMk/>
            <pc:sldMk cId="1918519848" sldId="2147483611"/>
            <ac:spMk id="339" creationId="{01AD0718-87B6-804C-82A4-F62D3720E839}"/>
          </ac:spMkLst>
        </pc:spChg>
        <pc:spChg chg="mod">
          <ac:chgData name="Heinrich, Erik" userId="9d6b26bc-55d6-48ff-b9bb-b1ddf0151725" providerId="ADAL" clId="{AE694019-EEB4-4507-B065-1A8FA0AA931F}" dt="2024-09-17T12:47:59.679" v="646"/>
          <ac:spMkLst>
            <pc:docMk/>
            <pc:sldMk cId="1918519848" sldId="2147483611"/>
            <ac:spMk id="340" creationId="{2DE8C103-47FC-49B8-9955-8A1DD0C4C1E9}"/>
          </ac:spMkLst>
        </pc:spChg>
        <pc:spChg chg="mod">
          <ac:chgData name="Heinrich, Erik" userId="9d6b26bc-55d6-48ff-b9bb-b1ddf0151725" providerId="ADAL" clId="{AE694019-EEB4-4507-B065-1A8FA0AA931F}" dt="2024-09-17T12:47:59.679" v="646"/>
          <ac:spMkLst>
            <pc:docMk/>
            <pc:sldMk cId="1918519848" sldId="2147483611"/>
            <ac:spMk id="341" creationId="{A9C17088-665A-9E38-CAFF-F30F99695FC7}"/>
          </ac:spMkLst>
        </pc:spChg>
        <pc:spChg chg="mod">
          <ac:chgData name="Heinrich, Erik" userId="9d6b26bc-55d6-48ff-b9bb-b1ddf0151725" providerId="ADAL" clId="{AE694019-EEB4-4507-B065-1A8FA0AA931F}" dt="2024-09-17T12:47:59.679" v="646"/>
          <ac:spMkLst>
            <pc:docMk/>
            <pc:sldMk cId="1918519848" sldId="2147483611"/>
            <ac:spMk id="342" creationId="{521B5F0F-19EC-BA8A-63B5-9899A37AEAA4}"/>
          </ac:spMkLst>
        </pc:spChg>
        <pc:spChg chg="mod">
          <ac:chgData name="Heinrich, Erik" userId="9d6b26bc-55d6-48ff-b9bb-b1ddf0151725" providerId="ADAL" clId="{AE694019-EEB4-4507-B065-1A8FA0AA931F}" dt="2024-09-17T12:47:59.679" v="646"/>
          <ac:spMkLst>
            <pc:docMk/>
            <pc:sldMk cId="1918519848" sldId="2147483611"/>
            <ac:spMk id="343" creationId="{072D0783-E1D2-58D1-8A22-06CE48E1A9C0}"/>
          </ac:spMkLst>
        </pc:spChg>
        <pc:spChg chg="mod">
          <ac:chgData name="Heinrich, Erik" userId="9d6b26bc-55d6-48ff-b9bb-b1ddf0151725" providerId="ADAL" clId="{AE694019-EEB4-4507-B065-1A8FA0AA931F}" dt="2024-09-17T12:47:59.679" v="646"/>
          <ac:spMkLst>
            <pc:docMk/>
            <pc:sldMk cId="1918519848" sldId="2147483611"/>
            <ac:spMk id="344" creationId="{9B57E5AB-9303-0AAC-1DAF-00FA6BE956E9}"/>
          </ac:spMkLst>
        </pc:spChg>
        <pc:spChg chg="mod">
          <ac:chgData name="Heinrich, Erik" userId="9d6b26bc-55d6-48ff-b9bb-b1ddf0151725" providerId="ADAL" clId="{AE694019-EEB4-4507-B065-1A8FA0AA931F}" dt="2024-09-17T12:47:59.679" v="646"/>
          <ac:spMkLst>
            <pc:docMk/>
            <pc:sldMk cId="1918519848" sldId="2147483611"/>
            <ac:spMk id="345" creationId="{0946CCDC-57DA-FA87-2D5B-D03D6D3B32C0}"/>
          </ac:spMkLst>
        </pc:spChg>
        <pc:spChg chg="mod">
          <ac:chgData name="Heinrich, Erik" userId="9d6b26bc-55d6-48ff-b9bb-b1ddf0151725" providerId="ADAL" clId="{AE694019-EEB4-4507-B065-1A8FA0AA931F}" dt="2024-09-17T12:47:59.679" v="646"/>
          <ac:spMkLst>
            <pc:docMk/>
            <pc:sldMk cId="1918519848" sldId="2147483611"/>
            <ac:spMk id="346" creationId="{AD20AE15-0463-AE84-B266-65DF012FBDD2}"/>
          </ac:spMkLst>
        </pc:spChg>
        <pc:spChg chg="mod">
          <ac:chgData name="Heinrich, Erik" userId="9d6b26bc-55d6-48ff-b9bb-b1ddf0151725" providerId="ADAL" clId="{AE694019-EEB4-4507-B065-1A8FA0AA931F}" dt="2024-09-17T12:47:59.679" v="646"/>
          <ac:spMkLst>
            <pc:docMk/>
            <pc:sldMk cId="1918519848" sldId="2147483611"/>
            <ac:spMk id="347" creationId="{5A494135-E28D-677A-5909-DC67E29B96F3}"/>
          </ac:spMkLst>
        </pc:spChg>
        <pc:spChg chg="mod">
          <ac:chgData name="Heinrich, Erik" userId="9d6b26bc-55d6-48ff-b9bb-b1ddf0151725" providerId="ADAL" clId="{AE694019-EEB4-4507-B065-1A8FA0AA931F}" dt="2024-09-17T12:47:59.679" v="646"/>
          <ac:spMkLst>
            <pc:docMk/>
            <pc:sldMk cId="1918519848" sldId="2147483611"/>
            <ac:spMk id="348" creationId="{5F1ABC4C-9BB8-AD7C-237B-27FE20930A0A}"/>
          </ac:spMkLst>
        </pc:spChg>
        <pc:spChg chg="mod">
          <ac:chgData name="Heinrich, Erik" userId="9d6b26bc-55d6-48ff-b9bb-b1ddf0151725" providerId="ADAL" clId="{AE694019-EEB4-4507-B065-1A8FA0AA931F}" dt="2024-09-17T12:47:59.679" v="646"/>
          <ac:spMkLst>
            <pc:docMk/>
            <pc:sldMk cId="1918519848" sldId="2147483611"/>
            <ac:spMk id="349" creationId="{E67EB89F-2F82-182B-2B67-242848943DAF}"/>
          </ac:spMkLst>
        </pc:spChg>
        <pc:spChg chg="mod">
          <ac:chgData name="Heinrich, Erik" userId="9d6b26bc-55d6-48ff-b9bb-b1ddf0151725" providerId="ADAL" clId="{AE694019-EEB4-4507-B065-1A8FA0AA931F}" dt="2024-09-17T12:47:59.679" v="646"/>
          <ac:spMkLst>
            <pc:docMk/>
            <pc:sldMk cId="1918519848" sldId="2147483611"/>
            <ac:spMk id="350" creationId="{F7619D6C-1BA0-F689-4DDE-B74D6C926E7A}"/>
          </ac:spMkLst>
        </pc:spChg>
        <pc:spChg chg="mod">
          <ac:chgData name="Heinrich, Erik" userId="9d6b26bc-55d6-48ff-b9bb-b1ddf0151725" providerId="ADAL" clId="{AE694019-EEB4-4507-B065-1A8FA0AA931F}" dt="2024-09-17T12:47:59.679" v="646"/>
          <ac:spMkLst>
            <pc:docMk/>
            <pc:sldMk cId="1918519848" sldId="2147483611"/>
            <ac:spMk id="351" creationId="{EBFF2065-6ADA-3BA2-1F33-1644F5A68B3C}"/>
          </ac:spMkLst>
        </pc:spChg>
        <pc:spChg chg="mod">
          <ac:chgData name="Heinrich, Erik" userId="9d6b26bc-55d6-48ff-b9bb-b1ddf0151725" providerId="ADAL" clId="{AE694019-EEB4-4507-B065-1A8FA0AA931F}" dt="2024-09-17T12:47:59.679" v="646"/>
          <ac:spMkLst>
            <pc:docMk/>
            <pc:sldMk cId="1918519848" sldId="2147483611"/>
            <ac:spMk id="352" creationId="{94CB033D-865B-4105-D3AF-815496097600}"/>
          </ac:spMkLst>
        </pc:spChg>
        <pc:spChg chg="mod">
          <ac:chgData name="Heinrich, Erik" userId="9d6b26bc-55d6-48ff-b9bb-b1ddf0151725" providerId="ADAL" clId="{AE694019-EEB4-4507-B065-1A8FA0AA931F}" dt="2024-09-17T12:47:59.679" v="646"/>
          <ac:spMkLst>
            <pc:docMk/>
            <pc:sldMk cId="1918519848" sldId="2147483611"/>
            <ac:spMk id="353" creationId="{70C25D87-D450-4188-2254-D48AD9855F61}"/>
          </ac:spMkLst>
        </pc:spChg>
        <pc:spChg chg="mod">
          <ac:chgData name="Heinrich, Erik" userId="9d6b26bc-55d6-48ff-b9bb-b1ddf0151725" providerId="ADAL" clId="{AE694019-EEB4-4507-B065-1A8FA0AA931F}" dt="2024-09-17T12:47:59.679" v="646"/>
          <ac:spMkLst>
            <pc:docMk/>
            <pc:sldMk cId="1918519848" sldId="2147483611"/>
            <ac:spMk id="354" creationId="{294C0679-B4ED-1DAE-1ACF-505A20F20615}"/>
          </ac:spMkLst>
        </pc:spChg>
        <pc:spChg chg="mod">
          <ac:chgData name="Heinrich, Erik" userId="9d6b26bc-55d6-48ff-b9bb-b1ddf0151725" providerId="ADAL" clId="{AE694019-EEB4-4507-B065-1A8FA0AA931F}" dt="2024-09-17T12:47:59.679" v="646"/>
          <ac:spMkLst>
            <pc:docMk/>
            <pc:sldMk cId="1918519848" sldId="2147483611"/>
            <ac:spMk id="355" creationId="{043EEB1D-CA77-E158-EFED-2259610CB365}"/>
          </ac:spMkLst>
        </pc:spChg>
        <pc:spChg chg="mod">
          <ac:chgData name="Heinrich, Erik" userId="9d6b26bc-55d6-48ff-b9bb-b1ddf0151725" providerId="ADAL" clId="{AE694019-EEB4-4507-B065-1A8FA0AA931F}" dt="2024-09-17T12:47:59.679" v="646"/>
          <ac:spMkLst>
            <pc:docMk/>
            <pc:sldMk cId="1918519848" sldId="2147483611"/>
            <ac:spMk id="356" creationId="{8D5E4383-5100-B277-3268-52E53FD94350}"/>
          </ac:spMkLst>
        </pc:spChg>
        <pc:spChg chg="mod">
          <ac:chgData name="Heinrich, Erik" userId="9d6b26bc-55d6-48ff-b9bb-b1ddf0151725" providerId="ADAL" clId="{AE694019-EEB4-4507-B065-1A8FA0AA931F}" dt="2024-09-17T12:47:59.679" v="646"/>
          <ac:spMkLst>
            <pc:docMk/>
            <pc:sldMk cId="1918519848" sldId="2147483611"/>
            <ac:spMk id="357" creationId="{BA74A4EF-5C71-76C3-91F4-EC6838CACA47}"/>
          </ac:spMkLst>
        </pc:spChg>
        <pc:spChg chg="mod">
          <ac:chgData name="Heinrich, Erik" userId="9d6b26bc-55d6-48ff-b9bb-b1ddf0151725" providerId="ADAL" clId="{AE694019-EEB4-4507-B065-1A8FA0AA931F}" dt="2024-09-17T12:47:59.679" v="646"/>
          <ac:spMkLst>
            <pc:docMk/>
            <pc:sldMk cId="1918519848" sldId="2147483611"/>
            <ac:spMk id="358" creationId="{8457970C-FD3E-BB9A-A6D3-F54540927DCA}"/>
          </ac:spMkLst>
        </pc:spChg>
        <pc:spChg chg="mod">
          <ac:chgData name="Heinrich, Erik" userId="9d6b26bc-55d6-48ff-b9bb-b1ddf0151725" providerId="ADAL" clId="{AE694019-EEB4-4507-B065-1A8FA0AA931F}" dt="2024-09-17T12:47:59.679" v="646"/>
          <ac:spMkLst>
            <pc:docMk/>
            <pc:sldMk cId="1918519848" sldId="2147483611"/>
            <ac:spMk id="359" creationId="{9B3B4B01-3F20-01E3-8F61-99E891AEDB9B}"/>
          </ac:spMkLst>
        </pc:spChg>
        <pc:spChg chg="mod">
          <ac:chgData name="Heinrich, Erik" userId="9d6b26bc-55d6-48ff-b9bb-b1ddf0151725" providerId="ADAL" clId="{AE694019-EEB4-4507-B065-1A8FA0AA931F}" dt="2024-09-17T12:47:59.679" v="646"/>
          <ac:spMkLst>
            <pc:docMk/>
            <pc:sldMk cId="1918519848" sldId="2147483611"/>
            <ac:spMk id="360" creationId="{F081E5C9-428B-7765-18C3-F158959B8663}"/>
          </ac:spMkLst>
        </pc:spChg>
        <pc:spChg chg="mod">
          <ac:chgData name="Heinrich, Erik" userId="9d6b26bc-55d6-48ff-b9bb-b1ddf0151725" providerId="ADAL" clId="{AE694019-EEB4-4507-B065-1A8FA0AA931F}" dt="2024-09-17T12:47:59.679" v="646"/>
          <ac:spMkLst>
            <pc:docMk/>
            <pc:sldMk cId="1918519848" sldId="2147483611"/>
            <ac:spMk id="361" creationId="{CA39C296-BC5A-DB62-27F7-D4956927C4ED}"/>
          </ac:spMkLst>
        </pc:spChg>
        <pc:spChg chg="mod">
          <ac:chgData name="Heinrich, Erik" userId="9d6b26bc-55d6-48ff-b9bb-b1ddf0151725" providerId="ADAL" clId="{AE694019-EEB4-4507-B065-1A8FA0AA931F}" dt="2024-09-17T12:47:59.679" v="646"/>
          <ac:spMkLst>
            <pc:docMk/>
            <pc:sldMk cId="1918519848" sldId="2147483611"/>
            <ac:spMk id="362" creationId="{A614E934-629E-3F69-1EED-1DC11603EEB6}"/>
          </ac:spMkLst>
        </pc:spChg>
        <pc:spChg chg="mod">
          <ac:chgData name="Heinrich, Erik" userId="9d6b26bc-55d6-48ff-b9bb-b1ddf0151725" providerId="ADAL" clId="{AE694019-EEB4-4507-B065-1A8FA0AA931F}" dt="2024-09-17T12:47:59.679" v="646"/>
          <ac:spMkLst>
            <pc:docMk/>
            <pc:sldMk cId="1918519848" sldId="2147483611"/>
            <ac:spMk id="363" creationId="{1DF93D75-A3F0-E35C-5B5D-C7FF45B40124}"/>
          </ac:spMkLst>
        </pc:spChg>
        <pc:spChg chg="mod">
          <ac:chgData name="Heinrich, Erik" userId="9d6b26bc-55d6-48ff-b9bb-b1ddf0151725" providerId="ADAL" clId="{AE694019-EEB4-4507-B065-1A8FA0AA931F}" dt="2024-09-17T12:47:59.679" v="646"/>
          <ac:spMkLst>
            <pc:docMk/>
            <pc:sldMk cId="1918519848" sldId="2147483611"/>
            <ac:spMk id="364" creationId="{CC803078-F1CA-A04E-DF8F-3E7D5DE30B13}"/>
          </ac:spMkLst>
        </pc:spChg>
        <pc:spChg chg="mod">
          <ac:chgData name="Heinrich, Erik" userId="9d6b26bc-55d6-48ff-b9bb-b1ddf0151725" providerId="ADAL" clId="{AE694019-EEB4-4507-B065-1A8FA0AA931F}" dt="2024-09-17T12:47:59.679" v="646"/>
          <ac:spMkLst>
            <pc:docMk/>
            <pc:sldMk cId="1918519848" sldId="2147483611"/>
            <ac:spMk id="365" creationId="{63E3B98D-EBA3-6C2D-B2A6-3F9EF11A68DB}"/>
          </ac:spMkLst>
        </pc:spChg>
        <pc:spChg chg="mod">
          <ac:chgData name="Heinrich, Erik" userId="9d6b26bc-55d6-48ff-b9bb-b1ddf0151725" providerId="ADAL" clId="{AE694019-EEB4-4507-B065-1A8FA0AA931F}" dt="2024-09-17T12:47:59.679" v="646"/>
          <ac:spMkLst>
            <pc:docMk/>
            <pc:sldMk cId="1918519848" sldId="2147483611"/>
            <ac:spMk id="366" creationId="{05EFE3A1-96D3-1612-FC27-465DED808FB1}"/>
          </ac:spMkLst>
        </pc:spChg>
        <pc:spChg chg="mod">
          <ac:chgData name="Heinrich, Erik" userId="9d6b26bc-55d6-48ff-b9bb-b1ddf0151725" providerId="ADAL" clId="{AE694019-EEB4-4507-B065-1A8FA0AA931F}" dt="2024-09-17T12:47:59.679" v="646"/>
          <ac:spMkLst>
            <pc:docMk/>
            <pc:sldMk cId="1918519848" sldId="2147483611"/>
            <ac:spMk id="367" creationId="{D8132A1B-8096-6B7E-85AA-345B37ABACE7}"/>
          </ac:spMkLst>
        </pc:spChg>
        <pc:spChg chg="mod">
          <ac:chgData name="Heinrich, Erik" userId="9d6b26bc-55d6-48ff-b9bb-b1ddf0151725" providerId="ADAL" clId="{AE694019-EEB4-4507-B065-1A8FA0AA931F}" dt="2024-09-17T12:47:59.679" v="646"/>
          <ac:spMkLst>
            <pc:docMk/>
            <pc:sldMk cId="1918519848" sldId="2147483611"/>
            <ac:spMk id="368" creationId="{2B14725F-3A4A-C7BD-23E8-00D31AAA31A7}"/>
          </ac:spMkLst>
        </pc:spChg>
        <pc:spChg chg="mod">
          <ac:chgData name="Heinrich, Erik" userId="9d6b26bc-55d6-48ff-b9bb-b1ddf0151725" providerId="ADAL" clId="{AE694019-EEB4-4507-B065-1A8FA0AA931F}" dt="2024-09-17T12:47:59.679" v="646"/>
          <ac:spMkLst>
            <pc:docMk/>
            <pc:sldMk cId="1918519848" sldId="2147483611"/>
            <ac:spMk id="369" creationId="{A90240D7-0D34-19FA-07D4-688437A257F1}"/>
          </ac:spMkLst>
        </pc:spChg>
        <pc:spChg chg="mod">
          <ac:chgData name="Heinrich, Erik" userId="9d6b26bc-55d6-48ff-b9bb-b1ddf0151725" providerId="ADAL" clId="{AE694019-EEB4-4507-B065-1A8FA0AA931F}" dt="2024-09-17T12:47:59.679" v="646"/>
          <ac:spMkLst>
            <pc:docMk/>
            <pc:sldMk cId="1918519848" sldId="2147483611"/>
            <ac:spMk id="370" creationId="{7FDDDE77-1B00-A295-D006-16589F514773}"/>
          </ac:spMkLst>
        </pc:spChg>
        <pc:spChg chg="mod">
          <ac:chgData name="Heinrich, Erik" userId="9d6b26bc-55d6-48ff-b9bb-b1ddf0151725" providerId="ADAL" clId="{AE694019-EEB4-4507-B065-1A8FA0AA931F}" dt="2024-09-17T12:47:59.679" v="646"/>
          <ac:spMkLst>
            <pc:docMk/>
            <pc:sldMk cId="1918519848" sldId="2147483611"/>
            <ac:spMk id="371" creationId="{744BAD61-FA38-7B9D-FAD7-7161CF28527F}"/>
          </ac:spMkLst>
        </pc:spChg>
        <pc:spChg chg="mod">
          <ac:chgData name="Heinrich, Erik" userId="9d6b26bc-55d6-48ff-b9bb-b1ddf0151725" providerId="ADAL" clId="{AE694019-EEB4-4507-B065-1A8FA0AA931F}" dt="2024-09-17T12:47:59.679" v="646"/>
          <ac:spMkLst>
            <pc:docMk/>
            <pc:sldMk cId="1918519848" sldId="2147483611"/>
            <ac:spMk id="372" creationId="{917ABAB0-A679-03D9-95D5-93C97C151E8A}"/>
          </ac:spMkLst>
        </pc:spChg>
        <pc:spChg chg="mod">
          <ac:chgData name="Heinrich, Erik" userId="9d6b26bc-55d6-48ff-b9bb-b1ddf0151725" providerId="ADAL" clId="{AE694019-EEB4-4507-B065-1A8FA0AA931F}" dt="2024-09-17T12:47:59.679" v="646"/>
          <ac:spMkLst>
            <pc:docMk/>
            <pc:sldMk cId="1918519848" sldId="2147483611"/>
            <ac:spMk id="373" creationId="{680709BF-04C3-98B6-2C38-AE0BBA690817}"/>
          </ac:spMkLst>
        </pc:spChg>
        <pc:spChg chg="mod">
          <ac:chgData name="Heinrich, Erik" userId="9d6b26bc-55d6-48ff-b9bb-b1ddf0151725" providerId="ADAL" clId="{AE694019-EEB4-4507-B065-1A8FA0AA931F}" dt="2024-09-17T12:47:59.679" v="646"/>
          <ac:spMkLst>
            <pc:docMk/>
            <pc:sldMk cId="1918519848" sldId="2147483611"/>
            <ac:spMk id="374" creationId="{567555E5-9497-D72B-B6FB-58C6D1A8CAC8}"/>
          </ac:spMkLst>
        </pc:spChg>
        <pc:spChg chg="mod">
          <ac:chgData name="Heinrich, Erik" userId="9d6b26bc-55d6-48ff-b9bb-b1ddf0151725" providerId="ADAL" clId="{AE694019-EEB4-4507-B065-1A8FA0AA931F}" dt="2024-09-17T12:47:59.679" v="646"/>
          <ac:spMkLst>
            <pc:docMk/>
            <pc:sldMk cId="1918519848" sldId="2147483611"/>
            <ac:spMk id="375" creationId="{7A985C41-41E5-B453-BA3E-F01B90CF784E}"/>
          </ac:spMkLst>
        </pc:spChg>
        <pc:spChg chg="mod">
          <ac:chgData name="Heinrich, Erik" userId="9d6b26bc-55d6-48ff-b9bb-b1ddf0151725" providerId="ADAL" clId="{AE694019-EEB4-4507-B065-1A8FA0AA931F}" dt="2024-09-17T12:47:59.679" v="646"/>
          <ac:spMkLst>
            <pc:docMk/>
            <pc:sldMk cId="1918519848" sldId="2147483611"/>
            <ac:spMk id="376" creationId="{79E06EC2-9F2A-B7A2-F61D-DF26E396D96D}"/>
          </ac:spMkLst>
        </pc:spChg>
        <pc:spChg chg="mod">
          <ac:chgData name="Heinrich, Erik" userId="9d6b26bc-55d6-48ff-b9bb-b1ddf0151725" providerId="ADAL" clId="{AE694019-EEB4-4507-B065-1A8FA0AA931F}" dt="2024-09-17T12:47:59.679" v="646"/>
          <ac:spMkLst>
            <pc:docMk/>
            <pc:sldMk cId="1918519848" sldId="2147483611"/>
            <ac:spMk id="377" creationId="{173D6C10-4E55-F859-39C9-14CE8FD57763}"/>
          </ac:spMkLst>
        </pc:spChg>
        <pc:spChg chg="mod">
          <ac:chgData name="Heinrich, Erik" userId="9d6b26bc-55d6-48ff-b9bb-b1ddf0151725" providerId="ADAL" clId="{AE694019-EEB4-4507-B065-1A8FA0AA931F}" dt="2024-09-17T12:47:59.679" v="646"/>
          <ac:spMkLst>
            <pc:docMk/>
            <pc:sldMk cId="1918519848" sldId="2147483611"/>
            <ac:spMk id="378" creationId="{786A1326-6A24-1ECC-9723-B93002C1A408}"/>
          </ac:spMkLst>
        </pc:spChg>
        <pc:spChg chg="mod">
          <ac:chgData name="Heinrich, Erik" userId="9d6b26bc-55d6-48ff-b9bb-b1ddf0151725" providerId="ADAL" clId="{AE694019-EEB4-4507-B065-1A8FA0AA931F}" dt="2024-09-17T12:47:59.679" v="646"/>
          <ac:spMkLst>
            <pc:docMk/>
            <pc:sldMk cId="1918519848" sldId="2147483611"/>
            <ac:spMk id="379" creationId="{28044817-4790-E021-E430-7F352DF020AF}"/>
          </ac:spMkLst>
        </pc:spChg>
        <pc:spChg chg="mod">
          <ac:chgData name="Heinrich, Erik" userId="9d6b26bc-55d6-48ff-b9bb-b1ddf0151725" providerId="ADAL" clId="{AE694019-EEB4-4507-B065-1A8FA0AA931F}" dt="2024-09-17T12:47:59.679" v="646"/>
          <ac:spMkLst>
            <pc:docMk/>
            <pc:sldMk cId="1918519848" sldId="2147483611"/>
            <ac:spMk id="380" creationId="{605E5FCF-D717-7D28-9084-A77725107916}"/>
          </ac:spMkLst>
        </pc:spChg>
        <pc:spChg chg="mod">
          <ac:chgData name="Heinrich, Erik" userId="9d6b26bc-55d6-48ff-b9bb-b1ddf0151725" providerId="ADAL" clId="{AE694019-EEB4-4507-B065-1A8FA0AA931F}" dt="2024-09-17T12:47:59.679" v="646"/>
          <ac:spMkLst>
            <pc:docMk/>
            <pc:sldMk cId="1918519848" sldId="2147483611"/>
            <ac:spMk id="381" creationId="{FB0E2925-82DC-84F2-FB1F-EFEEF47FEDE1}"/>
          </ac:spMkLst>
        </pc:spChg>
        <pc:spChg chg="mod">
          <ac:chgData name="Heinrich, Erik" userId="9d6b26bc-55d6-48ff-b9bb-b1ddf0151725" providerId="ADAL" clId="{AE694019-EEB4-4507-B065-1A8FA0AA931F}" dt="2024-09-17T12:47:59.679" v="646"/>
          <ac:spMkLst>
            <pc:docMk/>
            <pc:sldMk cId="1918519848" sldId="2147483611"/>
            <ac:spMk id="382" creationId="{39DF5BE3-8FAA-6D08-1B2E-EDB73795B6F2}"/>
          </ac:spMkLst>
        </pc:spChg>
        <pc:spChg chg="mod">
          <ac:chgData name="Heinrich, Erik" userId="9d6b26bc-55d6-48ff-b9bb-b1ddf0151725" providerId="ADAL" clId="{AE694019-EEB4-4507-B065-1A8FA0AA931F}" dt="2024-09-17T12:47:59.679" v="646"/>
          <ac:spMkLst>
            <pc:docMk/>
            <pc:sldMk cId="1918519848" sldId="2147483611"/>
            <ac:spMk id="383" creationId="{991C542C-B9DF-6EFB-0F74-8B299CF3F63B}"/>
          </ac:spMkLst>
        </pc:spChg>
        <pc:spChg chg="mod">
          <ac:chgData name="Heinrich, Erik" userId="9d6b26bc-55d6-48ff-b9bb-b1ddf0151725" providerId="ADAL" clId="{AE694019-EEB4-4507-B065-1A8FA0AA931F}" dt="2024-09-17T12:47:59.679" v="646"/>
          <ac:spMkLst>
            <pc:docMk/>
            <pc:sldMk cId="1918519848" sldId="2147483611"/>
            <ac:spMk id="384" creationId="{58A4D066-FAF7-DB33-4F46-F8F3CB705D10}"/>
          </ac:spMkLst>
        </pc:spChg>
        <pc:spChg chg="mod">
          <ac:chgData name="Heinrich, Erik" userId="9d6b26bc-55d6-48ff-b9bb-b1ddf0151725" providerId="ADAL" clId="{AE694019-EEB4-4507-B065-1A8FA0AA931F}" dt="2024-09-17T12:47:59.679" v="646"/>
          <ac:spMkLst>
            <pc:docMk/>
            <pc:sldMk cId="1918519848" sldId="2147483611"/>
            <ac:spMk id="385" creationId="{0B0A74FA-0D2E-03A9-80AF-1F9E18DC812E}"/>
          </ac:spMkLst>
        </pc:spChg>
        <pc:spChg chg="mod">
          <ac:chgData name="Heinrich, Erik" userId="9d6b26bc-55d6-48ff-b9bb-b1ddf0151725" providerId="ADAL" clId="{AE694019-EEB4-4507-B065-1A8FA0AA931F}" dt="2024-09-17T12:47:59.679" v="646"/>
          <ac:spMkLst>
            <pc:docMk/>
            <pc:sldMk cId="1918519848" sldId="2147483611"/>
            <ac:spMk id="386" creationId="{0F338BC3-C461-DC2F-2AF7-07EEEEDA5FEF}"/>
          </ac:spMkLst>
        </pc:spChg>
        <pc:spChg chg="mod">
          <ac:chgData name="Heinrich, Erik" userId="9d6b26bc-55d6-48ff-b9bb-b1ddf0151725" providerId="ADAL" clId="{AE694019-EEB4-4507-B065-1A8FA0AA931F}" dt="2024-09-17T12:47:59.679" v="646"/>
          <ac:spMkLst>
            <pc:docMk/>
            <pc:sldMk cId="1918519848" sldId="2147483611"/>
            <ac:spMk id="387" creationId="{C994F38A-C861-84DD-ED60-559E6A228488}"/>
          </ac:spMkLst>
        </pc:spChg>
        <pc:spChg chg="mod">
          <ac:chgData name="Heinrich, Erik" userId="9d6b26bc-55d6-48ff-b9bb-b1ddf0151725" providerId="ADAL" clId="{AE694019-EEB4-4507-B065-1A8FA0AA931F}" dt="2024-09-17T12:47:59.679" v="646"/>
          <ac:spMkLst>
            <pc:docMk/>
            <pc:sldMk cId="1918519848" sldId="2147483611"/>
            <ac:spMk id="388" creationId="{33E3E754-6EE4-C87C-1E45-511F31617C42}"/>
          </ac:spMkLst>
        </pc:spChg>
        <pc:spChg chg="mod">
          <ac:chgData name="Heinrich, Erik" userId="9d6b26bc-55d6-48ff-b9bb-b1ddf0151725" providerId="ADAL" clId="{AE694019-EEB4-4507-B065-1A8FA0AA931F}" dt="2024-09-17T12:47:59.679" v="646"/>
          <ac:spMkLst>
            <pc:docMk/>
            <pc:sldMk cId="1918519848" sldId="2147483611"/>
            <ac:spMk id="389" creationId="{867442DC-463D-D80D-7253-64D5B26156BF}"/>
          </ac:spMkLst>
        </pc:spChg>
        <pc:spChg chg="mod">
          <ac:chgData name="Heinrich, Erik" userId="9d6b26bc-55d6-48ff-b9bb-b1ddf0151725" providerId="ADAL" clId="{AE694019-EEB4-4507-B065-1A8FA0AA931F}" dt="2024-09-17T12:47:59.679" v="646"/>
          <ac:spMkLst>
            <pc:docMk/>
            <pc:sldMk cId="1918519848" sldId="2147483611"/>
            <ac:spMk id="390" creationId="{17C7C452-9EEB-7F8A-90D8-D39138604023}"/>
          </ac:spMkLst>
        </pc:spChg>
        <pc:spChg chg="mod">
          <ac:chgData name="Heinrich, Erik" userId="9d6b26bc-55d6-48ff-b9bb-b1ddf0151725" providerId="ADAL" clId="{AE694019-EEB4-4507-B065-1A8FA0AA931F}" dt="2024-09-17T12:47:59.679" v="646"/>
          <ac:spMkLst>
            <pc:docMk/>
            <pc:sldMk cId="1918519848" sldId="2147483611"/>
            <ac:spMk id="391" creationId="{FE29944E-FFEE-2D10-BDC4-4B18AC5FEC5F}"/>
          </ac:spMkLst>
        </pc:spChg>
        <pc:spChg chg="mod">
          <ac:chgData name="Heinrich, Erik" userId="9d6b26bc-55d6-48ff-b9bb-b1ddf0151725" providerId="ADAL" clId="{AE694019-EEB4-4507-B065-1A8FA0AA931F}" dt="2024-09-17T12:47:59.679" v="646"/>
          <ac:spMkLst>
            <pc:docMk/>
            <pc:sldMk cId="1918519848" sldId="2147483611"/>
            <ac:spMk id="392" creationId="{AB75F561-FD1B-4549-0A81-AF0F7A92B980}"/>
          </ac:spMkLst>
        </pc:spChg>
        <pc:spChg chg="mod">
          <ac:chgData name="Heinrich, Erik" userId="9d6b26bc-55d6-48ff-b9bb-b1ddf0151725" providerId="ADAL" clId="{AE694019-EEB4-4507-B065-1A8FA0AA931F}" dt="2024-09-17T12:47:59.679" v="646"/>
          <ac:spMkLst>
            <pc:docMk/>
            <pc:sldMk cId="1918519848" sldId="2147483611"/>
            <ac:spMk id="393" creationId="{8D024A39-A1F2-C97E-C7F5-D3DFF5D493B5}"/>
          </ac:spMkLst>
        </pc:spChg>
        <pc:spChg chg="mod">
          <ac:chgData name="Heinrich, Erik" userId="9d6b26bc-55d6-48ff-b9bb-b1ddf0151725" providerId="ADAL" clId="{AE694019-EEB4-4507-B065-1A8FA0AA931F}" dt="2024-09-17T12:47:59.679" v="646"/>
          <ac:spMkLst>
            <pc:docMk/>
            <pc:sldMk cId="1918519848" sldId="2147483611"/>
            <ac:spMk id="394" creationId="{D05C3E21-4742-1515-A44C-3113D00AC7B5}"/>
          </ac:spMkLst>
        </pc:spChg>
        <pc:spChg chg="mod">
          <ac:chgData name="Heinrich, Erik" userId="9d6b26bc-55d6-48ff-b9bb-b1ddf0151725" providerId="ADAL" clId="{AE694019-EEB4-4507-B065-1A8FA0AA931F}" dt="2024-09-17T12:47:59.679" v="646"/>
          <ac:spMkLst>
            <pc:docMk/>
            <pc:sldMk cId="1918519848" sldId="2147483611"/>
            <ac:spMk id="395" creationId="{B0A96E52-6EA1-6C00-B0B4-679342F6EA1E}"/>
          </ac:spMkLst>
        </pc:spChg>
        <pc:spChg chg="mod">
          <ac:chgData name="Heinrich, Erik" userId="9d6b26bc-55d6-48ff-b9bb-b1ddf0151725" providerId="ADAL" clId="{AE694019-EEB4-4507-B065-1A8FA0AA931F}" dt="2024-09-17T12:47:59.679" v="646"/>
          <ac:spMkLst>
            <pc:docMk/>
            <pc:sldMk cId="1918519848" sldId="2147483611"/>
            <ac:spMk id="396" creationId="{B172C9DD-6726-DA1E-FE5A-194C2F72FA4D}"/>
          </ac:spMkLst>
        </pc:spChg>
        <pc:spChg chg="mod">
          <ac:chgData name="Heinrich, Erik" userId="9d6b26bc-55d6-48ff-b9bb-b1ddf0151725" providerId="ADAL" clId="{AE694019-EEB4-4507-B065-1A8FA0AA931F}" dt="2024-09-17T12:47:59.679" v="646"/>
          <ac:spMkLst>
            <pc:docMk/>
            <pc:sldMk cId="1918519848" sldId="2147483611"/>
            <ac:spMk id="397" creationId="{51237C4A-29FF-B881-FF44-1E2A86BCB656}"/>
          </ac:spMkLst>
        </pc:spChg>
        <pc:spChg chg="mod">
          <ac:chgData name="Heinrich, Erik" userId="9d6b26bc-55d6-48ff-b9bb-b1ddf0151725" providerId="ADAL" clId="{AE694019-EEB4-4507-B065-1A8FA0AA931F}" dt="2024-09-17T12:47:59.679" v="646"/>
          <ac:spMkLst>
            <pc:docMk/>
            <pc:sldMk cId="1918519848" sldId="2147483611"/>
            <ac:spMk id="398" creationId="{124EE4ED-75A0-C84E-EB12-24D0FCC7EE38}"/>
          </ac:spMkLst>
        </pc:spChg>
        <pc:spChg chg="mod">
          <ac:chgData name="Heinrich, Erik" userId="9d6b26bc-55d6-48ff-b9bb-b1ddf0151725" providerId="ADAL" clId="{AE694019-EEB4-4507-B065-1A8FA0AA931F}" dt="2024-09-17T12:47:59.679" v="646"/>
          <ac:spMkLst>
            <pc:docMk/>
            <pc:sldMk cId="1918519848" sldId="2147483611"/>
            <ac:spMk id="399" creationId="{8516D8AA-9407-8B90-1763-C3CCCF07F692}"/>
          </ac:spMkLst>
        </pc:spChg>
        <pc:spChg chg="mod">
          <ac:chgData name="Heinrich, Erik" userId="9d6b26bc-55d6-48ff-b9bb-b1ddf0151725" providerId="ADAL" clId="{AE694019-EEB4-4507-B065-1A8FA0AA931F}" dt="2024-09-17T12:47:59.679" v="646"/>
          <ac:spMkLst>
            <pc:docMk/>
            <pc:sldMk cId="1918519848" sldId="2147483611"/>
            <ac:spMk id="400" creationId="{1612377F-D38E-20D5-43D5-FE808D3F437E}"/>
          </ac:spMkLst>
        </pc:spChg>
        <pc:spChg chg="mod">
          <ac:chgData name="Heinrich, Erik" userId="9d6b26bc-55d6-48ff-b9bb-b1ddf0151725" providerId="ADAL" clId="{AE694019-EEB4-4507-B065-1A8FA0AA931F}" dt="2024-09-17T12:47:59.679" v="646"/>
          <ac:spMkLst>
            <pc:docMk/>
            <pc:sldMk cId="1918519848" sldId="2147483611"/>
            <ac:spMk id="401" creationId="{594FECDD-F3E8-BA4D-DF9D-85F5ABF4CBF6}"/>
          </ac:spMkLst>
        </pc:spChg>
        <pc:spChg chg="mod">
          <ac:chgData name="Heinrich, Erik" userId="9d6b26bc-55d6-48ff-b9bb-b1ddf0151725" providerId="ADAL" clId="{AE694019-EEB4-4507-B065-1A8FA0AA931F}" dt="2024-09-17T12:47:59.679" v="646"/>
          <ac:spMkLst>
            <pc:docMk/>
            <pc:sldMk cId="1918519848" sldId="2147483611"/>
            <ac:spMk id="402" creationId="{774366C6-9796-DC4D-F6E6-79314E897F67}"/>
          </ac:spMkLst>
        </pc:spChg>
        <pc:spChg chg="mod">
          <ac:chgData name="Heinrich, Erik" userId="9d6b26bc-55d6-48ff-b9bb-b1ddf0151725" providerId="ADAL" clId="{AE694019-EEB4-4507-B065-1A8FA0AA931F}" dt="2024-09-17T12:47:59.679" v="646"/>
          <ac:spMkLst>
            <pc:docMk/>
            <pc:sldMk cId="1918519848" sldId="2147483611"/>
            <ac:spMk id="403" creationId="{445CEBB1-9F88-669E-1BE0-145EA4AB58AD}"/>
          </ac:spMkLst>
        </pc:spChg>
        <pc:spChg chg="mod">
          <ac:chgData name="Heinrich, Erik" userId="9d6b26bc-55d6-48ff-b9bb-b1ddf0151725" providerId="ADAL" clId="{AE694019-EEB4-4507-B065-1A8FA0AA931F}" dt="2024-09-17T12:47:59.679" v="646"/>
          <ac:spMkLst>
            <pc:docMk/>
            <pc:sldMk cId="1918519848" sldId="2147483611"/>
            <ac:spMk id="404" creationId="{545D3936-643B-FC1A-6D68-33EC58EC61A3}"/>
          </ac:spMkLst>
        </pc:spChg>
        <pc:spChg chg="mod">
          <ac:chgData name="Heinrich, Erik" userId="9d6b26bc-55d6-48ff-b9bb-b1ddf0151725" providerId="ADAL" clId="{AE694019-EEB4-4507-B065-1A8FA0AA931F}" dt="2024-09-17T12:47:59.679" v="646"/>
          <ac:spMkLst>
            <pc:docMk/>
            <pc:sldMk cId="1918519848" sldId="2147483611"/>
            <ac:spMk id="405" creationId="{1FF4F6C6-F970-5CEC-6010-43A72378A7D4}"/>
          </ac:spMkLst>
        </pc:spChg>
        <pc:spChg chg="mod">
          <ac:chgData name="Heinrich, Erik" userId="9d6b26bc-55d6-48ff-b9bb-b1ddf0151725" providerId="ADAL" clId="{AE694019-EEB4-4507-B065-1A8FA0AA931F}" dt="2024-09-17T12:47:59.679" v="646"/>
          <ac:spMkLst>
            <pc:docMk/>
            <pc:sldMk cId="1918519848" sldId="2147483611"/>
            <ac:spMk id="406" creationId="{8B0CC6D4-8F71-AFFB-B5D7-7339B933B9D8}"/>
          </ac:spMkLst>
        </pc:spChg>
        <pc:spChg chg="mod">
          <ac:chgData name="Heinrich, Erik" userId="9d6b26bc-55d6-48ff-b9bb-b1ddf0151725" providerId="ADAL" clId="{AE694019-EEB4-4507-B065-1A8FA0AA931F}" dt="2024-09-17T12:47:59.679" v="646"/>
          <ac:spMkLst>
            <pc:docMk/>
            <pc:sldMk cId="1918519848" sldId="2147483611"/>
            <ac:spMk id="407" creationId="{E832AF8A-8BF4-24AA-6BC0-14CADB163B2C}"/>
          </ac:spMkLst>
        </pc:spChg>
        <pc:spChg chg="mod">
          <ac:chgData name="Heinrich, Erik" userId="9d6b26bc-55d6-48ff-b9bb-b1ddf0151725" providerId="ADAL" clId="{AE694019-EEB4-4507-B065-1A8FA0AA931F}" dt="2024-09-17T12:47:59.679" v="646"/>
          <ac:spMkLst>
            <pc:docMk/>
            <pc:sldMk cId="1918519848" sldId="2147483611"/>
            <ac:spMk id="408" creationId="{3379C076-0447-7141-57C8-156C6A1BD70D}"/>
          </ac:spMkLst>
        </pc:spChg>
        <pc:spChg chg="mod">
          <ac:chgData name="Heinrich, Erik" userId="9d6b26bc-55d6-48ff-b9bb-b1ddf0151725" providerId="ADAL" clId="{AE694019-EEB4-4507-B065-1A8FA0AA931F}" dt="2024-09-17T12:47:59.679" v="646"/>
          <ac:spMkLst>
            <pc:docMk/>
            <pc:sldMk cId="1918519848" sldId="2147483611"/>
            <ac:spMk id="409" creationId="{ED9B6EB3-76A1-89E6-C85D-4186A4C6685F}"/>
          </ac:spMkLst>
        </pc:spChg>
        <pc:spChg chg="mod">
          <ac:chgData name="Heinrich, Erik" userId="9d6b26bc-55d6-48ff-b9bb-b1ddf0151725" providerId="ADAL" clId="{AE694019-EEB4-4507-B065-1A8FA0AA931F}" dt="2024-09-17T12:47:59.679" v="646"/>
          <ac:spMkLst>
            <pc:docMk/>
            <pc:sldMk cId="1918519848" sldId="2147483611"/>
            <ac:spMk id="410" creationId="{E1DF1300-812A-5F82-847E-CF23463E2FBA}"/>
          </ac:spMkLst>
        </pc:spChg>
        <pc:spChg chg="mod">
          <ac:chgData name="Heinrich, Erik" userId="9d6b26bc-55d6-48ff-b9bb-b1ddf0151725" providerId="ADAL" clId="{AE694019-EEB4-4507-B065-1A8FA0AA931F}" dt="2024-09-17T12:47:59.679" v="646"/>
          <ac:spMkLst>
            <pc:docMk/>
            <pc:sldMk cId="1918519848" sldId="2147483611"/>
            <ac:spMk id="411" creationId="{6BAF0D9F-315E-05D7-8A32-803E715794DC}"/>
          </ac:spMkLst>
        </pc:spChg>
        <pc:spChg chg="mod">
          <ac:chgData name="Heinrich, Erik" userId="9d6b26bc-55d6-48ff-b9bb-b1ddf0151725" providerId="ADAL" clId="{AE694019-EEB4-4507-B065-1A8FA0AA931F}" dt="2024-09-17T12:47:59.679" v="646"/>
          <ac:spMkLst>
            <pc:docMk/>
            <pc:sldMk cId="1918519848" sldId="2147483611"/>
            <ac:spMk id="412" creationId="{8F83007C-8397-EFCF-4111-39B918847D6B}"/>
          </ac:spMkLst>
        </pc:spChg>
        <pc:spChg chg="mod">
          <ac:chgData name="Heinrich, Erik" userId="9d6b26bc-55d6-48ff-b9bb-b1ddf0151725" providerId="ADAL" clId="{AE694019-EEB4-4507-B065-1A8FA0AA931F}" dt="2024-09-17T12:47:59.679" v="646"/>
          <ac:spMkLst>
            <pc:docMk/>
            <pc:sldMk cId="1918519848" sldId="2147483611"/>
            <ac:spMk id="413" creationId="{782EBFB0-7275-8ABA-166E-606A043F7369}"/>
          </ac:spMkLst>
        </pc:spChg>
        <pc:spChg chg="mod">
          <ac:chgData name="Heinrich, Erik" userId="9d6b26bc-55d6-48ff-b9bb-b1ddf0151725" providerId="ADAL" clId="{AE694019-EEB4-4507-B065-1A8FA0AA931F}" dt="2024-09-17T12:47:59.679" v="646"/>
          <ac:spMkLst>
            <pc:docMk/>
            <pc:sldMk cId="1918519848" sldId="2147483611"/>
            <ac:spMk id="414" creationId="{37712630-F66B-9547-BBDC-60ACBFAD1F25}"/>
          </ac:spMkLst>
        </pc:spChg>
        <pc:spChg chg="mod">
          <ac:chgData name="Heinrich, Erik" userId="9d6b26bc-55d6-48ff-b9bb-b1ddf0151725" providerId="ADAL" clId="{AE694019-EEB4-4507-B065-1A8FA0AA931F}" dt="2024-09-17T12:47:59.679" v="646"/>
          <ac:spMkLst>
            <pc:docMk/>
            <pc:sldMk cId="1918519848" sldId="2147483611"/>
            <ac:spMk id="415" creationId="{C15BC611-9C04-2828-FB42-C584E1FF6DDE}"/>
          </ac:spMkLst>
        </pc:spChg>
        <pc:spChg chg="mod">
          <ac:chgData name="Heinrich, Erik" userId="9d6b26bc-55d6-48ff-b9bb-b1ddf0151725" providerId="ADAL" clId="{AE694019-EEB4-4507-B065-1A8FA0AA931F}" dt="2024-09-17T12:47:59.679" v="646"/>
          <ac:spMkLst>
            <pc:docMk/>
            <pc:sldMk cId="1918519848" sldId="2147483611"/>
            <ac:spMk id="416" creationId="{2EC533B4-E6D8-CFF1-4B9D-827C734DD363}"/>
          </ac:spMkLst>
        </pc:spChg>
        <pc:spChg chg="mod">
          <ac:chgData name="Heinrich, Erik" userId="9d6b26bc-55d6-48ff-b9bb-b1ddf0151725" providerId="ADAL" clId="{AE694019-EEB4-4507-B065-1A8FA0AA931F}" dt="2024-09-17T12:47:59.679" v="646"/>
          <ac:spMkLst>
            <pc:docMk/>
            <pc:sldMk cId="1918519848" sldId="2147483611"/>
            <ac:spMk id="417" creationId="{016BE1AB-1C31-C680-2E8E-AF07DBAF50F3}"/>
          </ac:spMkLst>
        </pc:spChg>
        <pc:spChg chg="mod">
          <ac:chgData name="Heinrich, Erik" userId="9d6b26bc-55d6-48ff-b9bb-b1ddf0151725" providerId="ADAL" clId="{AE694019-EEB4-4507-B065-1A8FA0AA931F}" dt="2024-09-17T12:47:59.679" v="646"/>
          <ac:spMkLst>
            <pc:docMk/>
            <pc:sldMk cId="1918519848" sldId="2147483611"/>
            <ac:spMk id="418" creationId="{083B9DA4-BCE8-9A95-841A-7700DA06EB62}"/>
          </ac:spMkLst>
        </pc:spChg>
        <pc:spChg chg="mod">
          <ac:chgData name="Heinrich, Erik" userId="9d6b26bc-55d6-48ff-b9bb-b1ddf0151725" providerId="ADAL" clId="{AE694019-EEB4-4507-B065-1A8FA0AA931F}" dt="2024-09-17T12:47:59.679" v="646"/>
          <ac:spMkLst>
            <pc:docMk/>
            <pc:sldMk cId="1918519848" sldId="2147483611"/>
            <ac:spMk id="419" creationId="{FA0B949B-F9DE-4ECC-6B7C-E8AE5448B59E}"/>
          </ac:spMkLst>
        </pc:spChg>
        <pc:spChg chg="mod">
          <ac:chgData name="Heinrich, Erik" userId="9d6b26bc-55d6-48ff-b9bb-b1ddf0151725" providerId="ADAL" clId="{AE694019-EEB4-4507-B065-1A8FA0AA931F}" dt="2024-09-17T12:47:59.679" v="646"/>
          <ac:spMkLst>
            <pc:docMk/>
            <pc:sldMk cId="1918519848" sldId="2147483611"/>
            <ac:spMk id="420" creationId="{6A5E6043-B57D-105D-B416-9DC476804A50}"/>
          </ac:spMkLst>
        </pc:spChg>
        <pc:spChg chg="mod">
          <ac:chgData name="Heinrich, Erik" userId="9d6b26bc-55d6-48ff-b9bb-b1ddf0151725" providerId="ADAL" clId="{AE694019-EEB4-4507-B065-1A8FA0AA931F}" dt="2024-09-17T12:47:59.679" v="646"/>
          <ac:spMkLst>
            <pc:docMk/>
            <pc:sldMk cId="1918519848" sldId="2147483611"/>
            <ac:spMk id="421" creationId="{44B27D7F-84D7-9135-33C6-61CA4EE80BB6}"/>
          </ac:spMkLst>
        </pc:spChg>
        <pc:spChg chg="mod">
          <ac:chgData name="Heinrich, Erik" userId="9d6b26bc-55d6-48ff-b9bb-b1ddf0151725" providerId="ADAL" clId="{AE694019-EEB4-4507-B065-1A8FA0AA931F}" dt="2024-09-17T12:47:59.679" v="646"/>
          <ac:spMkLst>
            <pc:docMk/>
            <pc:sldMk cId="1918519848" sldId="2147483611"/>
            <ac:spMk id="422" creationId="{EA1CB252-BBAD-2109-3453-F60B3ADD3DAE}"/>
          </ac:spMkLst>
        </pc:spChg>
        <pc:spChg chg="mod">
          <ac:chgData name="Heinrich, Erik" userId="9d6b26bc-55d6-48ff-b9bb-b1ddf0151725" providerId="ADAL" clId="{AE694019-EEB4-4507-B065-1A8FA0AA931F}" dt="2024-09-17T12:47:59.679" v="646"/>
          <ac:spMkLst>
            <pc:docMk/>
            <pc:sldMk cId="1918519848" sldId="2147483611"/>
            <ac:spMk id="423" creationId="{51EEA7DB-C958-61D1-9BC3-46260BD40103}"/>
          </ac:spMkLst>
        </pc:spChg>
        <pc:spChg chg="mod">
          <ac:chgData name="Heinrich, Erik" userId="9d6b26bc-55d6-48ff-b9bb-b1ddf0151725" providerId="ADAL" clId="{AE694019-EEB4-4507-B065-1A8FA0AA931F}" dt="2024-09-17T12:47:59.679" v="646"/>
          <ac:spMkLst>
            <pc:docMk/>
            <pc:sldMk cId="1918519848" sldId="2147483611"/>
            <ac:spMk id="424" creationId="{FDFD2A1C-ABBF-F1AC-5EC6-2C6580DB093B}"/>
          </ac:spMkLst>
        </pc:spChg>
        <pc:spChg chg="mod">
          <ac:chgData name="Heinrich, Erik" userId="9d6b26bc-55d6-48ff-b9bb-b1ddf0151725" providerId="ADAL" clId="{AE694019-EEB4-4507-B065-1A8FA0AA931F}" dt="2024-09-17T12:47:59.679" v="646"/>
          <ac:spMkLst>
            <pc:docMk/>
            <pc:sldMk cId="1918519848" sldId="2147483611"/>
            <ac:spMk id="425" creationId="{DD30A5AE-576B-2FDD-91ED-0007EB7AAD86}"/>
          </ac:spMkLst>
        </pc:spChg>
        <pc:spChg chg="mod">
          <ac:chgData name="Heinrich, Erik" userId="9d6b26bc-55d6-48ff-b9bb-b1ddf0151725" providerId="ADAL" clId="{AE694019-EEB4-4507-B065-1A8FA0AA931F}" dt="2024-09-17T12:47:59.679" v="646"/>
          <ac:spMkLst>
            <pc:docMk/>
            <pc:sldMk cId="1918519848" sldId="2147483611"/>
            <ac:spMk id="426" creationId="{D1120097-A30C-9EBC-E234-B4DF9E81A45D}"/>
          </ac:spMkLst>
        </pc:spChg>
        <pc:spChg chg="mod">
          <ac:chgData name="Heinrich, Erik" userId="9d6b26bc-55d6-48ff-b9bb-b1ddf0151725" providerId="ADAL" clId="{AE694019-EEB4-4507-B065-1A8FA0AA931F}" dt="2024-09-17T12:47:59.679" v="646"/>
          <ac:spMkLst>
            <pc:docMk/>
            <pc:sldMk cId="1918519848" sldId="2147483611"/>
            <ac:spMk id="427" creationId="{8073E620-FF19-13F5-8428-E537C0FA71FC}"/>
          </ac:spMkLst>
        </pc:spChg>
        <pc:spChg chg="mod">
          <ac:chgData name="Heinrich, Erik" userId="9d6b26bc-55d6-48ff-b9bb-b1ddf0151725" providerId="ADAL" clId="{AE694019-EEB4-4507-B065-1A8FA0AA931F}" dt="2024-09-17T12:47:59.679" v="646"/>
          <ac:spMkLst>
            <pc:docMk/>
            <pc:sldMk cId="1918519848" sldId="2147483611"/>
            <ac:spMk id="428" creationId="{5FD39914-907C-3322-8B07-3017B99FD460}"/>
          </ac:spMkLst>
        </pc:spChg>
        <pc:spChg chg="mod">
          <ac:chgData name="Heinrich, Erik" userId="9d6b26bc-55d6-48ff-b9bb-b1ddf0151725" providerId="ADAL" clId="{AE694019-EEB4-4507-B065-1A8FA0AA931F}" dt="2024-09-17T12:47:59.679" v="646"/>
          <ac:spMkLst>
            <pc:docMk/>
            <pc:sldMk cId="1918519848" sldId="2147483611"/>
            <ac:spMk id="429" creationId="{318884E5-290E-B585-674C-6C511F4E0655}"/>
          </ac:spMkLst>
        </pc:spChg>
        <pc:spChg chg="mod">
          <ac:chgData name="Heinrich, Erik" userId="9d6b26bc-55d6-48ff-b9bb-b1ddf0151725" providerId="ADAL" clId="{AE694019-EEB4-4507-B065-1A8FA0AA931F}" dt="2024-09-17T12:47:59.679" v="646"/>
          <ac:spMkLst>
            <pc:docMk/>
            <pc:sldMk cId="1918519848" sldId="2147483611"/>
            <ac:spMk id="430" creationId="{647B595D-249E-6806-A916-7806083BDFA6}"/>
          </ac:spMkLst>
        </pc:spChg>
        <pc:spChg chg="mod">
          <ac:chgData name="Heinrich, Erik" userId="9d6b26bc-55d6-48ff-b9bb-b1ddf0151725" providerId="ADAL" clId="{AE694019-EEB4-4507-B065-1A8FA0AA931F}" dt="2024-09-17T12:47:59.679" v="646"/>
          <ac:spMkLst>
            <pc:docMk/>
            <pc:sldMk cId="1918519848" sldId="2147483611"/>
            <ac:spMk id="431" creationId="{ED5BCBA9-C525-3893-5D68-15D1A46419B3}"/>
          </ac:spMkLst>
        </pc:spChg>
        <pc:spChg chg="mod">
          <ac:chgData name="Heinrich, Erik" userId="9d6b26bc-55d6-48ff-b9bb-b1ddf0151725" providerId="ADAL" clId="{AE694019-EEB4-4507-B065-1A8FA0AA931F}" dt="2024-09-17T12:47:59.679" v="646"/>
          <ac:spMkLst>
            <pc:docMk/>
            <pc:sldMk cId="1918519848" sldId="2147483611"/>
            <ac:spMk id="432" creationId="{F8577E71-A2C6-FE43-53F4-ABFA91BE9243}"/>
          </ac:spMkLst>
        </pc:spChg>
        <pc:spChg chg="mod">
          <ac:chgData name="Heinrich, Erik" userId="9d6b26bc-55d6-48ff-b9bb-b1ddf0151725" providerId="ADAL" clId="{AE694019-EEB4-4507-B065-1A8FA0AA931F}" dt="2024-09-17T12:47:59.679" v="646"/>
          <ac:spMkLst>
            <pc:docMk/>
            <pc:sldMk cId="1918519848" sldId="2147483611"/>
            <ac:spMk id="433" creationId="{D3D937B0-DC0B-D09A-EF77-AF7B5ECB6248}"/>
          </ac:spMkLst>
        </pc:spChg>
        <pc:spChg chg="mod">
          <ac:chgData name="Heinrich, Erik" userId="9d6b26bc-55d6-48ff-b9bb-b1ddf0151725" providerId="ADAL" clId="{AE694019-EEB4-4507-B065-1A8FA0AA931F}" dt="2024-09-17T12:47:59.679" v="646"/>
          <ac:spMkLst>
            <pc:docMk/>
            <pc:sldMk cId="1918519848" sldId="2147483611"/>
            <ac:spMk id="434" creationId="{5644AE64-8D21-D932-F040-2F3418E77EB7}"/>
          </ac:spMkLst>
        </pc:spChg>
        <pc:spChg chg="mod">
          <ac:chgData name="Heinrich, Erik" userId="9d6b26bc-55d6-48ff-b9bb-b1ddf0151725" providerId="ADAL" clId="{AE694019-EEB4-4507-B065-1A8FA0AA931F}" dt="2024-09-17T12:47:59.679" v="646"/>
          <ac:spMkLst>
            <pc:docMk/>
            <pc:sldMk cId="1918519848" sldId="2147483611"/>
            <ac:spMk id="435" creationId="{AC5C1D78-4A32-BAEE-3F0C-D09A7B2D7B2B}"/>
          </ac:spMkLst>
        </pc:spChg>
        <pc:spChg chg="mod">
          <ac:chgData name="Heinrich, Erik" userId="9d6b26bc-55d6-48ff-b9bb-b1ddf0151725" providerId="ADAL" clId="{AE694019-EEB4-4507-B065-1A8FA0AA931F}" dt="2024-09-17T12:47:59.679" v="646"/>
          <ac:spMkLst>
            <pc:docMk/>
            <pc:sldMk cId="1918519848" sldId="2147483611"/>
            <ac:spMk id="436" creationId="{4B2B3BE8-8584-B07E-0FAF-7C33830E7A6B}"/>
          </ac:spMkLst>
        </pc:spChg>
        <pc:spChg chg="mod">
          <ac:chgData name="Heinrich, Erik" userId="9d6b26bc-55d6-48ff-b9bb-b1ddf0151725" providerId="ADAL" clId="{AE694019-EEB4-4507-B065-1A8FA0AA931F}" dt="2024-09-17T12:47:59.679" v="646"/>
          <ac:spMkLst>
            <pc:docMk/>
            <pc:sldMk cId="1918519848" sldId="2147483611"/>
            <ac:spMk id="437" creationId="{E0A5894A-1B60-C3CC-1C22-3DBAB4B08B18}"/>
          </ac:spMkLst>
        </pc:spChg>
        <pc:spChg chg="mod">
          <ac:chgData name="Heinrich, Erik" userId="9d6b26bc-55d6-48ff-b9bb-b1ddf0151725" providerId="ADAL" clId="{AE694019-EEB4-4507-B065-1A8FA0AA931F}" dt="2024-09-17T12:47:59.679" v="646"/>
          <ac:spMkLst>
            <pc:docMk/>
            <pc:sldMk cId="1918519848" sldId="2147483611"/>
            <ac:spMk id="438" creationId="{A36360E6-EC5D-FB23-091D-39B0181E9268}"/>
          </ac:spMkLst>
        </pc:spChg>
        <pc:spChg chg="mod">
          <ac:chgData name="Heinrich, Erik" userId="9d6b26bc-55d6-48ff-b9bb-b1ddf0151725" providerId="ADAL" clId="{AE694019-EEB4-4507-B065-1A8FA0AA931F}" dt="2024-09-17T12:47:59.679" v="646"/>
          <ac:spMkLst>
            <pc:docMk/>
            <pc:sldMk cId="1918519848" sldId="2147483611"/>
            <ac:spMk id="439" creationId="{50D787DE-D82B-F403-431E-1E167C31D09C}"/>
          </ac:spMkLst>
        </pc:spChg>
        <pc:spChg chg="mod">
          <ac:chgData name="Heinrich, Erik" userId="9d6b26bc-55d6-48ff-b9bb-b1ddf0151725" providerId="ADAL" clId="{AE694019-EEB4-4507-B065-1A8FA0AA931F}" dt="2024-09-17T12:47:59.679" v="646"/>
          <ac:spMkLst>
            <pc:docMk/>
            <pc:sldMk cId="1918519848" sldId="2147483611"/>
            <ac:spMk id="440" creationId="{DC146F6A-CBE3-1412-1CF9-A297D82984EE}"/>
          </ac:spMkLst>
        </pc:spChg>
        <pc:spChg chg="mod">
          <ac:chgData name="Heinrich, Erik" userId="9d6b26bc-55d6-48ff-b9bb-b1ddf0151725" providerId="ADAL" clId="{AE694019-EEB4-4507-B065-1A8FA0AA931F}" dt="2024-09-17T12:47:59.679" v="646"/>
          <ac:spMkLst>
            <pc:docMk/>
            <pc:sldMk cId="1918519848" sldId="2147483611"/>
            <ac:spMk id="441" creationId="{E63CACC3-A016-F8E7-E281-ABC003F6F845}"/>
          </ac:spMkLst>
        </pc:spChg>
        <pc:spChg chg="mod">
          <ac:chgData name="Heinrich, Erik" userId="9d6b26bc-55d6-48ff-b9bb-b1ddf0151725" providerId="ADAL" clId="{AE694019-EEB4-4507-B065-1A8FA0AA931F}" dt="2024-09-17T12:47:59.679" v="646"/>
          <ac:spMkLst>
            <pc:docMk/>
            <pc:sldMk cId="1918519848" sldId="2147483611"/>
            <ac:spMk id="442" creationId="{8410FB7E-9215-EC42-24D7-BBF0F577D6D4}"/>
          </ac:spMkLst>
        </pc:spChg>
        <pc:spChg chg="mod">
          <ac:chgData name="Heinrich, Erik" userId="9d6b26bc-55d6-48ff-b9bb-b1ddf0151725" providerId="ADAL" clId="{AE694019-EEB4-4507-B065-1A8FA0AA931F}" dt="2024-09-17T12:47:59.679" v="646"/>
          <ac:spMkLst>
            <pc:docMk/>
            <pc:sldMk cId="1918519848" sldId="2147483611"/>
            <ac:spMk id="443" creationId="{3795127C-07D1-A616-9467-7CC4F04A603E}"/>
          </ac:spMkLst>
        </pc:spChg>
        <pc:spChg chg="mod">
          <ac:chgData name="Heinrich, Erik" userId="9d6b26bc-55d6-48ff-b9bb-b1ddf0151725" providerId="ADAL" clId="{AE694019-EEB4-4507-B065-1A8FA0AA931F}" dt="2024-09-17T12:47:59.679" v="646"/>
          <ac:spMkLst>
            <pc:docMk/>
            <pc:sldMk cId="1918519848" sldId="2147483611"/>
            <ac:spMk id="444" creationId="{5FF694B5-9B2B-9076-CDD3-AAE3551B8715}"/>
          </ac:spMkLst>
        </pc:spChg>
        <pc:spChg chg="mod">
          <ac:chgData name="Heinrich, Erik" userId="9d6b26bc-55d6-48ff-b9bb-b1ddf0151725" providerId="ADAL" clId="{AE694019-EEB4-4507-B065-1A8FA0AA931F}" dt="2024-09-17T12:47:59.679" v="646"/>
          <ac:spMkLst>
            <pc:docMk/>
            <pc:sldMk cId="1918519848" sldId="2147483611"/>
            <ac:spMk id="445" creationId="{7FC5E936-7BC7-73D4-3450-F44A8D9E485C}"/>
          </ac:spMkLst>
        </pc:spChg>
        <pc:spChg chg="mod">
          <ac:chgData name="Heinrich, Erik" userId="9d6b26bc-55d6-48ff-b9bb-b1ddf0151725" providerId="ADAL" clId="{AE694019-EEB4-4507-B065-1A8FA0AA931F}" dt="2024-09-17T12:47:59.679" v="646"/>
          <ac:spMkLst>
            <pc:docMk/>
            <pc:sldMk cId="1918519848" sldId="2147483611"/>
            <ac:spMk id="446" creationId="{8F5C9A01-0856-5443-4513-4878D7DDBA59}"/>
          </ac:spMkLst>
        </pc:spChg>
        <pc:spChg chg="mod">
          <ac:chgData name="Heinrich, Erik" userId="9d6b26bc-55d6-48ff-b9bb-b1ddf0151725" providerId="ADAL" clId="{AE694019-EEB4-4507-B065-1A8FA0AA931F}" dt="2024-09-17T12:47:59.679" v="646"/>
          <ac:spMkLst>
            <pc:docMk/>
            <pc:sldMk cId="1918519848" sldId="2147483611"/>
            <ac:spMk id="447" creationId="{07CAD8E2-88F3-0389-B9C7-FA391F678056}"/>
          </ac:spMkLst>
        </pc:spChg>
        <pc:spChg chg="mod">
          <ac:chgData name="Heinrich, Erik" userId="9d6b26bc-55d6-48ff-b9bb-b1ddf0151725" providerId="ADAL" clId="{AE694019-EEB4-4507-B065-1A8FA0AA931F}" dt="2024-09-17T12:47:59.679" v="646"/>
          <ac:spMkLst>
            <pc:docMk/>
            <pc:sldMk cId="1918519848" sldId="2147483611"/>
            <ac:spMk id="448" creationId="{A419F390-3F55-5DEB-29EE-619B97E5A8B5}"/>
          </ac:spMkLst>
        </pc:spChg>
        <pc:spChg chg="mod">
          <ac:chgData name="Heinrich, Erik" userId="9d6b26bc-55d6-48ff-b9bb-b1ddf0151725" providerId="ADAL" clId="{AE694019-EEB4-4507-B065-1A8FA0AA931F}" dt="2024-09-17T12:47:59.679" v="646"/>
          <ac:spMkLst>
            <pc:docMk/>
            <pc:sldMk cId="1918519848" sldId="2147483611"/>
            <ac:spMk id="449" creationId="{C15C2D12-14BC-D452-4773-281CA92D8DF5}"/>
          </ac:spMkLst>
        </pc:spChg>
        <pc:spChg chg="mod">
          <ac:chgData name="Heinrich, Erik" userId="9d6b26bc-55d6-48ff-b9bb-b1ddf0151725" providerId="ADAL" clId="{AE694019-EEB4-4507-B065-1A8FA0AA931F}" dt="2024-09-17T12:47:59.679" v="646"/>
          <ac:spMkLst>
            <pc:docMk/>
            <pc:sldMk cId="1918519848" sldId="2147483611"/>
            <ac:spMk id="450" creationId="{01485C30-3B2D-F82E-DB90-C3A2E7B755C8}"/>
          </ac:spMkLst>
        </pc:spChg>
        <pc:spChg chg="mod">
          <ac:chgData name="Heinrich, Erik" userId="9d6b26bc-55d6-48ff-b9bb-b1ddf0151725" providerId="ADAL" clId="{AE694019-EEB4-4507-B065-1A8FA0AA931F}" dt="2024-09-17T12:47:59.679" v="646"/>
          <ac:spMkLst>
            <pc:docMk/>
            <pc:sldMk cId="1918519848" sldId="2147483611"/>
            <ac:spMk id="451" creationId="{5905BB56-ADB5-F51F-72D5-3B349106C3A8}"/>
          </ac:spMkLst>
        </pc:spChg>
        <pc:spChg chg="mod">
          <ac:chgData name="Heinrich, Erik" userId="9d6b26bc-55d6-48ff-b9bb-b1ddf0151725" providerId="ADAL" clId="{AE694019-EEB4-4507-B065-1A8FA0AA931F}" dt="2024-09-17T12:47:59.679" v="646"/>
          <ac:spMkLst>
            <pc:docMk/>
            <pc:sldMk cId="1918519848" sldId="2147483611"/>
            <ac:spMk id="452" creationId="{80A56FCA-C3CA-892E-85F2-92C4F6DDBAC4}"/>
          </ac:spMkLst>
        </pc:spChg>
        <pc:spChg chg="mod">
          <ac:chgData name="Heinrich, Erik" userId="9d6b26bc-55d6-48ff-b9bb-b1ddf0151725" providerId="ADAL" clId="{AE694019-EEB4-4507-B065-1A8FA0AA931F}" dt="2024-09-17T12:47:59.679" v="646"/>
          <ac:spMkLst>
            <pc:docMk/>
            <pc:sldMk cId="1918519848" sldId="2147483611"/>
            <ac:spMk id="453" creationId="{D01D755A-9D4B-46B7-BF56-58C8EFEC67C9}"/>
          </ac:spMkLst>
        </pc:spChg>
        <pc:spChg chg="mod">
          <ac:chgData name="Heinrich, Erik" userId="9d6b26bc-55d6-48ff-b9bb-b1ddf0151725" providerId="ADAL" clId="{AE694019-EEB4-4507-B065-1A8FA0AA931F}" dt="2024-09-17T12:47:59.679" v="646"/>
          <ac:spMkLst>
            <pc:docMk/>
            <pc:sldMk cId="1918519848" sldId="2147483611"/>
            <ac:spMk id="454" creationId="{70A1082B-B3D1-8BFB-5A22-C7235EF7D11F}"/>
          </ac:spMkLst>
        </pc:spChg>
        <pc:spChg chg="mod">
          <ac:chgData name="Heinrich, Erik" userId="9d6b26bc-55d6-48ff-b9bb-b1ddf0151725" providerId="ADAL" clId="{AE694019-EEB4-4507-B065-1A8FA0AA931F}" dt="2024-09-17T12:47:59.679" v="646"/>
          <ac:spMkLst>
            <pc:docMk/>
            <pc:sldMk cId="1918519848" sldId="2147483611"/>
            <ac:spMk id="455" creationId="{5A1139A6-3F13-1DB1-925D-4AC0393143D1}"/>
          </ac:spMkLst>
        </pc:spChg>
        <pc:spChg chg="mod">
          <ac:chgData name="Heinrich, Erik" userId="9d6b26bc-55d6-48ff-b9bb-b1ddf0151725" providerId="ADAL" clId="{AE694019-EEB4-4507-B065-1A8FA0AA931F}" dt="2024-09-17T12:47:59.679" v="646"/>
          <ac:spMkLst>
            <pc:docMk/>
            <pc:sldMk cId="1918519848" sldId="2147483611"/>
            <ac:spMk id="456" creationId="{E439DFE2-A36F-BC6B-B1CF-556BF0EF2019}"/>
          </ac:spMkLst>
        </pc:spChg>
        <pc:spChg chg="mod">
          <ac:chgData name="Heinrich, Erik" userId="9d6b26bc-55d6-48ff-b9bb-b1ddf0151725" providerId="ADAL" clId="{AE694019-EEB4-4507-B065-1A8FA0AA931F}" dt="2024-09-17T12:47:59.679" v="646"/>
          <ac:spMkLst>
            <pc:docMk/>
            <pc:sldMk cId="1918519848" sldId="2147483611"/>
            <ac:spMk id="457" creationId="{46E0E790-6C2D-9ADD-E33D-39E291331506}"/>
          </ac:spMkLst>
        </pc:spChg>
        <pc:spChg chg="mod">
          <ac:chgData name="Heinrich, Erik" userId="9d6b26bc-55d6-48ff-b9bb-b1ddf0151725" providerId="ADAL" clId="{AE694019-EEB4-4507-B065-1A8FA0AA931F}" dt="2024-09-17T12:47:59.679" v="646"/>
          <ac:spMkLst>
            <pc:docMk/>
            <pc:sldMk cId="1918519848" sldId="2147483611"/>
            <ac:spMk id="458" creationId="{87D6A632-C20B-DBBD-ADA4-7576B90FD4A0}"/>
          </ac:spMkLst>
        </pc:spChg>
        <pc:spChg chg="mod">
          <ac:chgData name="Heinrich, Erik" userId="9d6b26bc-55d6-48ff-b9bb-b1ddf0151725" providerId="ADAL" clId="{AE694019-EEB4-4507-B065-1A8FA0AA931F}" dt="2024-09-17T12:47:59.679" v="646"/>
          <ac:spMkLst>
            <pc:docMk/>
            <pc:sldMk cId="1918519848" sldId="2147483611"/>
            <ac:spMk id="459" creationId="{BC0E7B54-2CE5-9FCD-CF2E-F7AEAF88BD81}"/>
          </ac:spMkLst>
        </pc:spChg>
        <pc:spChg chg="mod">
          <ac:chgData name="Heinrich, Erik" userId="9d6b26bc-55d6-48ff-b9bb-b1ddf0151725" providerId="ADAL" clId="{AE694019-EEB4-4507-B065-1A8FA0AA931F}" dt="2024-09-17T12:47:59.679" v="646"/>
          <ac:spMkLst>
            <pc:docMk/>
            <pc:sldMk cId="1918519848" sldId="2147483611"/>
            <ac:spMk id="460" creationId="{AED65B42-4662-1E25-4196-FCC9BE6086A8}"/>
          </ac:spMkLst>
        </pc:spChg>
        <pc:spChg chg="mod">
          <ac:chgData name="Heinrich, Erik" userId="9d6b26bc-55d6-48ff-b9bb-b1ddf0151725" providerId="ADAL" clId="{AE694019-EEB4-4507-B065-1A8FA0AA931F}" dt="2024-09-17T12:47:59.679" v="646"/>
          <ac:spMkLst>
            <pc:docMk/>
            <pc:sldMk cId="1918519848" sldId="2147483611"/>
            <ac:spMk id="461" creationId="{BD5B8D68-49A2-7E3F-3892-3A5E796C0E01}"/>
          </ac:spMkLst>
        </pc:spChg>
        <pc:spChg chg="mod">
          <ac:chgData name="Heinrich, Erik" userId="9d6b26bc-55d6-48ff-b9bb-b1ddf0151725" providerId="ADAL" clId="{AE694019-EEB4-4507-B065-1A8FA0AA931F}" dt="2024-09-17T12:47:59.679" v="646"/>
          <ac:spMkLst>
            <pc:docMk/>
            <pc:sldMk cId="1918519848" sldId="2147483611"/>
            <ac:spMk id="462" creationId="{0DBE9B16-C745-F189-32AD-88FACAFF7E85}"/>
          </ac:spMkLst>
        </pc:spChg>
        <pc:spChg chg="mod">
          <ac:chgData name="Heinrich, Erik" userId="9d6b26bc-55d6-48ff-b9bb-b1ddf0151725" providerId="ADAL" clId="{AE694019-EEB4-4507-B065-1A8FA0AA931F}" dt="2024-09-17T12:47:59.679" v="646"/>
          <ac:spMkLst>
            <pc:docMk/>
            <pc:sldMk cId="1918519848" sldId="2147483611"/>
            <ac:spMk id="463" creationId="{7A1AB5D1-CF49-413F-F3F7-86351570E63A}"/>
          </ac:spMkLst>
        </pc:spChg>
        <pc:spChg chg="mod">
          <ac:chgData name="Heinrich, Erik" userId="9d6b26bc-55d6-48ff-b9bb-b1ddf0151725" providerId="ADAL" clId="{AE694019-EEB4-4507-B065-1A8FA0AA931F}" dt="2024-09-17T12:47:59.679" v="646"/>
          <ac:spMkLst>
            <pc:docMk/>
            <pc:sldMk cId="1918519848" sldId="2147483611"/>
            <ac:spMk id="464" creationId="{DB291AD6-7392-F049-A5FC-CA33636612FE}"/>
          </ac:spMkLst>
        </pc:spChg>
        <pc:spChg chg="mod">
          <ac:chgData name="Heinrich, Erik" userId="9d6b26bc-55d6-48ff-b9bb-b1ddf0151725" providerId="ADAL" clId="{AE694019-EEB4-4507-B065-1A8FA0AA931F}" dt="2024-09-17T12:47:59.679" v="646"/>
          <ac:spMkLst>
            <pc:docMk/>
            <pc:sldMk cId="1918519848" sldId="2147483611"/>
            <ac:spMk id="465" creationId="{D92D666B-A245-26B6-C04D-8DF18971E4C9}"/>
          </ac:spMkLst>
        </pc:spChg>
        <pc:spChg chg="mod">
          <ac:chgData name="Heinrich, Erik" userId="9d6b26bc-55d6-48ff-b9bb-b1ddf0151725" providerId="ADAL" clId="{AE694019-EEB4-4507-B065-1A8FA0AA931F}" dt="2024-09-17T12:47:59.679" v="646"/>
          <ac:spMkLst>
            <pc:docMk/>
            <pc:sldMk cId="1918519848" sldId="2147483611"/>
            <ac:spMk id="466" creationId="{5D3FF9B0-E915-87DC-2E4D-C9F1C8A679D1}"/>
          </ac:spMkLst>
        </pc:spChg>
        <pc:spChg chg="mod">
          <ac:chgData name="Heinrich, Erik" userId="9d6b26bc-55d6-48ff-b9bb-b1ddf0151725" providerId="ADAL" clId="{AE694019-EEB4-4507-B065-1A8FA0AA931F}" dt="2024-09-17T12:47:59.679" v="646"/>
          <ac:spMkLst>
            <pc:docMk/>
            <pc:sldMk cId="1918519848" sldId="2147483611"/>
            <ac:spMk id="467" creationId="{68036310-DA81-1CFA-D55F-C454278D510D}"/>
          </ac:spMkLst>
        </pc:spChg>
        <pc:spChg chg="mod">
          <ac:chgData name="Heinrich, Erik" userId="9d6b26bc-55d6-48ff-b9bb-b1ddf0151725" providerId="ADAL" clId="{AE694019-EEB4-4507-B065-1A8FA0AA931F}" dt="2024-09-17T12:47:59.679" v="646"/>
          <ac:spMkLst>
            <pc:docMk/>
            <pc:sldMk cId="1918519848" sldId="2147483611"/>
            <ac:spMk id="468" creationId="{9E64A0AA-BA1A-845B-84CE-0BDD6C5141B3}"/>
          </ac:spMkLst>
        </pc:spChg>
        <pc:spChg chg="mod">
          <ac:chgData name="Heinrich, Erik" userId="9d6b26bc-55d6-48ff-b9bb-b1ddf0151725" providerId="ADAL" clId="{AE694019-EEB4-4507-B065-1A8FA0AA931F}" dt="2024-09-17T12:47:59.679" v="646"/>
          <ac:spMkLst>
            <pc:docMk/>
            <pc:sldMk cId="1918519848" sldId="2147483611"/>
            <ac:spMk id="469" creationId="{3B7BD7D1-548A-E047-4AA6-0969608D0A17}"/>
          </ac:spMkLst>
        </pc:spChg>
        <pc:spChg chg="mod">
          <ac:chgData name="Heinrich, Erik" userId="9d6b26bc-55d6-48ff-b9bb-b1ddf0151725" providerId="ADAL" clId="{AE694019-EEB4-4507-B065-1A8FA0AA931F}" dt="2024-09-17T12:47:59.679" v="646"/>
          <ac:spMkLst>
            <pc:docMk/>
            <pc:sldMk cId="1918519848" sldId="2147483611"/>
            <ac:spMk id="470" creationId="{248721BF-FFE3-BBDC-40C7-180F8EA38155}"/>
          </ac:spMkLst>
        </pc:spChg>
        <pc:spChg chg="mod">
          <ac:chgData name="Heinrich, Erik" userId="9d6b26bc-55d6-48ff-b9bb-b1ddf0151725" providerId="ADAL" clId="{AE694019-EEB4-4507-B065-1A8FA0AA931F}" dt="2024-09-17T12:47:59.679" v="646"/>
          <ac:spMkLst>
            <pc:docMk/>
            <pc:sldMk cId="1918519848" sldId="2147483611"/>
            <ac:spMk id="477" creationId="{05EB0605-B5B6-C3E1-8934-05D4D132526F}"/>
          </ac:spMkLst>
        </pc:spChg>
        <pc:spChg chg="mod">
          <ac:chgData name="Heinrich, Erik" userId="9d6b26bc-55d6-48ff-b9bb-b1ddf0151725" providerId="ADAL" clId="{AE694019-EEB4-4507-B065-1A8FA0AA931F}" dt="2024-09-17T12:47:59.679" v="646"/>
          <ac:spMkLst>
            <pc:docMk/>
            <pc:sldMk cId="1918519848" sldId="2147483611"/>
            <ac:spMk id="478" creationId="{3AA23007-6512-3C1D-C4F3-F8B8D6F42CA8}"/>
          </ac:spMkLst>
        </pc:spChg>
        <pc:spChg chg="mod">
          <ac:chgData name="Heinrich, Erik" userId="9d6b26bc-55d6-48ff-b9bb-b1ddf0151725" providerId="ADAL" clId="{AE694019-EEB4-4507-B065-1A8FA0AA931F}" dt="2024-09-17T12:47:59.679" v="646"/>
          <ac:spMkLst>
            <pc:docMk/>
            <pc:sldMk cId="1918519848" sldId="2147483611"/>
            <ac:spMk id="479" creationId="{83BCFFCB-11A2-1BD2-E2E3-9EBD83A4597E}"/>
          </ac:spMkLst>
        </pc:spChg>
        <pc:spChg chg="mod">
          <ac:chgData name="Heinrich, Erik" userId="9d6b26bc-55d6-48ff-b9bb-b1ddf0151725" providerId="ADAL" clId="{AE694019-EEB4-4507-B065-1A8FA0AA931F}" dt="2024-09-17T12:47:59.679" v="646"/>
          <ac:spMkLst>
            <pc:docMk/>
            <pc:sldMk cId="1918519848" sldId="2147483611"/>
            <ac:spMk id="480" creationId="{A361F07A-7DE4-345D-BCB5-E3467A74D1C5}"/>
          </ac:spMkLst>
        </pc:spChg>
        <pc:spChg chg="mod">
          <ac:chgData name="Heinrich, Erik" userId="9d6b26bc-55d6-48ff-b9bb-b1ddf0151725" providerId="ADAL" clId="{AE694019-EEB4-4507-B065-1A8FA0AA931F}" dt="2024-09-17T12:47:59.679" v="646"/>
          <ac:spMkLst>
            <pc:docMk/>
            <pc:sldMk cId="1918519848" sldId="2147483611"/>
            <ac:spMk id="481" creationId="{AF9BF498-388A-B25D-4894-069D1B48B197}"/>
          </ac:spMkLst>
        </pc:spChg>
        <pc:spChg chg="mod">
          <ac:chgData name="Heinrich, Erik" userId="9d6b26bc-55d6-48ff-b9bb-b1ddf0151725" providerId="ADAL" clId="{AE694019-EEB4-4507-B065-1A8FA0AA931F}" dt="2024-09-17T12:47:59.679" v="646"/>
          <ac:spMkLst>
            <pc:docMk/>
            <pc:sldMk cId="1918519848" sldId="2147483611"/>
            <ac:spMk id="482" creationId="{C7720459-5558-271C-7D4A-B255EE1B1128}"/>
          </ac:spMkLst>
        </pc:spChg>
        <pc:spChg chg="mod">
          <ac:chgData name="Heinrich, Erik" userId="9d6b26bc-55d6-48ff-b9bb-b1ddf0151725" providerId="ADAL" clId="{AE694019-EEB4-4507-B065-1A8FA0AA931F}" dt="2024-09-17T12:47:59.679" v="646"/>
          <ac:spMkLst>
            <pc:docMk/>
            <pc:sldMk cId="1918519848" sldId="2147483611"/>
            <ac:spMk id="483" creationId="{44DE5F64-57FC-A328-3857-8839BA864441}"/>
          </ac:spMkLst>
        </pc:spChg>
        <pc:spChg chg="mod">
          <ac:chgData name="Heinrich, Erik" userId="9d6b26bc-55d6-48ff-b9bb-b1ddf0151725" providerId="ADAL" clId="{AE694019-EEB4-4507-B065-1A8FA0AA931F}" dt="2024-09-17T12:47:59.679" v="646"/>
          <ac:spMkLst>
            <pc:docMk/>
            <pc:sldMk cId="1918519848" sldId="2147483611"/>
            <ac:spMk id="484" creationId="{1B2B09D4-DEE2-7661-5AFF-6AB54BFBB2A5}"/>
          </ac:spMkLst>
        </pc:spChg>
        <pc:spChg chg="mod">
          <ac:chgData name="Heinrich, Erik" userId="9d6b26bc-55d6-48ff-b9bb-b1ddf0151725" providerId="ADAL" clId="{AE694019-EEB4-4507-B065-1A8FA0AA931F}" dt="2024-09-17T12:47:59.679" v="646"/>
          <ac:spMkLst>
            <pc:docMk/>
            <pc:sldMk cId="1918519848" sldId="2147483611"/>
            <ac:spMk id="485" creationId="{10ADFFAD-E786-04BB-03D6-27C339366807}"/>
          </ac:spMkLst>
        </pc:spChg>
        <pc:spChg chg="mod">
          <ac:chgData name="Heinrich, Erik" userId="9d6b26bc-55d6-48ff-b9bb-b1ddf0151725" providerId="ADAL" clId="{AE694019-EEB4-4507-B065-1A8FA0AA931F}" dt="2024-09-17T12:47:59.679" v="646"/>
          <ac:spMkLst>
            <pc:docMk/>
            <pc:sldMk cId="1918519848" sldId="2147483611"/>
            <ac:spMk id="486" creationId="{E40B2989-99FC-3329-1192-E6C91550F0A8}"/>
          </ac:spMkLst>
        </pc:spChg>
        <pc:spChg chg="mod">
          <ac:chgData name="Heinrich, Erik" userId="9d6b26bc-55d6-48ff-b9bb-b1ddf0151725" providerId="ADAL" clId="{AE694019-EEB4-4507-B065-1A8FA0AA931F}" dt="2024-09-17T12:47:59.679" v="646"/>
          <ac:spMkLst>
            <pc:docMk/>
            <pc:sldMk cId="1918519848" sldId="2147483611"/>
            <ac:spMk id="487" creationId="{15579FFD-F997-2815-171E-F58FD6ED089A}"/>
          </ac:spMkLst>
        </pc:spChg>
        <pc:spChg chg="mod">
          <ac:chgData name="Heinrich, Erik" userId="9d6b26bc-55d6-48ff-b9bb-b1ddf0151725" providerId="ADAL" clId="{AE694019-EEB4-4507-B065-1A8FA0AA931F}" dt="2024-09-17T12:47:59.679" v="646"/>
          <ac:spMkLst>
            <pc:docMk/>
            <pc:sldMk cId="1918519848" sldId="2147483611"/>
            <ac:spMk id="488" creationId="{9CB46895-3460-CBA5-2023-175E498C46FA}"/>
          </ac:spMkLst>
        </pc:spChg>
        <pc:spChg chg="mod">
          <ac:chgData name="Heinrich, Erik" userId="9d6b26bc-55d6-48ff-b9bb-b1ddf0151725" providerId="ADAL" clId="{AE694019-EEB4-4507-B065-1A8FA0AA931F}" dt="2024-09-17T12:47:59.679" v="646"/>
          <ac:spMkLst>
            <pc:docMk/>
            <pc:sldMk cId="1918519848" sldId="2147483611"/>
            <ac:spMk id="489" creationId="{EEC3658C-6C94-11FB-5C97-CA3009CDD00A}"/>
          </ac:spMkLst>
        </pc:spChg>
        <pc:spChg chg="mod">
          <ac:chgData name="Heinrich, Erik" userId="9d6b26bc-55d6-48ff-b9bb-b1ddf0151725" providerId="ADAL" clId="{AE694019-EEB4-4507-B065-1A8FA0AA931F}" dt="2024-09-17T12:47:59.679" v="646"/>
          <ac:spMkLst>
            <pc:docMk/>
            <pc:sldMk cId="1918519848" sldId="2147483611"/>
            <ac:spMk id="490" creationId="{D9129F0A-2931-DA7D-900D-BD0B4052AC6A}"/>
          </ac:spMkLst>
        </pc:spChg>
        <pc:spChg chg="mod">
          <ac:chgData name="Heinrich, Erik" userId="9d6b26bc-55d6-48ff-b9bb-b1ddf0151725" providerId="ADAL" clId="{AE694019-EEB4-4507-B065-1A8FA0AA931F}" dt="2024-09-17T12:47:59.679" v="646"/>
          <ac:spMkLst>
            <pc:docMk/>
            <pc:sldMk cId="1918519848" sldId="2147483611"/>
            <ac:spMk id="491" creationId="{F50FB7A4-0D1E-45A0-1B47-4A01008A8541}"/>
          </ac:spMkLst>
        </pc:spChg>
        <pc:grpChg chg="add mod">
          <ac:chgData name="Heinrich, Erik" userId="9d6b26bc-55d6-48ff-b9bb-b1ddf0151725" providerId="ADAL" clId="{AE694019-EEB4-4507-B065-1A8FA0AA931F}" dt="2024-09-17T12:48:04.803" v="647" actId="1076"/>
          <ac:grpSpMkLst>
            <pc:docMk/>
            <pc:sldMk cId="1918519848" sldId="2147483611"/>
            <ac:grpSpMk id="253" creationId="{9D44D0E9-8589-EDF2-F451-E3537A62A25A}"/>
          </ac:grpSpMkLst>
        </pc:grpChg>
        <pc:grpChg chg="mod">
          <ac:chgData name="Heinrich, Erik" userId="9d6b26bc-55d6-48ff-b9bb-b1ddf0151725" providerId="ADAL" clId="{AE694019-EEB4-4507-B065-1A8FA0AA931F}" dt="2024-09-17T12:47:59.679" v="646"/>
          <ac:grpSpMkLst>
            <pc:docMk/>
            <pc:sldMk cId="1918519848" sldId="2147483611"/>
            <ac:grpSpMk id="267" creationId="{810905A3-BDF7-0372-1A39-7945100376D6}"/>
          </ac:grpSpMkLst>
        </pc:grpChg>
        <pc:grpChg chg="mod">
          <ac:chgData name="Heinrich, Erik" userId="9d6b26bc-55d6-48ff-b9bb-b1ddf0151725" providerId="ADAL" clId="{AE694019-EEB4-4507-B065-1A8FA0AA931F}" dt="2024-09-17T12:47:59.679" v="646"/>
          <ac:grpSpMkLst>
            <pc:docMk/>
            <pc:sldMk cId="1918519848" sldId="2147483611"/>
            <ac:grpSpMk id="268" creationId="{934F1373-7686-FF71-AA57-5B4A7325A46C}"/>
          </ac:grpSpMkLst>
        </pc:grpChg>
        <pc:grpChg chg="mod">
          <ac:chgData name="Heinrich, Erik" userId="9d6b26bc-55d6-48ff-b9bb-b1ddf0151725" providerId="ADAL" clId="{AE694019-EEB4-4507-B065-1A8FA0AA931F}" dt="2024-09-17T12:47:59.679" v="646"/>
          <ac:grpSpMkLst>
            <pc:docMk/>
            <pc:sldMk cId="1918519848" sldId="2147483611"/>
            <ac:grpSpMk id="269" creationId="{70828EF4-9576-6D49-928A-D8011F682C8A}"/>
          </ac:grpSpMkLst>
        </pc:grpChg>
        <pc:grpChg chg="mod">
          <ac:chgData name="Heinrich, Erik" userId="9d6b26bc-55d6-48ff-b9bb-b1ddf0151725" providerId="ADAL" clId="{AE694019-EEB4-4507-B065-1A8FA0AA931F}" dt="2024-09-17T12:47:59.679" v="646"/>
          <ac:grpSpMkLst>
            <pc:docMk/>
            <pc:sldMk cId="1918519848" sldId="2147483611"/>
            <ac:grpSpMk id="270" creationId="{7C91E81B-996A-EE8C-0223-F167F4F0E157}"/>
          </ac:grpSpMkLst>
        </pc:grpChg>
        <pc:grpChg chg="mod">
          <ac:chgData name="Heinrich, Erik" userId="9d6b26bc-55d6-48ff-b9bb-b1ddf0151725" providerId="ADAL" clId="{AE694019-EEB4-4507-B065-1A8FA0AA931F}" dt="2024-09-17T12:47:59.679" v="646"/>
          <ac:grpSpMkLst>
            <pc:docMk/>
            <pc:sldMk cId="1918519848" sldId="2147483611"/>
            <ac:grpSpMk id="271" creationId="{CFFEA494-D945-10FE-9BE9-7BF4C02F9791}"/>
          </ac:grpSpMkLst>
        </pc:grpChg>
        <pc:grpChg chg="mod">
          <ac:chgData name="Heinrich, Erik" userId="9d6b26bc-55d6-48ff-b9bb-b1ddf0151725" providerId="ADAL" clId="{AE694019-EEB4-4507-B065-1A8FA0AA931F}" dt="2024-09-17T12:47:59.679" v="646"/>
          <ac:grpSpMkLst>
            <pc:docMk/>
            <pc:sldMk cId="1918519848" sldId="2147483611"/>
            <ac:grpSpMk id="272" creationId="{7C08F06A-DD7D-A284-A10C-3B71E6BD2D85}"/>
          </ac:grpSpMkLst>
        </pc:grpChg>
        <pc:grpChg chg="mod">
          <ac:chgData name="Heinrich, Erik" userId="9d6b26bc-55d6-48ff-b9bb-b1ddf0151725" providerId="ADAL" clId="{AE694019-EEB4-4507-B065-1A8FA0AA931F}" dt="2024-09-17T12:47:59.679" v="646"/>
          <ac:grpSpMkLst>
            <pc:docMk/>
            <pc:sldMk cId="1918519848" sldId="2147483611"/>
            <ac:grpSpMk id="273" creationId="{475E01ED-22EE-9AB4-73F1-1B1AE6D93C08}"/>
          </ac:grpSpMkLst>
        </pc:grpChg>
        <pc:grpChg chg="mod">
          <ac:chgData name="Heinrich, Erik" userId="9d6b26bc-55d6-48ff-b9bb-b1ddf0151725" providerId="ADAL" clId="{AE694019-EEB4-4507-B065-1A8FA0AA931F}" dt="2024-09-17T12:47:59.679" v="646"/>
          <ac:grpSpMkLst>
            <pc:docMk/>
            <pc:sldMk cId="1918519848" sldId="2147483611"/>
            <ac:grpSpMk id="276" creationId="{251E5564-44BB-7E59-2429-99A6A3EF67DE}"/>
          </ac:grpSpMkLst>
        </pc:grpChg>
        <pc:grpChg chg="add mod">
          <ac:chgData name="Heinrich, Erik" userId="9d6b26bc-55d6-48ff-b9bb-b1ddf0151725" providerId="ADAL" clId="{AE694019-EEB4-4507-B065-1A8FA0AA931F}" dt="2024-09-17T12:48:04.803" v="647" actId="1076"/>
          <ac:grpSpMkLst>
            <pc:docMk/>
            <pc:sldMk cId="1918519848" sldId="2147483611"/>
            <ac:grpSpMk id="471" creationId="{9B95E7D5-28C9-ACCA-D785-F62B64E42A59}"/>
          </ac:grpSpMkLst>
        </pc:grpChg>
        <pc:grpChg chg="mod">
          <ac:chgData name="Heinrich, Erik" userId="9d6b26bc-55d6-48ff-b9bb-b1ddf0151725" providerId="ADAL" clId="{AE694019-EEB4-4507-B065-1A8FA0AA931F}" dt="2024-09-17T12:47:59.679" v="646"/>
          <ac:grpSpMkLst>
            <pc:docMk/>
            <pc:sldMk cId="1918519848" sldId="2147483611"/>
            <ac:grpSpMk id="472" creationId="{19D75D33-F704-606F-2D6D-3570A3F6CB58}"/>
          </ac:grpSpMkLst>
        </pc:grpChg>
        <pc:grpChg chg="mod">
          <ac:chgData name="Heinrich, Erik" userId="9d6b26bc-55d6-48ff-b9bb-b1ddf0151725" providerId="ADAL" clId="{AE694019-EEB4-4507-B065-1A8FA0AA931F}" dt="2024-09-17T12:47:59.679" v="646"/>
          <ac:grpSpMkLst>
            <pc:docMk/>
            <pc:sldMk cId="1918519848" sldId="2147483611"/>
            <ac:grpSpMk id="473" creationId="{D0E0EFEA-30FD-9B91-8559-5A4FA34FD8FB}"/>
          </ac:grpSpMkLst>
        </pc:grpChg>
        <pc:grpChg chg="mod">
          <ac:chgData name="Heinrich, Erik" userId="9d6b26bc-55d6-48ff-b9bb-b1ddf0151725" providerId="ADAL" clId="{AE694019-EEB4-4507-B065-1A8FA0AA931F}" dt="2024-09-17T12:47:59.679" v="646"/>
          <ac:grpSpMkLst>
            <pc:docMk/>
            <pc:sldMk cId="1918519848" sldId="2147483611"/>
            <ac:grpSpMk id="474" creationId="{BA63217B-8B33-05DB-8EE8-A0E28E50DD90}"/>
          </ac:grpSpMkLst>
        </pc:grpChg>
        <pc:grpChg chg="mod">
          <ac:chgData name="Heinrich, Erik" userId="9d6b26bc-55d6-48ff-b9bb-b1ddf0151725" providerId="ADAL" clId="{AE694019-EEB4-4507-B065-1A8FA0AA931F}" dt="2024-09-17T12:47:59.679" v="646"/>
          <ac:grpSpMkLst>
            <pc:docMk/>
            <pc:sldMk cId="1918519848" sldId="2147483611"/>
            <ac:grpSpMk id="475" creationId="{293257F7-13A5-5F70-3925-F03AA9304C82}"/>
          </ac:grpSpMkLst>
        </pc:grpChg>
        <pc:grpChg chg="mod">
          <ac:chgData name="Heinrich, Erik" userId="9d6b26bc-55d6-48ff-b9bb-b1ddf0151725" providerId="ADAL" clId="{AE694019-EEB4-4507-B065-1A8FA0AA931F}" dt="2024-09-17T12:47:59.679" v="646"/>
          <ac:grpSpMkLst>
            <pc:docMk/>
            <pc:sldMk cId="1918519848" sldId="2147483611"/>
            <ac:grpSpMk id="476" creationId="{D532C2A2-72A8-86A4-569F-CC70BF1D25B6}"/>
          </ac:grpSpMkLst>
        </pc:grpChg>
      </pc:sldChg>
      <pc:sldChg chg="ord">
        <pc:chgData name="Heinrich, Erik" userId="9d6b26bc-55d6-48ff-b9bb-b1ddf0151725" providerId="ADAL" clId="{AE694019-EEB4-4507-B065-1A8FA0AA931F}" dt="2024-09-17T12:49:17.925" v="654"/>
        <pc:sldMkLst>
          <pc:docMk/>
          <pc:sldMk cId="198666571" sldId="2147483618"/>
        </pc:sldMkLst>
      </pc:sldChg>
      <pc:sldChg chg="modSp mod modShow">
        <pc:chgData name="Heinrich, Erik" userId="9d6b26bc-55d6-48ff-b9bb-b1ddf0151725" providerId="ADAL" clId="{AE694019-EEB4-4507-B065-1A8FA0AA931F}" dt="2024-09-17T12:06:47.994" v="466" actId="729"/>
        <pc:sldMkLst>
          <pc:docMk/>
          <pc:sldMk cId="1770240815" sldId="2147483619"/>
        </pc:sldMkLst>
        <pc:spChg chg="mod">
          <ac:chgData name="Heinrich, Erik" userId="9d6b26bc-55d6-48ff-b9bb-b1ddf0151725" providerId="ADAL" clId="{AE694019-EEB4-4507-B065-1A8FA0AA931F}" dt="2024-09-12T09:56:39.774" v="266" actId="404"/>
          <ac:spMkLst>
            <pc:docMk/>
            <pc:sldMk cId="1770240815" sldId="2147483619"/>
            <ac:spMk id="2" creationId="{E38E81FA-BD36-D246-A0BA-94256E3D831A}"/>
          </ac:spMkLst>
        </pc:spChg>
      </pc:sldChg>
      <pc:sldChg chg="modSp mod modShow">
        <pc:chgData name="Heinrich, Erik" userId="9d6b26bc-55d6-48ff-b9bb-b1ddf0151725" providerId="ADAL" clId="{AE694019-EEB4-4507-B065-1A8FA0AA931F}" dt="2024-09-17T15:02:05.708" v="2162" actId="20577"/>
        <pc:sldMkLst>
          <pc:docMk/>
          <pc:sldMk cId="1360599850" sldId="2147483620"/>
        </pc:sldMkLst>
        <pc:spChg chg="mod">
          <ac:chgData name="Heinrich, Erik" userId="9d6b26bc-55d6-48ff-b9bb-b1ddf0151725" providerId="ADAL" clId="{AE694019-EEB4-4507-B065-1A8FA0AA931F}" dt="2024-09-17T15:02:05.708" v="2162" actId="20577"/>
          <ac:spMkLst>
            <pc:docMk/>
            <pc:sldMk cId="1360599850" sldId="2147483620"/>
            <ac:spMk id="4" creationId="{00000000-0000-0000-0000-000000000000}"/>
          </ac:spMkLst>
        </pc:spChg>
      </pc:sldChg>
      <pc:sldChg chg="new del">
        <pc:chgData name="Heinrich, Erik" userId="9d6b26bc-55d6-48ff-b9bb-b1ddf0151725" providerId="ADAL" clId="{AE694019-EEB4-4507-B065-1A8FA0AA931F}" dt="2024-09-12T09:57:14.921" v="269" actId="47"/>
        <pc:sldMkLst>
          <pc:docMk/>
          <pc:sldMk cId="3690759055" sldId="2147483629"/>
        </pc:sldMkLst>
      </pc:sldChg>
    </pc:docChg>
  </pc:docChgLst>
  <pc:docChgLst>
    <pc:chgData name="Pfeil, Alex" userId="ba9e60fb-e013-4dfa-96fe-c8a1b8e61dcf" providerId="ADAL" clId="{32D4F8FA-0903-4F1F-8B30-6D827B0C7B99}"/>
    <pc:docChg chg="custSel modMainMaster">
      <pc:chgData name="Pfeil, Alex" userId="ba9e60fb-e013-4dfa-96fe-c8a1b8e61dcf" providerId="ADAL" clId="{32D4F8FA-0903-4F1F-8B30-6D827B0C7B99}" dt="2024-11-11T14:14:01.283" v="21" actId="139"/>
      <pc:docMkLst>
        <pc:docMk/>
      </pc:docMkLst>
      <pc:sldMasterChg chg="modSldLayout">
        <pc:chgData name="Pfeil, Alex" userId="ba9e60fb-e013-4dfa-96fe-c8a1b8e61dcf" providerId="ADAL" clId="{32D4F8FA-0903-4F1F-8B30-6D827B0C7B99}" dt="2024-11-11T14:14:01.283" v="21" actId="139"/>
        <pc:sldMasterMkLst>
          <pc:docMk/>
          <pc:sldMasterMk cId="3408294523" sldId="2147483733"/>
        </pc:sldMasterMkLst>
        <pc:sldLayoutChg chg="modSp mod">
          <pc:chgData name="Pfeil, Alex" userId="ba9e60fb-e013-4dfa-96fe-c8a1b8e61dcf" providerId="ADAL" clId="{32D4F8FA-0903-4F1F-8B30-6D827B0C7B99}" dt="2024-11-11T14:14:01.137" v="1" actId="139"/>
          <pc:sldLayoutMkLst>
            <pc:docMk/>
            <pc:sldMasterMk cId="3408294523" sldId="2147483733"/>
            <pc:sldLayoutMk cId="1982410628" sldId="2147483773"/>
          </pc:sldLayoutMkLst>
          <pc:spChg chg="mod">
            <ac:chgData name="Pfeil, Alex" userId="ba9e60fb-e013-4dfa-96fe-c8a1b8e61dcf" providerId="ADAL" clId="{32D4F8FA-0903-4F1F-8B30-6D827B0C7B99}" dt="2024-11-11T14:14:01.137" v="1" actId="139"/>
            <ac:spMkLst>
              <pc:docMk/>
              <pc:sldMasterMk cId="3408294523" sldId="2147483733"/>
              <pc:sldLayoutMk cId="1982410628" sldId="2147483773"/>
              <ac:spMk id="6" creationId="{870EB466-B92B-9D4D-974E-A49C0F424152}"/>
            </ac:spMkLst>
          </pc:spChg>
        </pc:sldLayoutChg>
        <pc:sldLayoutChg chg="modSp mod">
          <pc:chgData name="Pfeil, Alex" userId="ba9e60fb-e013-4dfa-96fe-c8a1b8e61dcf" providerId="ADAL" clId="{32D4F8FA-0903-4F1F-8B30-6D827B0C7B99}" dt="2024-11-11T14:14:01.184" v="7" actId="139"/>
          <pc:sldLayoutMkLst>
            <pc:docMk/>
            <pc:sldMasterMk cId="3408294523" sldId="2147483733"/>
            <pc:sldLayoutMk cId="1084997862" sldId="2147483777"/>
          </pc:sldLayoutMkLst>
          <pc:spChg chg="mod">
            <ac:chgData name="Pfeil, Alex" userId="ba9e60fb-e013-4dfa-96fe-c8a1b8e61dcf" providerId="ADAL" clId="{32D4F8FA-0903-4F1F-8B30-6D827B0C7B99}" dt="2024-11-11T14:14:01.184" v="7" actId="139"/>
            <ac:spMkLst>
              <pc:docMk/>
              <pc:sldMasterMk cId="3408294523" sldId="2147483733"/>
              <pc:sldLayoutMk cId="1084997862" sldId="2147483777"/>
              <ac:spMk id="4" creationId="{13EDB9F6-FBDA-8ED8-A84B-244CC53CFF99}"/>
            </ac:spMkLst>
          </pc:spChg>
        </pc:sldLayoutChg>
        <pc:sldLayoutChg chg="modSp mod">
          <pc:chgData name="Pfeil, Alex" userId="ba9e60fb-e013-4dfa-96fe-c8a1b8e61dcf" providerId="ADAL" clId="{32D4F8FA-0903-4F1F-8B30-6D827B0C7B99}" dt="2024-11-11T14:14:01.155" v="3" actId="139"/>
          <pc:sldLayoutMkLst>
            <pc:docMk/>
            <pc:sldMasterMk cId="3408294523" sldId="2147483733"/>
            <pc:sldLayoutMk cId="2667257257" sldId="2147483780"/>
          </pc:sldLayoutMkLst>
          <pc:spChg chg="mod">
            <ac:chgData name="Pfeil, Alex" userId="ba9e60fb-e013-4dfa-96fe-c8a1b8e61dcf" providerId="ADAL" clId="{32D4F8FA-0903-4F1F-8B30-6D827B0C7B99}" dt="2024-11-11T14:14:01.155" v="3" actId="139"/>
            <ac:spMkLst>
              <pc:docMk/>
              <pc:sldMasterMk cId="3408294523" sldId="2147483733"/>
              <pc:sldLayoutMk cId="2667257257" sldId="2147483780"/>
              <ac:spMk id="7" creationId="{1D05DC80-84C9-9ECA-3B84-3577D8D81659}"/>
            </ac:spMkLst>
          </pc:spChg>
        </pc:sldLayoutChg>
        <pc:sldLayoutChg chg="modSp mod">
          <pc:chgData name="Pfeil, Alex" userId="ba9e60fb-e013-4dfa-96fe-c8a1b8e61dcf" providerId="ADAL" clId="{32D4F8FA-0903-4F1F-8B30-6D827B0C7B99}" dt="2024-11-11T14:14:01.170" v="5" actId="139"/>
          <pc:sldLayoutMkLst>
            <pc:docMk/>
            <pc:sldMasterMk cId="3408294523" sldId="2147483733"/>
            <pc:sldLayoutMk cId="277845837" sldId="2147483787"/>
          </pc:sldLayoutMkLst>
          <pc:spChg chg="mod">
            <ac:chgData name="Pfeil, Alex" userId="ba9e60fb-e013-4dfa-96fe-c8a1b8e61dcf" providerId="ADAL" clId="{32D4F8FA-0903-4F1F-8B30-6D827B0C7B99}" dt="2024-11-11T14:14:01.170" v="5" actId="139"/>
            <ac:spMkLst>
              <pc:docMk/>
              <pc:sldMasterMk cId="3408294523" sldId="2147483733"/>
              <pc:sldLayoutMk cId="277845837" sldId="2147483787"/>
              <ac:spMk id="8" creationId="{F1333C1B-AD40-D53A-5A1E-EFB8C6390D49}"/>
            </ac:spMkLst>
          </pc:spChg>
        </pc:sldLayoutChg>
        <pc:sldLayoutChg chg="modSp mod">
          <pc:chgData name="Pfeil, Alex" userId="ba9e60fb-e013-4dfa-96fe-c8a1b8e61dcf" providerId="ADAL" clId="{32D4F8FA-0903-4F1F-8B30-6D827B0C7B99}" dt="2024-11-11T14:14:01.199" v="9" actId="139"/>
          <pc:sldLayoutMkLst>
            <pc:docMk/>
            <pc:sldMasterMk cId="3408294523" sldId="2147483733"/>
            <pc:sldLayoutMk cId="2183850539" sldId="2147483788"/>
          </pc:sldLayoutMkLst>
          <pc:spChg chg="mod">
            <ac:chgData name="Pfeil, Alex" userId="ba9e60fb-e013-4dfa-96fe-c8a1b8e61dcf" providerId="ADAL" clId="{32D4F8FA-0903-4F1F-8B30-6D827B0C7B99}" dt="2024-11-11T14:14:01.199" v="9" actId="139"/>
            <ac:spMkLst>
              <pc:docMk/>
              <pc:sldMasterMk cId="3408294523" sldId="2147483733"/>
              <pc:sldLayoutMk cId="2183850539" sldId="2147483788"/>
              <ac:spMk id="9" creationId="{CE0C2033-6FDF-7DD6-E25C-C03296FDAD00}"/>
            </ac:spMkLst>
          </pc:spChg>
        </pc:sldLayoutChg>
        <pc:sldLayoutChg chg="modSp mod">
          <pc:chgData name="Pfeil, Alex" userId="ba9e60fb-e013-4dfa-96fe-c8a1b8e61dcf" providerId="ADAL" clId="{32D4F8FA-0903-4F1F-8B30-6D827B0C7B99}" dt="2024-11-11T14:14:01.214" v="11" actId="139"/>
          <pc:sldLayoutMkLst>
            <pc:docMk/>
            <pc:sldMasterMk cId="3408294523" sldId="2147483733"/>
            <pc:sldLayoutMk cId="1554761476" sldId="2147483789"/>
          </pc:sldLayoutMkLst>
          <pc:spChg chg="mod">
            <ac:chgData name="Pfeil, Alex" userId="ba9e60fb-e013-4dfa-96fe-c8a1b8e61dcf" providerId="ADAL" clId="{32D4F8FA-0903-4F1F-8B30-6D827B0C7B99}" dt="2024-11-11T14:14:01.214" v="11" actId="139"/>
            <ac:spMkLst>
              <pc:docMk/>
              <pc:sldMasterMk cId="3408294523" sldId="2147483733"/>
              <pc:sldLayoutMk cId="1554761476" sldId="2147483789"/>
              <ac:spMk id="11" creationId="{62D91ACB-BD14-46CB-4B61-F4B072D877C0}"/>
            </ac:spMkLst>
          </pc:spChg>
        </pc:sldLayoutChg>
        <pc:sldLayoutChg chg="modSp mod">
          <pc:chgData name="Pfeil, Alex" userId="ba9e60fb-e013-4dfa-96fe-c8a1b8e61dcf" providerId="ADAL" clId="{32D4F8FA-0903-4F1F-8B30-6D827B0C7B99}" dt="2024-11-11T14:14:01.228" v="13" actId="139"/>
          <pc:sldLayoutMkLst>
            <pc:docMk/>
            <pc:sldMasterMk cId="3408294523" sldId="2147483733"/>
            <pc:sldLayoutMk cId="1315975548" sldId="2147483790"/>
          </pc:sldLayoutMkLst>
          <pc:spChg chg="mod">
            <ac:chgData name="Pfeil, Alex" userId="ba9e60fb-e013-4dfa-96fe-c8a1b8e61dcf" providerId="ADAL" clId="{32D4F8FA-0903-4F1F-8B30-6D827B0C7B99}" dt="2024-11-11T14:14:01.228" v="13" actId="139"/>
            <ac:spMkLst>
              <pc:docMk/>
              <pc:sldMasterMk cId="3408294523" sldId="2147483733"/>
              <pc:sldLayoutMk cId="1315975548" sldId="2147483790"/>
              <ac:spMk id="3" creationId="{D417CEF6-1FCD-75B6-FA13-C583ECCE7BE5}"/>
            </ac:spMkLst>
          </pc:spChg>
        </pc:sldLayoutChg>
        <pc:sldLayoutChg chg="modSp mod">
          <pc:chgData name="Pfeil, Alex" userId="ba9e60fb-e013-4dfa-96fe-c8a1b8e61dcf" providerId="ADAL" clId="{32D4F8FA-0903-4F1F-8B30-6D827B0C7B99}" dt="2024-11-11T14:14:01.240" v="15" actId="139"/>
          <pc:sldLayoutMkLst>
            <pc:docMk/>
            <pc:sldMasterMk cId="3408294523" sldId="2147483733"/>
            <pc:sldLayoutMk cId="4293282121" sldId="2147483791"/>
          </pc:sldLayoutMkLst>
          <pc:spChg chg="mod">
            <ac:chgData name="Pfeil, Alex" userId="ba9e60fb-e013-4dfa-96fe-c8a1b8e61dcf" providerId="ADAL" clId="{32D4F8FA-0903-4F1F-8B30-6D827B0C7B99}" dt="2024-11-11T14:14:01.240" v="15" actId="139"/>
            <ac:spMkLst>
              <pc:docMk/>
              <pc:sldMasterMk cId="3408294523" sldId="2147483733"/>
              <pc:sldLayoutMk cId="4293282121" sldId="2147483791"/>
              <ac:spMk id="3" creationId="{D67AB148-356D-F356-4E6C-9664D9EB9DF3}"/>
            </ac:spMkLst>
          </pc:spChg>
        </pc:sldLayoutChg>
        <pc:sldLayoutChg chg="modSp mod">
          <pc:chgData name="Pfeil, Alex" userId="ba9e60fb-e013-4dfa-96fe-c8a1b8e61dcf" providerId="ADAL" clId="{32D4F8FA-0903-4F1F-8B30-6D827B0C7B99}" dt="2024-11-11T14:14:01.255" v="17" actId="139"/>
          <pc:sldLayoutMkLst>
            <pc:docMk/>
            <pc:sldMasterMk cId="3408294523" sldId="2147483733"/>
            <pc:sldLayoutMk cId="2910220013" sldId="2147483792"/>
          </pc:sldLayoutMkLst>
          <pc:spChg chg="mod">
            <ac:chgData name="Pfeil, Alex" userId="ba9e60fb-e013-4dfa-96fe-c8a1b8e61dcf" providerId="ADAL" clId="{32D4F8FA-0903-4F1F-8B30-6D827B0C7B99}" dt="2024-11-11T14:14:01.255" v="17" actId="139"/>
            <ac:spMkLst>
              <pc:docMk/>
              <pc:sldMasterMk cId="3408294523" sldId="2147483733"/>
              <pc:sldLayoutMk cId="2910220013" sldId="2147483792"/>
              <ac:spMk id="3" creationId="{BBFBBDC3-D031-6041-465D-9F7147F423CF}"/>
            </ac:spMkLst>
          </pc:spChg>
        </pc:sldLayoutChg>
        <pc:sldLayoutChg chg="modSp mod">
          <pc:chgData name="Pfeil, Alex" userId="ba9e60fb-e013-4dfa-96fe-c8a1b8e61dcf" providerId="ADAL" clId="{32D4F8FA-0903-4F1F-8B30-6D827B0C7B99}" dt="2024-11-11T14:14:01.270" v="19" actId="139"/>
          <pc:sldLayoutMkLst>
            <pc:docMk/>
            <pc:sldMasterMk cId="3408294523" sldId="2147483733"/>
            <pc:sldLayoutMk cId="1043655704" sldId="2147483793"/>
          </pc:sldLayoutMkLst>
          <pc:spChg chg="mod">
            <ac:chgData name="Pfeil, Alex" userId="ba9e60fb-e013-4dfa-96fe-c8a1b8e61dcf" providerId="ADAL" clId="{32D4F8FA-0903-4F1F-8B30-6D827B0C7B99}" dt="2024-11-11T14:14:01.270" v="19" actId="139"/>
            <ac:spMkLst>
              <pc:docMk/>
              <pc:sldMasterMk cId="3408294523" sldId="2147483733"/>
              <pc:sldLayoutMk cId="1043655704" sldId="2147483793"/>
              <ac:spMk id="3" creationId="{4A078429-99DD-7555-B0F4-FEF46FD297B0}"/>
            </ac:spMkLst>
          </pc:spChg>
        </pc:sldLayoutChg>
        <pc:sldLayoutChg chg="modSp mod">
          <pc:chgData name="Pfeil, Alex" userId="ba9e60fb-e013-4dfa-96fe-c8a1b8e61dcf" providerId="ADAL" clId="{32D4F8FA-0903-4F1F-8B30-6D827B0C7B99}" dt="2024-11-11T14:14:01.283" v="21" actId="139"/>
          <pc:sldLayoutMkLst>
            <pc:docMk/>
            <pc:sldMasterMk cId="3408294523" sldId="2147483733"/>
            <pc:sldLayoutMk cId="1979749642" sldId="2147483794"/>
          </pc:sldLayoutMkLst>
          <pc:spChg chg="mod">
            <ac:chgData name="Pfeil, Alex" userId="ba9e60fb-e013-4dfa-96fe-c8a1b8e61dcf" providerId="ADAL" clId="{32D4F8FA-0903-4F1F-8B30-6D827B0C7B99}" dt="2024-11-11T14:14:01.283" v="21" actId="139"/>
            <ac:spMkLst>
              <pc:docMk/>
              <pc:sldMasterMk cId="3408294523" sldId="2147483733"/>
              <pc:sldLayoutMk cId="1979749642" sldId="2147483794"/>
              <ac:spMk id="5" creationId="{7A6CB977-D711-D436-9DC2-AAFCC56F9CAA}"/>
            </ac:spMkLst>
          </pc:spChg>
        </pc:sldLayoutChg>
      </pc:sldMasterChg>
    </pc:docChg>
  </pc:docChgLst>
  <pc:docChgLst>
    <pc:chgData name="Pfeil, Alex" userId="ba9e60fb-e013-4dfa-96fe-c8a1b8e61dcf" providerId="ADAL" clId="{ADB53161-8226-4CAE-8743-85A246841F46}"/>
    <pc:docChg chg="undo redo custSel addSld delSld modSld sldOrd modSection">
      <pc:chgData name="Pfeil, Alex" userId="ba9e60fb-e013-4dfa-96fe-c8a1b8e61dcf" providerId="ADAL" clId="{ADB53161-8226-4CAE-8743-85A246841F46}" dt="2024-10-10T12:14:57.123" v="7097" actId="20577"/>
      <pc:docMkLst>
        <pc:docMk/>
      </pc:docMkLst>
      <pc:sldChg chg="add">
        <pc:chgData name="Pfeil, Alex" userId="ba9e60fb-e013-4dfa-96fe-c8a1b8e61dcf" providerId="ADAL" clId="{ADB53161-8226-4CAE-8743-85A246841F46}" dt="2024-09-23T12:40:33.614" v="6986"/>
        <pc:sldMkLst>
          <pc:docMk/>
          <pc:sldMk cId="671942490" sldId="268"/>
        </pc:sldMkLst>
      </pc:sldChg>
      <pc:sldChg chg="delSp add del mod">
        <pc:chgData name="Pfeil, Alex" userId="ba9e60fb-e013-4dfa-96fe-c8a1b8e61dcf" providerId="ADAL" clId="{ADB53161-8226-4CAE-8743-85A246841F46}" dt="2024-09-25T14:49:28.818" v="7027" actId="47"/>
        <pc:sldMkLst>
          <pc:docMk/>
          <pc:sldMk cId="3053168907" sldId="271"/>
        </pc:sldMkLst>
      </pc:sldChg>
      <pc:sldChg chg="modSp add del mod">
        <pc:chgData name="Pfeil, Alex" userId="ba9e60fb-e013-4dfa-96fe-c8a1b8e61dcf" providerId="ADAL" clId="{ADB53161-8226-4CAE-8743-85A246841F46}" dt="2024-09-25T14:15:56.442" v="7004" actId="47"/>
        <pc:sldMkLst>
          <pc:docMk/>
          <pc:sldMk cId="3250445274" sldId="271"/>
        </pc:sldMkLst>
      </pc:sldChg>
      <pc:sldChg chg="modSp add mod">
        <pc:chgData name="Pfeil, Alex" userId="ba9e60fb-e013-4dfa-96fe-c8a1b8e61dcf" providerId="ADAL" clId="{ADB53161-8226-4CAE-8743-85A246841F46}" dt="2024-09-25T14:49:38.293" v="7047" actId="20577"/>
        <pc:sldMkLst>
          <pc:docMk/>
          <pc:sldMk cId="3779787208" sldId="271"/>
        </pc:sldMkLst>
        <pc:spChg chg="mod">
          <ac:chgData name="Pfeil, Alex" userId="ba9e60fb-e013-4dfa-96fe-c8a1b8e61dcf" providerId="ADAL" clId="{ADB53161-8226-4CAE-8743-85A246841F46}" dt="2024-09-25T14:49:38.293" v="7047" actId="20577"/>
          <ac:spMkLst>
            <pc:docMk/>
            <pc:sldMk cId="3779787208" sldId="271"/>
            <ac:spMk id="3" creationId="{00000000-0000-0000-0000-000000000000}"/>
          </ac:spMkLst>
        </pc:spChg>
      </pc:sldChg>
      <pc:sldChg chg="modSp add mod">
        <pc:chgData name="Pfeil, Alex" userId="ba9e60fb-e013-4dfa-96fe-c8a1b8e61dcf" providerId="ADAL" clId="{ADB53161-8226-4CAE-8743-85A246841F46}" dt="2024-10-10T12:14:57.123" v="7097" actId="20577"/>
        <pc:sldMkLst>
          <pc:docMk/>
          <pc:sldMk cId="3796314771" sldId="5977"/>
        </pc:sldMkLst>
        <pc:spChg chg="mod">
          <ac:chgData name="Pfeil, Alex" userId="ba9e60fb-e013-4dfa-96fe-c8a1b8e61dcf" providerId="ADAL" clId="{ADB53161-8226-4CAE-8743-85A246841F46}" dt="2024-10-10T12:14:57.123" v="7097" actId="20577"/>
          <ac:spMkLst>
            <pc:docMk/>
            <pc:sldMk cId="3796314771" sldId="5977"/>
            <ac:spMk id="99" creationId="{774D0151-4C12-866C-3562-C384B82C5762}"/>
          </ac:spMkLst>
        </pc:spChg>
      </pc:sldChg>
      <pc:sldChg chg="add">
        <pc:chgData name="Pfeil, Alex" userId="ba9e60fb-e013-4dfa-96fe-c8a1b8e61dcf" providerId="ADAL" clId="{ADB53161-8226-4CAE-8743-85A246841F46}" dt="2024-08-29T13:08:06.593" v="5848"/>
        <pc:sldMkLst>
          <pc:docMk/>
          <pc:sldMk cId="1484706091" sldId="2146846841"/>
        </pc:sldMkLst>
      </pc:sldChg>
      <pc:sldChg chg="add del">
        <pc:chgData name="Pfeil, Alex" userId="ba9e60fb-e013-4dfa-96fe-c8a1b8e61dcf" providerId="ADAL" clId="{ADB53161-8226-4CAE-8743-85A246841F46}" dt="2024-08-29T13:08:01.774" v="5847" actId="2696"/>
        <pc:sldMkLst>
          <pc:docMk/>
          <pc:sldMk cId="3673041118" sldId="2146846841"/>
        </pc:sldMkLst>
      </pc:sldChg>
      <pc:sldChg chg="add">
        <pc:chgData name="Pfeil, Alex" userId="ba9e60fb-e013-4dfa-96fe-c8a1b8e61dcf" providerId="ADAL" clId="{ADB53161-8226-4CAE-8743-85A246841F46}" dt="2024-08-23T07:26:50.401" v="154"/>
        <pc:sldMkLst>
          <pc:docMk/>
          <pc:sldMk cId="2030712410" sldId="2147483343"/>
        </pc:sldMkLst>
      </pc:sldChg>
      <pc:sldChg chg="add">
        <pc:chgData name="Pfeil, Alex" userId="ba9e60fb-e013-4dfa-96fe-c8a1b8e61dcf" providerId="ADAL" clId="{ADB53161-8226-4CAE-8743-85A246841F46}" dt="2024-08-23T07:26:50.401" v="154"/>
        <pc:sldMkLst>
          <pc:docMk/>
          <pc:sldMk cId="501282199" sldId="2147483349"/>
        </pc:sldMkLst>
      </pc:sldChg>
      <pc:sldChg chg="add">
        <pc:chgData name="Pfeil, Alex" userId="ba9e60fb-e013-4dfa-96fe-c8a1b8e61dcf" providerId="ADAL" clId="{ADB53161-8226-4CAE-8743-85A246841F46}" dt="2024-08-23T07:27:36.938" v="157"/>
        <pc:sldMkLst>
          <pc:docMk/>
          <pc:sldMk cId="3518595812" sldId="2147483543"/>
        </pc:sldMkLst>
      </pc:sldChg>
      <pc:sldChg chg="modSp add mod">
        <pc:chgData name="Pfeil, Alex" userId="ba9e60fb-e013-4dfa-96fe-c8a1b8e61dcf" providerId="ADAL" clId="{ADB53161-8226-4CAE-8743-85A246841F46}" dt="2024-09-12T13:20:35.498" v="6978" actId="20577"/>
        <pc:sldMkLst>
          <pc:docMk/>
          <pc:sldMk cId="415360469" sldId="2147483550"/>
        </pc:sldMkLst>
        <pc:spChg chg="mod">
          <ac:chgData name="Pfeil, Alex" userId="ba9e60fb-e013-4dfa-96fe-c8a1b8e61dcf" providerId="ADAL" clId="{ADB53161-8226-4CAE-8743-85A246841F46}" dt="2024-09-12T13:20:35.498" v="6978" actId="20577"/>
          <ac:spMkLst>
            <pc:docMk/>
            <pc:sldMk cId="415360469" sldId="2147483550"/>
            <ac:spMk id="3" creationId="{218F95E8-9D79-30C9-01A2-CDF506BF39EF}"/>
          </ac:spMkLst>
        </pc:spChg>
      </pc:sldChg>
      <pc:sldChg chg="add">
        <pc:chgData name="Pfeil, Alex" userId="ba9e60fb-e013-4dfa-96fe-c8a1b8e61dcf" providerId="ADAL" clId="{ADB53161-8226-4CAE-8743-85A246841F46}" dt="2024-08-23T07:26:50.401" v="154"/>
        <pc:sldMkLst>
          <pc:docMk/>
          <pc:sldMk cId="3855521414" sldId="2147483552"/>
        </pc:sldMkLst>
      </pc:sldChg>
      <pc:sldChg chg="add">
        <pc:chgData name="Pfeil, Alex" userId="ba9e60fb-e013-4dfa-96fe-c8a1b8e61dcf" providerId="ADAL" clId="{ADB53161-8226-4CAE-8743-85A246841F46}" dt="2024-08-23T07:26:50.401" v="154"/>
        <pc:sldMkLst>
          <pc:docMk/>
          <pc:sldMk cId="1747391950" sldId="2147483557"/>
        </pc:sldMkLst>
      </pc:sldChg>
      <pc:sldChg chg="add">
        <pc:chgData name="Pfeil, Alex" userId="ba9e60fb-e013-4dfa-96fe-c8a1b8e61dcf" providerId="ADAL" clId="{ADB53161-8226-4CAE-8743-85A246841F46}" dt="2024-08-23T07:26:50.401" v="154"/>
        <pc:sldMkLst>
          <pc:docMk/>
          <pc:sldMk cId="4277530577" sldId="2147483558"/>
        </pc:sldMkLst>
      </pc:sldChg>
      <pc:sldChg chg="add">
        <pc:chgData name="Pfeil, Alex" userId="ba9e60fb-e013-4dfa-96fe-c8a1b8e61dcf" providerId="ADAL" clId="{ADB53161-8226-4CAE-8743-85A246841F46}" dt="2024-08-23T07:26:50.401" v="154"/>
        <pc:sldMkLst>
          <pc:docMk/>
          <pc:sldMk cId="1985357591" sldId="2147483559"/>
        </pc:sldMkLst>
      </pc:sldChg>
      <pc:sldChg chg="add">
        <pc:chgData name="Pfeil, Alex" userId="ba9e60fb-e013-4dfa-96fe-c8a1b8e61dcf" providerId="ADAL" clId="{ADB53161-8226-4CAE-8743-85A246841F46}" dt="2024-08-23T07:26:50.401" v="154"/>
        <pc:sldMkLst>
          <pc:docMk/>
          <pc:sldMk cId="1105934018" sldId="2147483561"/>
        </pc:sldMkLst>
      </pc:sldChg>
      <pc:sldChg chg="add">
        <pc:chgData name="Pfeil, Alex" userId="ba9e60fb-e013-4dfa-96fe-c8a1b8e61dcf" providerId="ADAL" clId="{ADB53161-8226-4CAE-8743-85A246841F46}" dt="2024-08-23T07:26:50.401" v="154"/>
        <pc:sldMkLst>
          <pc:docMk/>
          <pc:sldMk cId="2621800400" sldId="2147483562"/>
        </pc:sldMkLst>
      </pc:sldChg>
      <pc:sldChg chg="add del">
        <pc:chgData name="Pfeil, Alex" userId="ba9e60fb-e013-4dfa-96fe-c8a1b8e61dcf" providerId="ADAL" clId="{ADB53161-8226-4CAE-8743-85A246841F46}" dt="2024-08-29T13:08:01.774" v="5847" actId="2696"/>
        <pc:sldMkLst>
          <pc:docMk/>
          <pc:sldMk cId="2428350429" sldId="2147483564"/>
        </pc:sldMkLst>
      </pc:sldChg>
      <pc:sldChg chg="add del ord">
        <pc:chgData name="Pfeil, Alex" userId="ba9e60fb-e013-4dfa-96fe-c8a1b8e61dcf" providerId="ADAL" clId="{ADB53161-8226-4CAE-8743-85A246841F46}" dt="2024-09-12T13:26:44.254" v="6984" actId="47"/>
        <pc:sldMkLst>
          <pc:docMk/>
          <pc:sldMk cId="3967721258" sldId="2147483564"/>
        </pc:sldMkLst>
      </pc:sldChg>
      <pc:sldChg chg="add del">
        <pc:chgData name="Pfeil, Alex" userId="ba9e60fb-e013-4dfa-96fe-c8a1b8e61dcf" providerId="ADAL" clId="{ADB53161-8226-4CAE-8743-85A246841F46}" dt="2024-08-29T13:08:01.774" v="5847" actId="2696"/>
        <pc:sldMkLst>
          <pc:docMk/>
          <pc:sldMk cId="686978618" sldId="2147483570"/>
        </pc:sldMkLst>
      </pc:sldChg>
      <pc:sldChg chg="add">
        <pc:chgData name="Pfeil, Alex" userId="ba9e60fb-e013-4dfa-96fe-c8a1b8e61dcf" providerId="ADAL" clId="{ADB53161-8226-4CAE-8743-85A246841F46}" dt="2024-08-29T13:08:06.593" v="5848"/>
        <pc:sldMkLst>
          <pc:docMk/>
          <pc:sldMk cId="4095325255" sldId="2147483570"/>
        </pc:sldMkLst>
      </pc:sldChg>
      <pc:sldChg chg="modSp add mod">
        <pc:chgData name="Pfeil, Alex" userId="ba9e60fb-e013-4dfa-96fe-c8a1b8e61dcf" providerId="ADAL" clId="{ADB53161-8226-4CAE-8743-85A246841F46}" dt="2024-10-10T11:58:59.097" v="7054" actId="20577"/>
        <pc:sldMkLst>
          <pc:docMk/>
          <pc:sldMk cId="4237681256" sldId="2147483572"/>
        </pc:sldMkLst>
        <pc:spChg chg="mod">
          <ac:chgData name="Pfeil, Alex" userId="ba9e60fb-e013-4dfa-96fe-c8a1b8e61dcf" providerId="ADAL" clId="{ADB53161-8226-4CAE-8743-85A246841F46}" dt="2024-10-10T11:58:59.097" v="7054" actId="20577"/>
          <ac:spMkLst>
            <pc:docMk/>
            <pc:sldMk cId="4237681256" sldId="2147483572"/>
            <ac:spMk id="2" creationId="{C59EC54C-499D-D1FC-FEC2-9434B244F4E0}"/>
          </ac:spMkLst>
        </pc:spChg>
      </pc:sldChg>
      <pc:sldChg chg="add">
        <pc:chgData name="Pfeil, Alex" userId="ba9e60fb-e013-4dfa-96fe-c8a1b8e61dcf" providerId="ADAL" clId="{ADB53161-8226-4CAE-8743-85A246841F46}" dt="2024-08-29T13:08:06.593" v="5848"/>
        <pc:sldMkLst>
          <pc:docMk/>
          <pc:sldMk cId="1785096362" sldId="2147483575"/>
        </pc:sldMkLst>
      </pc:sldChg>
      <pc:sldChg chg="add del">
        <pc:chgData name="Pfeil, Alex" userId="ba9e60fb-e013-4dfa-96fe-c8a1b8e61dcf" providerId="ADAL" clId="{ADB53161-8226-4CAE-8743-85A246841F46}" dt="2024-08-29T13:08:01.774" v="5847" actId="2696"/>
        <pc:sldMkLst>
          <pc:docMk/>
          <pc:sldMk cId="3227075852" sldId="2147483575"/>
        </pc:sldMkLst>
      </pc:sldChg>
      <pc:sldChg chg="add del">
        <pc:chgData name="Pfeil, Alex" userId="ba9e60fb-e013-4dfa-96fe-c8a1b8e61dcf" providerId="ADAL" clId="{ADB53161-8226-4CAE-8743-85A246841F46}" dt="2024-08-29T13:08:01.774" v="5847" actId="2696"/>
        <pc:sldMkLst>
          <pc:docMk/>
          <pc:sldMk cId="2044485690" sldId="2147483576"/>
        </pc:sldMkLst>
      </pc:sldChg>
      <pc:sldChg chg="add">
        <pc:chgData name="Pfeil, Alex" userId="ba9e60fb-e013-4dfa-96fe-c8a1b8e61dcf" providerId="ADAL" clId="{ADB53161-8226-4CAE-8743-85A246841F46}" dt="2024-08-29T13:08:06.593" v="5848"/>
        <pc:sldMkLst>
          <pc:docMk/>
          <pc:sldMk cId="4221384609" sldId="2147483576"/>
        </pc:sldMkLst>
      </pc:sldChg>
      <pc:sldChg chg="modSp mod">
        <pc:chgData name="Pfeil, Alex" userId="ba9e60fb-e013-4dfa-96fe-c8a1b8e61dcf" providerId="ADAL" clId="{ADB53161-8226-4CAE-8743-85A246841F46}" dt="2024-08-29T13:17:45.588" v="6019" actId="20577"/>
        <pc:sldMkLst>
          <pc:docMk/>
          <pc:sldMk cId="3639523501" sldId="2147483605"/>
        </pc:sldMkLst>
      </pc:sldChg>
      <pc:sldChg chg="modSp add del mod ord">
        <pc:chgData name="Pfeil, Alex" userId="ba9e60fb-e013-4dfa-96fe-c8a1b8e61dcf" providerId="ADAL" clId="{ADB53161-8226-4CAE-8743-85A246841F46}" dt="2024-09-12T13:16:04.565" v="6898" actId="47"/>
        <pc:sldMkLst>
          <pc:docMk/>
          <pc:sldMk cId="2160148519" sldId="2147483614"/>
        </pc:sldMkLst>
      </pc:sldChg>
      <pc:sldChg chg="delSp modSp add del mod">
        <pc:chgData name="Pfeil, Alex" userId="ba9e60fb-e013-4dfa-96fe-c8a1b8e61dcf" providerId="ADAL" clId="{ADB53161-8226-4CAE-8743-85A246841F46}" dt="2024-08-26T13:22:09.988" v="5844" actId="2696"/>
        <pc:sldMkLst>
          <pc:docMk/>
          <pc:sldMk cId="2261040811" sldId="2147483615"/>
        </pc:sldMkLst>
      </pc:sldChg>
      <pc:sldChg chg="modSp add del mod">
        <pc:chgData name="Pfeil, Alex" userId="ba9e60fb-e013-4dfa-96fe-c8a1b8e61dcf" providerId="ADAL" clId="{ADB53161-8226-4CAE-8743-85A246841F46}" dt="2024-08-29T13:07:17.472" v="5846" actId="47"/>
        <pc:sldMkLst>
          <pc:docMk/>
          <pc:sldMk cId="4172255421" sldId="2147483616"/>
        </pc:sldMkLst>
      </pc:sldChg>
      <pc:sldChg chg="modSp add mod modNotesTx">
        <pc:chgData name="Pfeil, Alex" userId="ba9e60fb-e013-4dfa-96fe-c8a1b8e61dcf" providerId="ADAL" clId="{ADB53161-8226-4CAE-8743-85A246841F46}" dt="2024-09-25T14:16:03.191" v="7024" actId="20577"/>
        <pc:sldMkLst>
          <pc:docMk/>
          <pc:sldMk cId="141603108" sldId="2147483617"/>
        </pc:sldMkLst>
        <pc:spChg chg="mod">
          <ac:chgData name="Pfeil, Alex" userId="ba9e60fb-e013-4dfa-96fe-c8a1b8e61dcf" providerId="ADAL" clId="{ADB53161-8226-4CAE-8743-85A246841F46}" dt="2024-09-12T13:26:29.983" v="6981" actId="5793"/>
          <ac:spMkLst>
            <pc:docMk/>
            <pc:sldMk cId="141603108" sldId="2147483617"/>
            <ac:spMk id="3" creationId="{E50C0BA3-84FC-3DD2-7AB7-31464D5AB782}"/>
          </ac:spMkLst>
        </pc:spChg>
      </pc:sldChg>
      <pc:sldChg chg="modSp add del mod">
        <pc:chgData name="Pfeil, Alex" userId="ba9e60fb-e013-4dfa-96fe-c8a1b8e61dcf" providerId="ADAL" clId="{ADB53161-8226-4CAE-8743-85A246841F46}" dt="2024-09-12T13:16:59.883" v="6899" actId="2696"/>
        <pc:sldMkLst>
          <pc:docMk/>
          <pc:sldMk cId="1372768443" sldId="2147483617"/>
        </pc:sldMkLst>
      </pc:sldChg>
      <pc:sldChg chg="add del">
        <pc:chgData name="Pfeil, Alex" userId="ba9e60fb-e013-4dfa-96fe-c8a1b8e61dcf" providerId="ADAL" clId="{ADB53161-8226-4CAE-8743-85A246841F46}" dt="2024-08-23T12:48:54.159" v="166"/>
        <pc:sldMkLst>
          <pc:docMk/>
          <pc:sldMk cId="2765970831" sldId="2147483617"/>
        </pc:sldMkLst>
      </pc:sldChg>
      <pc:sldChg chg="modSp add del mod">
        <pc:chgData name="Pfeil, Alex" userId="ba9e60fb-e013-4dfa-96fe-c8a1b8e61dcf" providerId="ADAL" clId="{ADB53161-8226-4CAE-8743-85A246841F46}" dt="2024-08-26T13:16:01.564" v="5776" actId="47"/>
        <pc:sldMkLst>
          <pc:docMk/>
          <pc:sldMk cId="535589375" sldId="2147483618"/>
        </pc:sldMkLst>
      </pc:sldChg>
      <pc:sldChg chg="modSp add del mod">
        <pc:chgData name="Pfeil, Alex" userId="ba9e60fb-e013-4dfa-96fe-c8a1b8e61dcf" providerId="ADAL" clId="{ADB53161-8226-4CAE-8743-85A246841F46}" dt="2024-08-26T13:22:09.988" v="5844" actId="2696"/>
        <pc:sldMkLst>
          <pc:docMk/>
          <pc:sldMk cId="276627969" sldId="2147483619"/>
        </pc:sldMkLst>
      </pc:sldChg>
      <pc:sldChg chg="addSp delSp modSp add del mod">
        <pc:chgData name="Pfeil, Alex" userId="ba9e60fb-e013-4dfa-96fe-c8a1b8e61dcf" providerId="ADAL" clId="{ADB53161-8226-4CAE-8743-85A246841F46}" dt="2024-08-26T13:22:09.988" v="5844" actId="2696"/>
        <pc:sldMkLst>
          <pc:docMk/>
          <pc:sldMk cId="3092712090" sldId="2147483620"/>
        </pc:sldMkLst>
      </pc:sldChg>
      <pc:sldChg chg="addSp delSp modSp add del mod ord">
        <pc:chgData name="Pfeil, Alex" userId="ba9e60fb-e013-4dfa-96fe-c8a1b8e61dcf" providerId="ADAL" clId="{ADB53161-8226-4CAE-8743-85A246841F46}" dt="2024-08-26T13:22:09.988" v="5844" actId="2696"/>
        <pc:sldMkLst>
          <pc:docMk/>
          <pc:sldMk cId="2303497617" sldId="2147483621"/>
        </pc:sldMkLst>
      </pc:sldChg>
      <pc:sldChg chg="add del">
        <pc:chgData name="Pfeil, Alex" userId="ba9e60fb-e013-4dfa-96fe-c8a1b8e61dcf" providerId="ADAL" clId="{ADB53161-8226-4CAE-8743-85A246841F46}" dt="2024-08-29T13:08:01.774" v="5847" actId="2696"/>
        <pc:sldMkLst>
          <pc:docMk/>
          <pc:sldMk cId="2321709811" sldId="2147483621"/>
        </pc:sldMkLst>
      </pc:sldChg>
      <pc:sldChg chg="add del">
        <pc:chgData name="Pfeil, Alex" userId="ba9e60fb-e013-4dfa-96fe-c8a1b8e61dcf" providerId="ADAL" clId="{ADB53161-8226-4CAE-8743-85A246841F46}" dt="2024-09-12T13:26:45.158" v="6985" actId="47"/>
        <pc:sldMkLst>
          <pc:docMk/>
          <pc:sldMk cId="2893910616" sldId="2147483621"/>
        </pc:sldMkLst>
      </pc:sldChg>
      <pc:sldChg chg="addSp delSp modSp add del mod ord">
        <pc:chgData name="Pfeil, Alex" userId="ba9e60fb-e013-4dfa-96fe-c8a1b8e61dcf" providerId="ADAL" clId="{ADB53161-8226-4CAE-8743-85A246841F46}" dt="2024-08-26T13:22:09.988" v="5844" actId="2696"/>
        <pc:sldMkLst>
          <pc:docMk/>
          <pc:sldMk cId="1345652636" sldId="2147483622"/>
        </pc:sldMkLst>
      </pc:sldChg>
      <pc:sldChg chg="add del">
        <pc:chgData name="Pfeil, Alex" userId="ba9e60fb-e013-4dfa-96fe-c8a1b8e61dcf" providerId="ADAL" clId="{ADB53161-8226-4CAE-8743-85A246841F46}" dt="2024-09-12T13:22:04.478" v="6979" actId="47"/>
        <pc:sldMkLst>
          <pc:docMk/>
          <pc:sldMk cId="2864239196" sldId="2147483622"/>
        </pc:sldMkLst>
      </pc:sldChg>
      <pc:sldChg chg="add del">
        <pc:chgData name="Pfeil, Alex" userId="ba9e60fb-e013-4dfa-96fe-c8a1b8e61dcf" providerId="ADAL" clId="{ADB53161-8226-4CAE-8743-85A246841F46}" dt="2024-08-29T13:09:23.213" v="5850" actId="47"/>
        <pc:sldMkLst>
          <pc:docMk/>
          <pc:sldMk cId="3311356622" sldId="2147483622"/>
        </pc:sldMkLst>
      </pc:sldChg>
      <pc:sldChg chg="addSp delSp modSp add del mod">
        <pc:chgData name="Pfeil, Alex" userId="ba9e60fb-e013-4dfa-96fe-c8a1b8e61dcf" providerId="ADAL" clId="{ADB53161-8226-4CAE-8743-85A246841F46}" dt="2024-08-26T13:22:09.988" v="5844" actId="2696"/>
        <pc:sldMkLst>
          <pc:docMk/>
          <pc:sldMk cId="681988698" sldId="2147483623"/>
        </pc:sldMkLst>
      </pc:sldChg>
      <pc:sldChg chg="addSp delSp modSp add del mod">
        <pc:chgData name="Pfeil, Alex" userId="ba9e60fb-e013-4dfa-96fe-c8a1b8e61dcf" providerId="ADAL" clId="{ADB53161-8226-4CAE-8743-85A246841F46}" dt="2024-08-26T13:22:09.988" v="5844" actId="2696"/>
        <pc:sldMkLst>
          <pc:docMk/>
          <pc:sldMk cId="4033761441" sldId="2147483624"/>
        </pc:sldMkLst>
      </pc:sldChg>
      <pc:sldChg chg="addSp modSp add del mod">
        <pc:chgData name="Pfeil, Alex" userId="ba9e60fb-e013-4dfa-96fe-c8a1b8e61dcf" providerId="ADAL" clId="{ADB53161-8226-4CAE-8743-85A246841F46}" dt="2024-08-26T13:22:09.988" v="5844" actId="2696"/>
        <pc:sldMkLst>
          <pc:docMk/>
          <pc:sldMk cId="804075615" sldId="2147483625"/>
        </pc:sldMkLst>
      </pc:sldChg>
      <pc:sldChg chg="addSp delSp modSp add del mod">
        <pc:chgData name="Pfeil, Alex" userId="ba9e60fb-e013-4dfa-96fe-c8a1b8e61dcf" providerId="ADAL" clId="{ADB53161-8226-4CAE-8743-85A246841F46}" dt="2024-08-26T13:22:09.988" v="5844" actId="2696"/>
        <pc:sldMkLst>
          <pc:docMk/>
          <pc:sldMk cId="280133039" sldId="2147483626"/>
        </pc:sldMkLst>
      </pc:sldChg>
      <pc:sldChg chg="addSp delSp modSp add del mod">
        <pc:chgData name="Pfeil, Alex" userId="ba9e60fb-e013-4dfa-96fe-c8a1b8e61dcf" providerId="ADAL" clId="{ADB53161-8226-4CAE-8743-85A246841F46}" dt="2024-08-26T13:22:09.988" v="5844" actId="2696"/>
        <pc:sldMkLst>
          <pc:docMk/>
          <pc:sldMk cId="1570719049" sldId="2147483627"/>
        </pc:sldMkLst>
      </pc:sldChg>
      <pc:sldChg chg="addSp delSp modSp add del mod">
        <pc:chgData name="Pfeil, Alex" userId="ba9e60fb-e013-4dfa-96fe-c8a1b8e61dcf" providerId="ADAL" clId="{ADB53161-8226-4CAE-8743-85A246841F46}" dt="2024-08-26T13:22:09.988" v="5844" actId="2696"/>
        <pc:sldMkLst>
          <pc:docMk/>
          <pc:sldMk cId="877965216" sldId="2147483628"/>
        </pc:sldMkLst>
      </pc:sldChg>
      <pc:sldChg chg="addSp delSp modSp add del mod ord">
        <pc:chgData name="Pfeil, Alex" userId="ba9e60fb-e013-4dfa-96fe-c8a1b8e61dcf" providerId="ADAL" clId="{ADB53161-8226-4CAE-8743-85A246841F46}" dt="2024-09-12T13:16:59.883" v="6899" actId="2696"/>
        <pc:sldMkLst>
          <pc:docMk/>
          <pc:sldMk cId="276170958" sldId="2147483629"/>
        </pc:sldMkLst>
      </pc:sldChg>
      <pc:sldChg chg="delSp modSp add del mod">
        <pc:chgData name="Pfeil, Alex" userId="ba9e60fb-e013-4dfa-96fe-c8a1b8e61dcf" providerId="ADAL" clId="{ADB53161-8226-4CAE-8743-85A246841F46}" dt="2024-08-26T13:22:09.988" v="5844" actId="2696"/>
        <pc:sldMkLst>
          <pc:docMk/>
          <pc:sldMk cId="1452800891" sldId="2147483629"/>
        </pc:sldMkLst>
      </pc:sldChg>
      <pc:sldChg chg="add">
        <pc:chgData name="Pfeil, Alex" userId="ba9e60fb-e013-4dfa-96fe-c8a1b8e61dcf" providerId="ADAL" clId="{ADB53161-8226-4CAE-8743-85A246841F46}" dt="2024-09-12T13:17:29.256" v="6902"/>
        <pc:sldMkLst>
          <pc:docMk/>
          <pc:sldMk cId="3380907961" sldId="2147483629"/>
        </pc:sldMkLst>
      </pc:sldChg>
      <pc:sldChg chg="add del">
        <pc:chgData name="Pfeil, Alex" userId="ba9e60fb-e013-4dfa-96fe-c8a1b8e61dcf" providerId="ADAL" clId="{ADB53161-8226-4CAE-8743-85A246841F46}" dt="2024-09-12T13:17:25.832" v="6901" actId="2696"/>
        <pc:sldMkLst>
          <pc:docMk/>
          <pc:sldMk cId="3507247751" sldId="2147483629"/>
        </pc:sldMkLst>
      </pc:sldChg>
      <pc:sldChg chg="addSp delSp modSp add del mod ord">
        <pc:chgData name="Pfeil, Alex" userId="ba9e60fb-e013-4dfa-96fe-c8a1b8e61dcf" providerId="ADAL" clId="{ADB53161-8226-4CAE-8743-85A246841F46}" dt="2024-08-26T13:22:09.988" v="5844" actId="2696"/>
        <pc:sldMkLst>
          <pc:docMk/>
          <pc:sldMk cId="901101326" sldId="2147483630"/>
        </pc:sldMkLst>
      </pc:sldChg>
      <pc:sldChg chg="add del">
        <pc:chgData name="Pfeil, Alex" userId="ba9e60fb-e013-4dfa-96fe-c8a1b8e61dcf" providerId="ADAL" clId="{ADB53161-8226-4CAE-8743-85A246841F46}" dt="2024-09-12T13:17:25.832" v="6901" actId="2696"/>
        <pc:sldMkLst>
          <pc:docMk/>
          <pc:sldMk cId="1298342737" sldId="2147483630"/>
        </pc:sldMkLst>
      </pc:sldChg>
      <pc:sldChg chg="add">
        <pc:chgData name="Pfeil, Alex" userId="ba9e60fb-e013-4dfa-96fe-c8a1b8e61dcf" providerId="ADAL" clId="{ADB53161-8226-4CAE-8743-85A246841F46}" dt="2024-09-12T13:17:29.256" v="6902"/>
        <pc:sldMkLst>
          <pc:docMk/>
          <pc:sldMk cId="1561022417" sldId="2147483630"/>
        </pc:sldMkLst>
      </pc:sldChg>
      <pc:sldChg chg="add del">
        <pc:chgData name="Pfeil, Alex" userId="ba9e60fb-e013-4dfa-96fe-c8a1b8e61dcf" providerId="ADAL" clId="{ADB53161-8226-4CAE-8743-85A246841F46}" dt="2024-09-12T12:24:55.832" v="6083"/>
        <pc:sldMkLst>
          <pc:docMk/>
          <pc:sldMk cId="1616009153" sldId="2147483630"/>
        </pc:sldMkLst>
      </pc:sldChg>
      <pc:sldChg chg="addSp delSp modSp add del mod">
        <pc:chgData name="Pfeil, Alex" userId="ba9e60fb-e013-4dfa-96fe-c8a1b8e61dcf" providerId="ADAL" clId="{ADB53161-8226-4CAE-8743-85A246841F46}" dt="2024-09-12T13:16:59.883" v="6899" actId="2696"/>
        <pc:sldMkLst>
          <pc:docMk/>
          <pc:sldMk cId="2632177303" sldId="2147483630"/>
        </pc:sldMkLst>
      </pc:sldChg>
      <pc:sldChg chg="add">
        <pc:chgData name="Pfeil, Alex" userId="ba9e60fb-e013-4dfa-96fe-c8a1b8e61dcf" providerId="ADAL" clId="{ADB53161-8226-4CAE-8743-85A246841F46}" dt="2024-09-12T13:17:29.256" v="6902"/>
        <pc:sldMkLst>
          <pc:docMk/>
          <pc:sldMk cId="421095632" sldId="2147483631"/>
        </pc:sldMkLst>
      </pc:sldChg>
      <pc:sldChg chg="add del">
        <pc:chgData name="Pfeil, Alex" userId="ba9e60fb-e013-4dfa-96fe-c8a1b8e61dcf" providerId="ADAL" clId="{ADB53161-8226-4CAE-8743-85A246841F46}" dt="2024-09-12T13:17:25.832" v="6901" actId="2696"/>
        <pc:sldMkLst>
          <pc:docMk/>
          <pc:sldMk cId="1153623071" sldId="2147483631"/>
        </pc:sldMkLst>
      </pc:sldChg>
      <pc:sldChg chg="delSp modSp add del mod">
        <pc:chgData name="Pfeil, Alex" userId="ba9e60fb-e013-4dfa-96fe-c8a1b8e61dcf" providerId="ADAL" clId="{ADB53161-8226-4CAE-8743-85A246841F46}" dt="2024-09-12T13:16:59.883" v="6899" actId="2696"/>
        <pc:sldMkLst>
          <pc:docMk/>
          <pc:sldMk cId="3988299427" sldId="2147483631"/>
        </pc:sldMkLst>
      </pc:sldChg>
      <pc:sldChg chg="addSp delSp modSp add del mod">
        <pc:chgData name="Pfeil, Alex" userId="ba9e60fb-e013-4dfa-96fe-c8a1b8e61dcf" providerId="ADAL" clId="{ADB53161-8226-4CAE-8743-85A246841F46}" dt="2024-08-26T13:22:09.988" v="5844" actId="2696"/>
        <pc:sldMkLst>
          <pc:docMk/>
          <pc:sldMk cId="4037660219" sldId="2147483631"/>
        </pc:sldMkLst>
      </pc:sldChg>
      <pc:sldChg chg="add del">
        <pc:chgData name="Pfeil, Alex" userId="ba9e60fb-e013-4dfa-96fe-c8a1b8e61dcf" providerId="ADAL" clId="{ADB53161-8226-4CAE-8743-85A246841F46}" dt="2024-09-12T13:17:25.832" v="6901" actId="2696"/>
        <pc:sldMkLst>
          <pc:docMk/>
          <pc:sldMk cId="120707804" sldId="2147483632"/>
        </pc:sldMkLst>
      </pc:sldChg>
      <pc:sldChg chg="add">
        <pc:chgData name="Pfeil, Alex" userId="ba9e60fb-e013-4dfa-96fe-c8a1b8e61dcf" providerId="ADAL" clId="{ADB53161-8226-4CAE-8743-85A246841F46}" dt="2024-09-12T13:17:29.256" v="6902"/>
        <pc:sldMkLst>
          <pc:docMk/>
          <pc:sldMk cId="626636541" sldId="2147483632"/>
        </pc:sldMkLst>
      </pc:sldChg>
      <pc:sldChg chg="modSp add del mod">
        <pc:chgData name="Pfeil, Alex" userId="ba9e60fb-e013-4dfa-96fe-c8a1b8e61dcf" providerId="ADAL" clId="{ADB53161-8226-4CAE-8743-85A246841F46}" dt="2024-08-26T13:22:09.988" v="5844" actId="2696"/>
        <pc:sldMkLst>
          <pc:docMk/>
          <pc:sldMk cId="948756317" sldId="2147483632"/>
        </pc:sldMkLst>
      </pc:sldChg>
      <pc:sldChg chg="addSp delSp modSp add del mod">
        <pc:chgData name="Pfeil, Alex" userId="ba9e60fb-e013-4dfa-96fe-c8a1b8e61dcf" providerId="ADAL" clId="{ADB53161-8226-4CAE-8743-85A246841F46}" dt="2024-09-12T13:16:59.883" v="6899" actId="2696"/>
        <pc:sldMkLst>
          <pc:docMk/>
          <pc:sldMk cId="4095136917" sldId="2147483632"/>
        </pc:sldMkLst>
      </pc:sldChg>
      <pc:sldChg chg="add">
        <pc:chgData name="Pfeil, Alex" userId="ba9e60fb-e013-4dfa-96fe-c8a1b8e61dcf" providerId="ADAL" clId="{ADB53161-8226-4CAE-8743-85A246841F46}" dt="2024-09-12T13:10:47.803" v="6897"/>
        <pc:sldMkLst>
          <pc:docMk/>
          <pc:sldMk cId="3799706995" sldId="2147483633"/>
        </pc:sldMkLst>
      </pc:sldChg>
      <pc:sldChg chg="modSp add del mod">
        <pc:chgData name="Pfeil, Alex" userId="ba9e60fb-e013-4dfa-96fe-c8a1b8e61dcf" providerId="ADAL" clId="{ADB53161-8226-4CAE-8743-85A246841F46}" dt="2024-09-12T13:10:40.411" v="6896" actId="2696"/>
        <pc:sldMkLst>
          <pc:docMk/>
          <pc:sldMk cId="3864265453" sldId="2147483633"/>
        </pc:sldMkLst>
      </pc:sldChg>
      <pc:sldChg chg="addSp delSp modSp add del mod">
        <pc:chgData name="Pfeil, Alex" userId="ba9e60fb-e013-4dfa-96fe-c8a1b8e61dcf" providerId="ADAL" clId="{ADB53161-8226-4CAE-8743-85A246841F46}" dt="2024-08-26T13:22:09.988" v="5844" actId="2696"/>
        <pc:sldMkLst>
          <pc:docMk/>
          <pc:sldMk cId="4229436132" sldId="2147483633"/>
        </pc:sldMkLst>
      </pc:sldChg>
      <pc:sldChg chg="addSp delSp modSp add del mod">
        <pc:chgData name="Pfeil, Alex" userId="ba9e60fb-e013-4dfa-96fe-c8a1b8e61dcf" providerId="ADAL" clId="{ADB53161-8226-4CAE-8743-85A246841F46}" dt="2024-09-12T13:10:40.411" v="6896" actId="2696"/>
        <pc:sldMkLst>
          <pc:docMk/>
          <pc:sldMk cId="1157589952" sldId="2147483634"/>
        </pc:sldMkLst>
      </pc:sldChg>
      <pc:sldChg chg="add del">
        <pc:chgData name="Pfeil, Alex" userId="ba9e60fb-e013-4dfa-96fe-c8a1b8e61dcf" providerId="ADAL" clId="{ADB53161-8226-4CAE-8743-85A246841F46}" dt="2024-08-23T14:34:01.511" v="5423" actId="47"/>
        <pc:sldMkLst>
          <pc:docMk/>
          <pc:sldMk cId="1164545560" sldId="2147483634"/>
        </pc:sldMkLst>
      </pc:sldChg>
      <pc:sldChg chg="add">
        <pc:chgData name="Pfeil, Alex" userId="ba9e60fb-e013-4dfa-96fe-c8a1b8e61dcf" providerId="ADAL" clId="{ADB53161-8226-4CAE-8743-85A246841F46}" dt="2024-09-12T13:10:47.803" v="6897"/>
        <pc:sldMkLst>
          <pc:docMk/>
          <pc:sldMk cId="1676083243" sldId="2147483634"/>
        </pc:sldMkLst>
      </pc:sldChg>
      <pc:sldChg chg="modSp add del mod">
        <pc:chgData name="Pfeil, Alex" userId="ba9e60fb-e013-4dfa-96fe-c8a1b8e61dcf" providerId="ADAL" clId="{ADB53161-8226-4CAE-8743-85A246841F46}" dt="2024-09-12T13:10:40.411" v="6896" actId="2696"/>
        <pc:sldMkLst>
          <pc:docMk/>
          <pc:sldMk cId="2527112460" sldId="2147483635"/>
        </pc:sldMkLst>
      </pc:sldChg>
      <pc:sldChg chg="modSp add del mod">
        <pc:chgData name="Pfeil, Alex" userId="ba9e60fb-e013-4dfa-96fe-c8a1b8e61dcf" providerId="ADAL" clId="{ADB53161-8226-4CAE-8743-85A246841F46}" dt="2024-08-26T13:22:09.988" v="5844" actId="2696"/>
        <pc:sldMkLst>
          <pc:docMk/>
          <pc:sldMk cId="2720699554" sldId="2147483635"/>
        </pc:sldMkLst>
      </pc:sldChg>
      <pc:sldChg chg="add">
        <pc:chgData name="Pfeil, Alex" userId="ba9e60fb-e013-4dfa-96fe-c8a1b8e61dcf" providerId="ADAL" clId="{ADB53161-8226-4CAE-8743-85A246841F46}" dt="2024-09-12T13:10:47.803" v="6897"/>
        <pc:sldMkLst>
          <pc:docMk/>
          <pc:sldMk cId="3393741483" sldId="2147483635"/>
        </pc:sldMkLst>
      </pc:sldChg>
      <pc:sldChg chg="add del">
        <pc:chgData name="Pfeil, Alex" userId="ba9e60fb-e013-4dfa-96fe-c8a1b8e61dcf" providerId="ADAL" clId="{ADB53161-8226-4CAE-8743-85A246841F46}" dt="2024-09-12T13:10:40.411" v="6896" actId="2696"/>
        <pc:sldMkLst>
          <pc:docMk/>
          <pc:sldMk cId="1274294062" sldId="2147483636"/>
        </pc:sldMkLst>
      </pc:sldChg>
      <pc:sldChg chg="modSp add del mod">
        <pc:chgData name="Pfeil, Alex" userId="ba9e60fb-e013-4dfa-96fe-c8a1b8e61dcf" providerId="ADAL" clId="{ADB53161-8226-4CAE-8743-85A246841F46}" dt="2024-08-26T13:22:09.988" v="5844" actId="2696"/>
        <pc:sldMkLst>
          <pc:docMk/>
          <pc:sldMk cId="3734007125" sldId="2147483636"/>
        </pc:sldMkLst>
      </pc:sldChg>
      <pc:sldChg chg="add">
        <pc:chgData name="Pfeil, Alex" userId="ba9e60fb-e013-4dfa-96fe-c8a1b8e61dcf" providerId="ADAL" clId="{ADB53161-8226-4CAE-8743-85A246841F46}" dt="2024-09-12T13:10:47.803" v="6897"/>
        <pc:sldMkLst>
          <pc:docMk/>
          <pc:sldMk cId="3806010659" sldId="2147483636"/>
        </pc:sldMkLst>
      </pc:sldChg>
      <pc:sldChg chg="addSp delSp modSp add del mod">
        <pc:chgData name="Pfeil, Alex" userId="ba9e60fb-e013-4dfa-96fe-c8a1b8e61dcf" providerId="ADAL" clId="{ADB53161-8226-4CAE-8743-85A246841F46}" dt="2024-08-26T13:22:09.988" v="5844" actId="2696"/>
        <pc:sldMkLst>
          <pc:docMk/>
          <pc:sldMk cId="1134784386" sldId="2147483637"/>
        </pc:sldMkLst>
      </pc:sldChg>
      <pc:sldChg chg="addSp delSp modSp add del mod">
        <pc:chgData name="Pfeil, Alex" userId="ba9e60fb-e013-4dfa-96fe-c8a1b8e61dcf" providerId="ADAL" clId="{ADB53161-8226-4CAE-8743-85A246841F46}" dt="2024-08-26T13:22:09.988" v="5844" actId="2696"/>
        <pc:sldMkLst>
          <pc:docMk/>
          <pc:sldMk cId="1901628734" sldId="2147483638"/>
        </pc:sldMkLst>
      </pc:sldChg>
      <pc:sldChg chg="addSp modSp add del mod">
        <pc:chgData name="Pfeil, Alex" userId="ba9e60fb-e013-4dfa-96fe-c8a1b8e61dcf" providerId="ADAL" clId="{ADB53161-8226-4CAE-8743-85A246841F46}" dt="2024-08-26T13:22:09.988" v="5844" actId="2696"/>
        <pc:sldMkLst>
          <pc:docMk/>
          <pc:sldMk cId="2904637407" sldId="2147483639"/>
        </pc:sldMkLst>
      </pc:sldChg>
      <pc:sldChg chg="addSp delSp modSp add del mod">
        <pc:chgData name="Pfeil, Alex" userId="ba9e60fb-e013-4dfa-96fe-c8a1b8e61dcf" providerId="ADAL" clId="{ADB53161-8226-4CAE-8743-85A246841F46}" dt="2024-08-26T13:22:09.988" v="5844" actId="2696"/>
        <pc:sldMkLst>
          <pc:docMk/>
          <pc:sldMk cId="580852248" sldId="2147483640"/>
        </pc:sldMkLst>
      </pc:sldChg>
      <pc:sldChg chg="addSp delSp modSp add del mod">
        <pc:chgData name="Pfeil, Alex" userId="ba9e60fb-e013-4dfa-96fe-c8a1b8e61dcf" providerId="ADAL" clId="{ADB53161-8226-4CAE-8743-85A246841F46}" dt="2024-08-26T13:22:09.988" v="5844" actId="2696"/>
        <pc:sldMkLst>
          <pc:docMk/>
          <pc:sldMk cId="799567141" sldId="2147483641"/>
        </pc:sldMkLst>
      </pc:sldChg>
      <pc:sldChg chg="modSp add del mod">
        <pc:chgData name="Pfeil, Alex" userId="ba9e60fb-e013-4dfa-96fe-c8a1b8e61dcf" providerId="ADAL" clId="{ADB53161-8226-4CAE-8743-85A246841F46}" dt="2024-08-26T13:22:09.988" v="5844" actId="2696"/>
        <pc:sldMkLst>
          <pc:docMk/>
          <pc:sldMk cId="1113821218" sldId="2147483642"/>
        </pc:sldMkLst>
      </pc:sldChg>
      <pc:sldChg chg="addSp delSp modSp add del mod">
        <pc:chgData name="Pfeil, Alex" userId="ba9e60fb-e013-4dfa-96fe-c8a1b8e61dcf" providerId="ADAL" clId="{ADB53161-8226-4CAE-8743-85A246841F46}" dt="2024-08-26T13:22:09.988" v="5844" actId="2696"/>
        <pc:sldMkLst>
          <pc:docMk/>
          <pc:sldMk cId="1786479987" sldId="2147483643"/>
        </pc:sldMkLst>
      </pc:sldChg>
      <pc:sldChg chg="addSp delSp modSp add del mod">
        <pc:chgData name="Pfeil, Alex" userId="ba9e60fb-e013-4dfa-96fe-c8a1b8e61dcf" providerId="ADAL" clId="{ADB53161-8226-4CAE-8743-85A246841F46}" dt="2024-08-26T13:22:09.988" v="5844" actId="2696"/>
        <pc:sldMkLst>
          <pc:docMk/>
          <pc:sldMk cId="1454840393" sldId="2147483644"/>
        </pc:sldMkLst>
      </pc:sldChg>
    </pc:docChg>
  </pc:docChgLst>
</pc:chgInfo>
</file>

<file path=ppt/comments/modernComment_7FFFFFD5_D8EEB8AD.xml><?xml version="1.0" encoding="utf-8"?>
<p188:cmLst xmlns:a="http://schemas.openxmlformats.org/drawingml/2006/main" xmlns:r="http://schemas.openxmlformats.org/officeDocument/2006/relationships" xmlns:p188="http://schemas.microsoft.com/office/powerpoint/2018/8/main">
  <p188:cm id="{9EAAE121-8BB4-4704-BF95-3FC1B2BEACB8}" authorId="{ABA0ECE8-49C5-2EF3-E136-4B68053A462D}" created="2024-06-18T08:59:18.762">
    <pc:sldMkLst xmlns:pc="http://schemas.microsoft.com/office/powerpoint/2013/main/command">
      <pc:docMk/>
      <pc:sldMk cId="3639523501" sldId="2147483605"/>
    </pc:sldMkLst>
    <p188:txBody>
      <a:bodyPr/>
      <a:lstStyle/>
      <a:p>
        <a:r>
          <a:rPr lang="de-DE"/>
          <a:t>[@Schupp, Rebekka] [@Pfeil, Alex] [@Heinrich, Erik] überlegt gerne mal was Ihr auf der Agenda sehen würdet. </a:t>
        </a:r>
      </a:p>
    </p188:txBody>
  </p188:cm>
</p188:cmLst>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 name="Slide Number Placeholder 4"/>
          <p:cNvSpPr>
            <a:spLocks noGrp="1"/>
          </p:cNvSpPr>
          <p:nvPr>
            <p:ph type="sldNum" sz="quarter" idx="3"/>
          </p:nvPr>
        </p:nvSpPr>
        <p:spPr>
          <a:xfrm>
            <a:off x="1943100" y="8685213"/>
            <a:ext cx="2971800" cy="457200"/>
          </a:xfrm>
          <a:prstGeom prst="rect">
            <a:avLst/>
          </a:prstGeom>
        </p:spPr>
        <p:txBody>
          <a:bodyPr vert="horz" lIns="91440" tIns="45720" rIns="91440" bIns="45720" rtlCol="0" anchor="b"/>
          <a:lstStyle>
            <a:lvl1pPr algn="r">
              <a:defRPr sz="1200"/>
            </a:lvl1pPr>
          </a:lstStyle>
          <a:p>
            <a:pPr algn="ctr"/>
            <a:fld id="{47855BD9-AF71-426C-9B9B-B0E52B88852E}" type="slidenum">
              <a:rPr lang="de-DE" sz="1000" smtClean="0">
                <a:latin typeface="Arial" panose="020B0604020202020204" pitchFamily="34" charset="0"/>
              </a:rPr>
              <a:pPr algn="ctr"/>
              <a:t>‹#›</a:t>
            </a:fld>
            <a:endParaRPr lang="de-DE" sz="1000">
              <a:latin typeface="Arial" panose="020B0604020202020204" pitchFamily="34" charset="0"/>
            </a:endParaRPr>
          </a:p>
        </p:txBody>
      </p:sp>
    </p:spTree>
    <p:extLst>
      <p:ext uri="{BB962C8B-B14F-4D97-AF65-F5344CB8AC3E}">
        <p14:creationId xmlns:p14="http://schemas.microsoft.com/office/powerpoint/2010/main" val="235993245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547688" y="612775"/>
            <a:ext cx="5762625" cy="3241675"/>
          </a:xfrm>
          <a:prstGeom prst="rect">
            <a:avLst/>
          </a:prstGeom>
          <a:noFill/>
          <a:ln w="12700">
            <a:solidFill>
              <a:prstClr val="black"/>
            </a:solidFill>
          </a:ln>
        </p:spPr>
        <p:txBody>
          <a:bodyPr vert="horz" lIns="91440" tIns="45720" rIns="91440" bIns="45720" rtlCol="0" anchor="ctr"/>
          <a:lstStyle/>
          <a:p>
            <a:endParaRPr lang="de-DE"/>
          </a:p>
        </p:txBody>
      </p:sp>
      <p:sp>
        <p:nvSpPr>
          <p:cNvPr id="5" name="Notes Placeholder 4"/>
          <p:cNvSpPr>
            <a:spLocks noGrp="1"/>
          </p:cNvSpPr>
          <p:nvPr>
            <p:ph type="body" sz="quarter" idx="3"/>
          </p:nvPr>
        </p:nvSpPr>
        <p:spPr>
          <a:xfrm>
            <a:off x="549000" y="4120162"/>
            <a:ext cx="5760000" cy="4563560"/>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p:txBody>
      </p:sp>
      <p:sp>
        <p:nvSpPr>
          <p:cNvPr id="7" name="Slide Number Placeholder 6"/>
          <p:cNvSpPr>
            <a:spLocks noGrp="1"/>
          </p:cNvSpPr>
          <p:nvPr>
            <p:ph type="sldNum" sz="quarter" idx="5"/>
          </p:nvPr>
        </p:nvSpPr>
        <p:spPr>
          <a:xfrm>
            <a:off x="2957512" y="8935722"/>
            <a:ext cx="942976" cy="205358"/>
          </a:xfrm>
          <a:prstGeom prst="rect">
            <a:avLst/>
          </a:prstGeom>
        </p:spPr>
        <p:txBody>
          <a:bodyPr vert="horz" lIns="91440" tIns="45720" rIns="91440" bIns="45720" rtlCol="0" anchor="b"/>
          <a:lstStyle>
            <a:lvl1pPr algn="ctr">
              <a:defRPr sz="800" b="0" i="0">
                <a:latin typeface="Arial" panose="020B0604020202020204" pitchFamily="34" charset="0"/>
              </a:defRPr>
            </a:lvl1pPr>
          </a:lstStyle>
          <a:p>
            <a:fld id="{7D8C2C35-2B8A-446E-BEC0-FD36716C29AC}" type="slidenum">
              <a:rPr lang="en-DE" smtClean="0"/>
              <a:pPr/>
              <a:t>‹#›</a:t>
            </a:fld>
            <a:endParaRPr lang="en-DE"/>
          </a:p>
        </p:txBody>
      </p:sp>
    </p:spTree>
    <p:extLst>
      <p:ext uri="{BB962C8B-B14F-4D97-AF65-F5344CB8AC3E}">
        <p14:creationId xmlns:p14="http://schemas.microsoft.com/office/powerpoint/2010/main" val="2847385487"/>
      </p:ext>
    </p:extLst>
  </p:cSld>
  <p:clrMap bg1="lt1" tx1="dk1" bg2="lt2" tx2="dk2" accent1="accent1" accent2="accent2" accent3="accent3" accent4="accent4" accent5="accent5" accent6="accent6" hlink="hlink" folHlink="folHlink"/>
  <p:notesStyle>
    <a:lvl1pPr marL="0" algn="l" defTabSz="1088776" rtl="0" eaLnBrk="1" latinLnBrk="0" hangingPunct="1">
      <a:defRPr sz="1400" b="0" i="0" kern="1200">
        <a:solidFill>
          <a:schemeClr val="tx1"/>
        </a:solidFill>
        <a:latin typeface="Arial" panose="020B0604020202020204" pitchFamily="34" charset="0"/>
        <a:ea typeface="+mn-ea"/>
        <a:cs typeface="+mn-cs"/>
      </a:defRPr>
    </a:lvl1pPr>
    <a:lvl2pPr marL="180000" indent="-180000" algn="l" defTabSz="1088776" rtl="0" eaLnBrk="1" latinLnBrk="0" hangingPunct="1">
      <a:buClr>
        <a:schemeClr val="accent1"/>
      </a:buClr>
      <a:buSzPct val="100000"/>
      <a:buFont typeface="Wingdings" pitchFamily="2" charset="2"/>
      <a:buChar char=""/>
      <a:defRPr sz="1400" b="0" i="0" kern="1200">
        <a:solidFill>
          <a:schemeClr val="tx1"/>
        </a:solidFill>
        <a:latin typeface="Arial" panose="020B0604020202020204" pitchFamily="34" charset="0"/>
        <a:ea typeface="+mn-ea"/>
        <a:cs typeface="+mn-cs"/>
      </a:defRPr>
    </a:lvl2pPr>
    <a:lvl3pPr marL="360000" indent="-180000" algn="l" defTabSz="1088776" rtl="0" eaLnBrk="1" latinLnBrk="0" hangingPunct="1">
      <a:buClr>
        <a:schemeClr val="accent2"/>
      </a:buClr>
      <a:buSzPct val="80000"/>
      <a:buFont typeface="Symbol" pitchFamily="18" charset="2"/>
      <a:buChar char="-"/>
      <a:defRPr sz="1200" b="0" i="0" kern="1200">
        <a:solidFill>
          <a:schemeClr val="tx1"/>
        </a:solidFill>
        <a:latin typeface="Arial" panose="020B0604020202020204" pitchFamily="34" charset="0"/>
        <a:ea typeface="+mn-ea"/>
        <a:cs typeface="+mn-cs"/>
      </a:defRPr>
    </a:lvl3pPr>
    <a:lvl4pPr marL="674815" indent="-158780" algn="l" defTabSz="1088776" rtl="0" eaLnBrk="1" latinLnBrk="0" hangingPunct="1">
      <a:buClr>
        <a:schemeClr val="accent2"/>
      </a:buClr>
      <a:buFont typeface="Arial" pitchFamily="34" charset="0"/>
      <a:buChar char="–"/>
      <a:defRPr sz="1200" kern="1200">
        <a:solidFill>
          <a:schemeClr val="tx1"/>
        </a:solidFill>
        <a:latin typeface="+mn-lt"/>
        <a:ea typeface="+mn-ea"/>
        <a:cs typeface="+mn-cs"/>
      </a:defRPr>
    </a:lvl4pPr>
    <a:lvl5pPr marL="2177552" algn="l" defTabSz="1088776" rtl="0" eaLnBrk="1" latinLnBrk="0" hangingPunct="1">
      <a:defRPr sz="1400" kern="1200">
        <a:solidFill>
          <a:schemeClr val="tx1"/>
        </a:solidFill>
        <a:latin typeface="+mn-lt"/>
        <a:ea typeface="+mn-ea"/>
        <a:cs typeface="+mn-cs"/>
      </a:defRPr>
    </a:lvl5pPr>
    <a:lvl6pPr marL="2721940" algn="l" defTabSz="1088776" rtl="0" eaLnBrk="1" latinLnBrk="0" hangingPunct="1">
      <a:defRPr sz="1400" kern="1200">
        <a:solidFill>
          <a:schemeClr val="tx1"/>
        </a:solidFill>
        <a:latin typeface="+mn-lt"/>
        <a:ea typeface="+mn-ea"/>
        <a:cs typeface="+mn-cs"/>
      </a:defRPr>
    </a:lvl6pPr>
    <a:lvl7pPr marL="3266328" algn="l" defTabSz="1088776" rtl="0" eaLnBrk="1" latinLnBrk="0" hangingPunct="1">
      <a:defRPr sz="1400" kern="1200">
        <a:solidFill>
          <a:schemeClr val="tx1"/>
        </a:solidFill>
        <a:latin typeface="+mn-lt"/>
        <a:ea typeface="+mn-ea"/>
        <a:cs typeface="+mn-cs"/>
      </a:defRPr>
    </a:lvl7pPr>
    <a:lvl8pPr marL="3810716" algn="l" defTabSz="1088776" rtl="0" eaLnBrk="1" latinLnBrk="0" hangingPunct="1">
      <a:defRPr sz="1400" kern="1200">
        <a:solidFill>
          <a:schemeClr val="tx1"/>
        </a:solidFill>
        <a:latin typeface="+mn-lt"/>
        <a:ea typeface="+mn-ea"/>
        <a:cs typeface="+mn-cs"/>
      </a:defRPr>
    </a:lvl8pPr>
    <a:lvl9pPr marL="4355104" algn="l" defTabSz="1088776" rtl="0" eaLnBrk="1" latinLnBrk="0" hangingPunct="1">
      <a:defRPr sz="14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3" Type="http://schemas.openxmlformats.org/officeDocument/2006/relationships/hyperlink" Target="https://solace.community/discussion/473/jmstoolbox-an-open-source-queue-browser" TargetMode="External"/><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D8C2C35-2B8A-446E-BEC0-FD36716C29AC}" type="slidenum">
              <a:rPr lang="en-DE" smtClean="0"/>
              <a:pPr/>
              <a:t>1</a:t>
            </a:fld>
            <a:endParaRPr lang="en-DE"/>
          </a:p>
        </p:txBody>
      </p:sp>
    </p:spTree>
    <p:extLst>
      <p:ext uri="{BB962C8B-B14F-4D97-AF65-F5344CB8AC3E}">
        <p14:creationId xmlns:p14="http://schemas.microsoft.com/office/powerpoint/2010/main" val="236361391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7" name="Shape 207"/>
          <p:cNvSpPr>
            <a:spLocks noGrp="1" noRot="1" noChangeAspect="1"/>
          </p:cNvSpPr>
          <p:nvPr>
            <p:ph type="sldImg"/>
          </p:nvPr>
        </p:nvSpPr>
        <p:spPr>
          <a:xfrm>
            <a:off x="381000" y="685800"/>
            <a:ext cx="6096000" cy="3429000"/>
          </a:xfrm>
          <a:prstGeom prst="rect">
            <a:avLst/>
          </a:prstGeom>
        </p:spPr>
        <p:txBody>
          <a:bodyPr/>
          <a:lstStyle/>
          <a:p>
            <a:endParaRPr/>
          </a:p>
        </p:txBody>
      </p:sp>
      <p:sp>
        <p:nvSpPr>
          <p:cNvPr id="208" name="Shape 208"/>
          <p:cNvSpPr>
            <a:spLocks noGrp="1"/>
          </p:cNvSpPr>
          <p:nvPr>
            <p:ph type="body" sz="quarter" idx="1"/>
          </p:nvPr>
        </p:nvSpPr>
        <p:spPr>
          <a:prstGeom prst="rect">
            <a:avLst/>
          </a:prstGeom>
        </p:spPr>
        <p:txBody>
          <a:bodyPr/>
          <a:lstStyle/>
          <a:p>
            <a:pPr marL="171450" indent="-171450" defTabSz="1088775">
              <a:buFontTx/>
              <a:buChar char="-"/>
            </a:pPr>
            <a:endParaRPr dirty="0"/>
          </a:p>
        </p:txBody>
      </p:sp>
    </p:spTree>
    <p:extLst>
      <p:ext uri="{BB962C8B-B14F-4D97-AF65-F5344CB8AC3E}">
        <p14:creationId xmlns:p14="http://schemas.microsoft.com/office/powerpoint/2010/main" val="204659518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en-US" sz="8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16</a:t>
            </a:fld>
            <a:endParaRPr kumimoji="0" lang="en-US" sz="8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48388501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fld id="{7D8C2C35-2B8A-446E-BEC0-FD36716C29AC}" type="slidenum">
              <a:rPr lang="en-DE" smtClean="0"/>
              <a:pPr/>
              <a:t>17</a:t>
            </a:fld>
            <a:endParaRPr lang="en-DE"/>
          </a:p>
        </p:txBody>
      </p:sp>
    </p:spTree>
    <p:extLst>
      <p:ext uri="{BB962C8B-B14F-4D97-AF65-F5344CB8AC3E}">
        <p14:creationId xmlns:p14="http://schemas.microsoft.com/office/powerpoint/2010/main" val="320112857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D8C2C35-2B8A-446E-BEC0-FD36716C29AC}" type="slidenum">
              <a:rPr lang="en-DE" smtClean="0"/>
              <a:pPr/>
              <a:t>21</a:t>
            </a:fld>
            <a:endParaRPr lang="en-DE"/>
          </a:p>
        </p:txBody>
      </p:sp>
    </p:spTree>
    <p:extLst>
      <p:ext uri="{BB962C8B-B14F-4D97-AF65-F5344CB8AC3E}">
        <p14:creationId xmlns:p14="http://schemas.microsoft.com/office/powerpoint/2010/main" val="366065721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atin typeface="Calibri"/>
                <a:cs typeface="Calibri"/>
              </a:rPr>
              <a:t>No additional license required</a:t>
            </a:r>
          </a:p>
        </p:txBody>
      </p:sp>
      <p:sp>
        <p:nvSpPr>
          <p:cNvPr id="4" name="Slide Number Placeholder 3"/>
          <p:cNvSpPr>
            <a:spLocks noGrp="1"/>
          </p:cNvSpPr>
          <p:nvPr>
            <p:ph type="sldNum" sz="quarter" idx="5"/>
          </p:nvPr>
        </p:nvSpPr>
        <p:spPr/>
        <p:txBody>
          <a:bodyPr/>
          <a:lstStyle/>
          <a:p>
            <a:fld id="{7D8C2C35-2B8A-446E-BEC0-FD36716C29AC}" type="slidenum">
              <a:rPr lang="de-DE" smtClean="0"/>
              <a:pPr/>
              <a:t>23</a:t>
            </a:fld>
            <a:endParaRPr lang="de-DE"/>
          </a:p>
        </p:txBody>
      </p:sp>
    </p:spTree>
    <p:extLst>
      <p:ext uri="{BB962C8B-B14F-4D97-AF65-F5344CB8AC3E}">
        <p14:creationId xmlns:p14="http://schemas.microsoft.com/office/powerpoint/2010/main" val="53521878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 deliver our content on API hub, since events are also APIs in their own way. We provide the events, as well as the standard APIs, to let the customer extend our applications, not “in-app” extensibility within the ABAP stack, but externally on SAP Cloud Platform or some other extension platform of the customers’ choice.</a:t>
            </a:r>
          </a:p>
          <a:p>
            <a:r>
              <a:rPr lang="en-US" dirty="0"/>
              <a:t>In 2005 we have delivered 32 objects with 88 events, which is by far not enough. The events were in “Version Beta”, that is not released for productive usage.</a:t>
            </a:r>
          </a:p>
          <a:p>
            <a:r>
              <a:rPr lang="en-US" dirty="0"/>
              <a:t>In 2008, we plan to be Generally Available. And we will, for the most relevant standard APIs, OData-based and others, deliver accompanying events. Eventually every API has to deliver the related event. This is based on the assumption that our APIs are based – more or less – on business objects (or SAP Object Types [but it’s fair to use the term business object for SOTs]). Thus the standard events for all business objects that have an API should be provided.</a:t>
            </a:r>
          </a:p>
          <a:p>
            <a:r>
              <a:rPr lang="en-US" dirty="0"/>
              <a:t>Now, with development not quite finished, we have about 160 events, including those from Marketing. </a:t>
            </a:r>
          </a:p>
          <a:p>
            <a:r>
              <a:rPr lang="en-US" dirty="0"/>
              <a:t>All events are based on a new modeling approach that I will show later.</a:t>
            </a:r>
          </a:p>
          <a:p>
            <a:endParaRPr lang="en-DE" dirty="0"/>
          </a:p>
        </p:txBody>
      </p:sp>
      <p:sp>
        <p:nvSpPr>
          <p:cNvPr id="4" name="Slide Number Placeholder 3"/>
          <p:cNvSpPr>
            <a:spLocks noGrp="1"/>
          </p:cNvSpPr>
          <p:nvPr>
            <p:ph type="sldNum" sz="quarter" idx="5"/>
          </p:nvPr>
        </p:nvSpPr>
        <p:spPr/>
        <p:txBody>
          <a:bodyPr/>
          <a:lstStyle/>
          <a:p>
            <a:fld id="{7D8C2C35-2B8A-446E-BEC0-FD36716C29AC}" type="slidenum">
              <a:rPr lang="de-DE" smtClean="0"/>
              <a:pPr/>
              <a:t>24</a:t>
            </a:fld>
            <a:endParaRPr lang="de-DE" dirty="0"/>
          </a:p>
        </p:txBody>
      </p:sp>
    </p:spTree>
    <p:extLst>
      <p:ext uri="{BB962C8B-B14F-4D97-AF65-F5344CB8AC3E}">
        <p14:creationId xmlns:p14="http://schemas.microsoft.com/office/powerpoint/2010/main" val="421014210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en-US" sz="8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32</a:t>
            </a:fld>
            <a:endParaRPr kumimoji="0" lang="en-US" sz="8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388969861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285750" indent="-285750">
              <a:buFont typeface="Arial" panose="020B0604020202020204" pitchFamily="34" charset="0"/>
              <a:buChar char="•"/>
            </a:pPr>
            <a:endParaRPr lang="en-US" baseline="0"/>
          </a:p>
        </p:txBody>
      </p:sp>
      <p:sp>
        <p:nvSpPr>
          <p:cNvPr id="4" name="Slide Number Placeholder 3"/>
          <p:cNvSpPr>
            <a:spLocks noGrp="1"/>
          </p:cNvSpPr>
          <p:nvPr>
            <p:ph type="sldNum" sz="quarter" idx="10"/>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de-DE" sz="8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34</a:t>
            </a:fld>
            <a:endParaRPr kumimoji="0" lang="de-DE" sz="8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284890310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285750" indent="-285750">
              <a:buFont typeface="Arial" panose="020B0604020202020204" pitchFamily="34" charset="0"/>
              <a:buChar char="•"/>
            </a:pPr>
            <a:endParaRPr lang="en-US" baseline="0"/>
          </a:p>
        </p:txBody>
      </p:sp>
      <p:sp>
        <p:nvSpPr>
          <p:cNvPr id="4" name="Slide Number Placeholder 3"/>
          <p:cNvSpPr>
            <a:spLocks noGrp="1"/>
          </p:cNvSpPr>
          <p:nvPr>
            <p:ph type="sldNum" sz="quarter" idx="10"/>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de-DE" sz="8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35</a:t>
            </a:fld>
            <a:endParaRPr kumimoji="0" lang="de-DE" sz="8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284890310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lvl="0" indent="0" algn="l" defTabSz="1088776"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5"/>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9DEAB884-581B-4822-BDC5-F26D3BDA2CAC}" type="slidenum">
              <a:rPr kumimoji="0" lang="en-US" sz="8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36</a:t>
            </a:fld>
            <a:endParaRPr kumimoji="0" lang="en-US" sz="8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225363047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D8C2C35-2B8A-446E-BEC0-FD36716C29AC}" type="slidenum">
              <a:rPr lang="en-DE" smtClean="0"/>
              <a:pPr/>
              <a:t>2</a:t>
            </a:fld>
            <a:endParaRPr lang="en-DE"/>
          </a:p>
        </p:txBody>
      </p:sp>
    </p:spTree>
    <p:extLst>
      <p:ext uri="{BB962C8B-B14F-4D97-AF65-F5344CB8AC3E}">
        <p14:creationId xmlns:p14="http://schemas.microsoft.com/office/powerpoint/2010/main" val="296859287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SG" dirty="0"/>
          </a:p>
        </p:txBody>
      </p:sp>
      <p:sp>
        <p:nvSpPr>
          <p:cNvPr id="4" name="Slide Number Placeholder 3"/>
          <p:cNvSpPr>
            <a:spLocks noGrp="1"/>
          </p:cNvSpPr>
          <p:nvPr>
            <p:ph type="sldNum" sz="quarter" idx="5"/>
          </p:nvPr>
        </p:nvSpPr>
        <p:spPr/>
        <p:txBody>
          <a:bodyPr/>
          <a:lstStyle/>
          <a:p>
            <a:fld id="{0BA01E0B-A923-C442-8EA4-076ACD4C9686}" type="slidenum">
              <a:rPr lang="en-US" smtClean="0"/>
              <a:t>37</a:t>
            </a:fld>
            <a:endParaRPr lang="en-US" dirty="0"/>
          </a:p>
        </p:txBody>
      </p:sp>
    </p:spTree>
    <p:extLst>
      <p:ext uri="{BB962C8B-B14F-4D97-AF65-F5344CB8AC3E}">
        <p14:creationId xmlns:p14="http://schemas.microsoft.com/office/powerpoint/2010/main" val="4885777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E" dirty="0"/>
          </a:p>
        </p:txBody>
      </p:sp>
      <p:sp>
        <p:nvSpPr>
          <p:cNvPr id="4" name="Slide Number Placeholder 3"/>
          <p:cNvSpPr>
            <a:spLocks noGrp="1"/>
          </p:cNvSpPr>
          <p:nvPr>
            <p:ph type="sldNum" sz="quarter" idx="5"/>
          </p:nvPr>
        </p:nvSpPr>
        <p:spPr/>
        <p:txBody>
          <a:bodyPr/>
          <a:lstStyle/>
          <a:p>
            <a:fld id="{7D8C2C35-2B8A-446E-BEC0-FD36716C29AC}" type="slidenum">
              <a:rPr lang="en-DE" smtClean="0"/>
              <a:pPr/>
              <a:t>38</a:t>
            </a:fld>
            <a:endParaRPr lang="en-DE"/>
          </a:p>
        </p:txBody>
      </p:sp>
    </p:spTree>
    <p:extLst>
      <p:ext uri="{BB962C8B-B14F-4D97-AF65-F5344CB8AC3E}">
        <p14:creationId xmlns:p14="http://schemas.microsoft.com/office/powerpoint/2010/main" val="174778693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25000" lnSpcReduction="20000"/>
          </a:bodyPr>
          <a:lstStyle/>
          <a:p>
            <a:pPr>
              <a:lnSpc>
                <a:spcPct val="107000"/>
              </a:lnSpc>
              <a:spcAft>
                <a:spcPts val="800"/>
              </a:spcAft>
            </a:pPr>
            <a:r>
              <a:rPr lang="en-US" dirty="0">
                <a:latin typeface="Calibri"/>
                <a:ea typeface="Calibri" panose="020F0502020204030204" pitchFamily="34" charset="0"/>
                <a:cs typeface="Calibri"/>
              </a:rPr>
              <a:t>The </a:t>
            </a:r>
            <a:r>
              <a:rPr lang="en-US" sz="1400" dirty="0">
                <a:effectLst/>
                <a:latin typeface="Calibri"/>
                <a:ea typeface="Calibri" panose="020F0502020204030204" pitchFamily="34" charset="0"/>
                <a:cs typeface="Calibri"/>
              </a:rPr>
              <a:t>Integration Suite on SAP BTP is SAP´s</a:t>
            </a:r>
            <a:r>
              <a:rPr lang="en-US" dirty="0">
                <a:latin typeface="Calibri"/>
                <a:ea typeface="Calibri" panose="020F0502020204030204" pitchFamily="34" charset="0"/>
                <a:cs typeface="Calibri"/>
              </a:rPr>
              <a:t> </a:t>
            </a:r>
            <a:r>
              <a:rPr lang="en-US" sz="1400" b="0" dirty="0">
                <a:solidFill>
                  <a:srgbClr val="000000"/>
                </a:solidFill>
                <a:effectLst/>
                <a:ea typeface="Calibri" panose="020F0502020204030204" pitchFamily="34" charset="0"/>
                <a:cs typeface="72" panose="020B0503030000000003" pitchFamily="34" charset="0"/>
                <a:sym typeface="Arial"/>
              </a:rPr>
              <a:t>c</a:t>
            </a:r>
            <a:r>
              <a:rPr lang="en-US" sz="1400" b="0" dirty="0">
                <a:solidFill>
                  <a:srgbClr val="000000"/>
                </a:solidFill>
                <a:cs typeface="72" panose="020B0503030000000003" pitchFamily="34" charset="0"/>
                <a:sym typeface="Arial"/>
              </a:rPr>
              <a:t>omprehensive, </a:t>
            </a:r>
            <a:r>
              <a:rPr lang="en-US" sz="1400" dirty="0">
                <a:effectLst/>
                <a:latin typeface="Calibri"/>
                <a:ea typeface="Calibri" panose="020F0502020204030204" pitchFamily="34" charset="0"/>
                <a:cs typeface="Calibri"/>
              </a:rPr>
              <a:t>versatile, hybrid, and enterprise-grade integration platform </a:t>
            </a:r>
            <a:r>
              <a:rPr lang="en-US" sz="1400" b="0" dirty="0">
                <a:solidFill>
                  <a:srgbClr val="000000"/>
                </a:solidFill>
                <a:cs typeface="72" panose="020B0503030000000003" pitchFamily="34" charset="0"/>
                <a:sym typeface="Arial"/>
              </a:rPr>
              <a:t>covering all integration styles and landscapes</a:t>
            </a:r>
            <a:r>
              <a:rPr lang="en-US" sz="1400" dirty="0">
                <a:effectLst/>
                <a:latin typeface="Calibri"/>
                <a:ea typeface="Calibri" panose="020F0502020204030204" pitchFamily="34" charset="0"/>
                <a:cs typeface="Calibri"/>
              </a:rPr>
              <a:t>.</a:t>
            </a:r>
            <a:r>
              <a:rPr lang="en-US" dirty="0">
                <a:latin typeface="Calibri"/>
                <a:ea typeface="Calibri" panose="020F0502020204030204" pitchFamily="34" charset="0"/>
                <a:cs typeface="Calibri"/>
              </a:rPr>
              <a:t> </a:t>
            </a:r>
            <a:endParaRPr lang="en-US" sz="1400" dirty="0">
              <a:effectLst/>
              <a:latin typeface="Calibri"/>
              <a:ea typeface="Calibri" panose="020F0502020204030204" pitchFamily="34" charset="0"/>
              <a:cs typeface="Calibri"/>
            </a:endParaRPr>
          </a:p>
          <a:p>
            <a:pPr>
              <a:lnSpc>
                <a:spcPct val="107000"/>
              </a:lnSpc>
              <a:spcAft>
                <a:spcPts val="800"/>
              </a:spcAft>
            </a:pP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p>
            <a:pPr marL="180000" marR="0" lvl="1" indent="-180000" algn="l" defTabSz="1088776" rtl="0" eaLnBrk="1" fontAlgn="auto" latinLnBrk="0" hangingPunct="1">
              <a:lnSpc>
                <a:spcPct val="107000"/>
              </a:lnSpc>
              <a:spcBef>
                <a:spcPts val="0"/>
              </a:spcBef>
              <a:spcAft>
                <a:spcPts val="800"/>
              </a:spcAft>
              <a:buClr>
                <a:srgbClr val="F0AB00"/>
              </a:buClr>
              <a:buSzPct val="100000"/>
              <a:buFont typeface="Wingdings" pitchFamily="2" charset="2"/>
              <a:buChar char=""/>
              <a:tabLst/>
              <a:defRPr/>
            </a:pPr>
            <a:r>
              <a:rPr lang="en-US" sz="1400" b="0" kern="1200" dirty="0">
                <a:solidFill>
                  <a:srgbClr val="000000"/>
                </a:solidFill>
                <a:ea typeface="+mn-ea"/>
                <a:cs typeface="BentonSans Bold"/>
                <a:sym typeface="Arial"/>
              </a:rPr>
              <a:t>It is central to SAP BTP and the </a:t>
            </a:r>
            <a:r>
              <a:rPr lang="en-US" sz="1400" b="1" kern="1200" dirty="0">
                <a:solidFill>
                  <a:srgbClr val="000000"/>
                </a:solidFill>
                <a:ea typeface="+mn-ea"/>
                <a:cs typeface="BentonSans Bold"/>
                <a:sym typeface="Arial"/>
              </a:rPr>
              <a:t>enabler of end-to-end business processes </a:t>
            </a:r>
            <a:r>
              <a:rPr lang="en-US" sz="1400" b="0" kern="1200" dirty="0">
                <a:solidFill>
                  <a:srgbClr val="000000"/>
                </a:solidFill>
                <a:ea typeface="+mn-ea"/>
                <a:cs typeface="BentonSans Bold"/>
                <a:sym typeface="Arial"/>
              </a:rPr>
              <a:t>across LoB, partners and third-party applications</a:t>
            </a:r>
          </a:p>
          <a:p>
            <a:pPr marL="180000" marR="0" lvl="1" indent="-180000" algn="l" defTabSz="1088776" rtl="0" eaLnBrk="1" fontAlgn="auto" latinLnBrk="0" hangingPunct="1">
              <a:lnSpc>
                <a:spcPct val="107000"/>
              </a:lnSpc>
              <a:spcBef>
                <a:spcPts val="0"/>
              </a:spcBef>
              <a:spcAft>
                <a:spcPts val="800"/>
              </a:spcAft>
              <a:buClr>
                <a:srgbClr val="F0AB00"/>
              </a:buClr>
              <a:buSzPct val="100000"/>
              <a:buFont typeface="Wingdings" pitchFamily="2" charset="2"/>
              <a:buChar char=""/>
              <a:tabLst/>
              <a:defRPr/>
            </a:pPr>
            <a:r>
              <a:rPr lang="en-US" sz="1400" dirty="0">
                <a:effectLst/>
                <a:latin typeface="Calibri" panose="020F0502020204030204" pitchFamily="34" charset="0"/>
                <a:ea typeface="Calibri" panose="020F0502020204030204" pitchFamily="34" charset="0"/>
                <a:cs typeface="Times New Roman" panose="02020603050405020304" pitchFamily="18" charset="0"/>
              </a:rPr>
              <a:t>It </a:t>
            </a:r>
            <a:r>
              <a:rPr lang="en-US" sz="1400" b="1" dirty="0">
                <a:effectLst/>
                <a:latin typeface="Calibri" panose="020F0502020204030204" pitchFamily="34" charset="0"/>
                <a:ea typeface="Calibri" panose="020F0502020204030204" pitchFamily="34" charset="0"/>
                <a:cs typeface="Times New Roman" panose="02020603050405020304" pitchFamily="18" charset="0"/>
              </a:rPr>
              <a:t>simplifies and accelerates integration projects</a:t>
            </a:r>
            <a:r>
              <a:rPr lang="en-US" sz="1400" dirty="0">
                <a:effectLst/>
                <a:latin typeface="Calibri" panose="020F0502020204030204" pitchFamily="34" charset="0"/>
                <a:ea typeface="Calibri" panose="020F0502020204030204" pitchFamily="34" charset="0"/>
                <a:cs typeface="Times New Roman" panose="02020603050405020304" pitchFamily="18" charset="0"/>
              </a:rPr>
              <a:t> and </a:t>
            </a:r>
            <a:r>
              <a:rPr lang="en-US" sz="1400" b="0" dirty="0">
                <a:effectLst/>
                <a:latin typeface="Calibri" panose="020F0502020204030204" pitchFamily="34" charset="0"/>
                <a:ea typeface="Calibri" panose="020F0502020204030204" pitchFamily="34" charset="0"/>
                <a:cs typeface="Times New Roman" panose="02020603050405020304" pitchFamily="18" charset="0"/>
              </a:rPr>
              <a:t>helps organizations to quickly transition </a:t>
            </a:r>
            <a:r>
              <a:rPr lang="en-US" sz="1400" dirty="0">
                <a:effectLst/>
                <a:latin typeface="Calibri" panose="020F0502020204030204" pitchFamily="34" charset="0"/>
                <a:ea typeface="Calibri" panose="020F0502020204030204" pitchFamily="34" charset="0"/>
                <a:cs typeface="Times New Roman" panose="02020603050405020304" pitchFamily="18" charset="0"/>
              </a:rPr>
              <a:t>to intelligent enterprises. </a:t>
            </a:r>
          </a:p>
          <a:p>
            <a:pPr marL="180000" lvl="1" indent="-180000">
              <a:buClr>
                <a:srgbClr val="F0AB00"/>
              </a:buClr>
              <a:defRPr/>
            </a:pPr>
            <a:r>
              <a:rPr lang="en-US" sz="1400" b="0" dirty="0">
                <a:cs typeface="72" panose="020B0503030000000003" pitchFamily="34" charset="0"/>
              </a:rPr>
              <a:t>Enhanced </a:t>
            </a:r>
            <a:r>
              <a:rPr lang="en-US" sz="1400" b="1" dirty="0">
                <a:cs typeface="72" panose="020B0503030000000003" pitchFamily="34" charset="0"/>
              </a:rPr>
              <a:t>event stream processing </a:t>
            </a:r>
            <a:r>
              <a:rPr lang="en-US" sz="1400" b="0" dirty="0">
                <a:cs typeface="72" panose="020B0503030000000003" pitchFamily="34" charset="0"/>
              </a:rPr>
              <a:t>powering real-time, resilient, and scalable connectivity across heterogenous and hybrid clouds.</a:t>
            </a:r>
          </a:p>
          <a:p>
            <a:pPr algn="l"/>
            <a:endParaRPr lang="en-US" sz="1800" dirty="0">
              <a:solidFill>
                <a:srgbClr val="242424"/>
              </a:solidFill>
              <a:effectLst/>
            </a:endParaRPr>
          </a:p>
          <a:p>
            <a:r>
              <a:rPr lang="en-US" sz="1800" b="0" dirty="0"/>
              <a:t>Around you see </a:t>
            </a:r>
            <a:r>
              <a:rPr lang="en-US" sz="1800" dirty="0"/>
              <a:t>SAP’s popular applications (</a:t>
            </a:r>
            <a:r>
              <a:rPr lang="en-US" sz="1800" b="1" dirty="0"/>
              <a:t>both cloud and on-premises </a:t>
            </a:r>
            <a:r>
              <a:rPr lang="en-US" sz="1800" dirty="0"/>
              <a:t>based)</a:t>
            </a:r>
          </a:p>
          <a:p>
            <a:r>
              <a:rPr lang="en-US" sz="1800" b="0" dirty="0"/>
              <a:t>And the different </a:t>
            </a:r>
            <a:r>
              <a:rPr lang="en-US" sz="1800" b="1" dirty="0"/>
              <a:t>non-SAP third-party </a:t>
            </a:r>
            <a:r>
              <a:rPr lang="en-US" sz="1800" dirty="0"/>
              <a:t>applications, which could also </a:t>
            </a:r>
            <a:r>
              <a:rPr lang="en-US" sz="1800" b="1" dirty="0"/>
              <a:t>include legacy or proprietary on-premises </a:t>
            </a:r>
            <a:r>
              <a:rPr lang="en-US" sz="1800" dirty="0"/>
              <a:t>customer applications.</a:t>
            </a:r>
          </a:p>
          <a:p>
            <a:endParaRPr lang="en-US" sz="1800" dirty="0"/>
          </a:p>
          <a:p>
            <a:r>
              <a:rPr lang="en-US" sz="1800" b="1" dirty="0"/>
              <a:t>SAP API Business Hub </a:t>
            </a:r>
            <a:r>
              <a:rPr lang="en-US" sz="1800" dirty="0"/>
              <a:t>is where you can discover and find pre-built integrations, APIs, application events where you want to integration (e.g., new sales order created) to happen, as well as, connecters and e-government scenarios (e.g., e-invoicing for Spain)</a:t>
            </a:r>
          </a:p>
          <a:p>
            <a:endParaRPr lang="en-US" sz="1800" dirty="0"/>
          </a:p>
          <a:p>
            <a:r>
              <a:rPr lang="en-US" sz="1800" dirty="0"/>
              <a:t>In the </a:t>
            </a:r>
            <a:r>
              <a:rPr lang="en-US" sz="1800" b="1" dirty="0"/>
              <a:t>middle</a:t>
            </a:r>
            <a:r>
              <a:rPr lang="en-US" sz="1800" dirty="0"/>
              <a:t> are the capabilities of SAP Integration Suite.  </a:t>
            </a:r>
          </a:p>
          <a:p>
            <a:pPr algn="l"/>
            <a:endParaRPr lang="en-US" sz="1800" dirty="0">
              <a:solidFill>
                <a:srgbClr val="242424"/>
              </a:solidFill>
              <a:effectLst/>
            </a:endParaRPr>
          </a:p>
          <a:p>
            <a:pPr algn="l"/>
            <a:r>
              <a:rPr lang="en-US" sz="1800" b="1" dirty="0">
                <a:solidFill>
                  <a:srgbClr val="242424"/>
                </a:solidFill>
                <a:effectLst/>
              </a:rPr>
              <a:t>The suite is composed of the following main capabilities:</a:t>
            </a:r>
            <a:endParaRPr lang="en-US" b="1" dirty="0">
              <a:solidFill>
                <a:srgbClr val="242424"/>
              </a:solidFill>
              <a:effectLst/>
            </a:endParaRPr>
          </a:p>
          <a:p>
            <a:pPr marL="180000" marR="0" lvl="1" indent="-180000" algn="l" defTabSz="1088776" rtl="0" eaLnBrk="1" fontAlgn="auto" latinLnBrk="0" hangingPunct="1">
              <a:lnSpc>
                <a:spcPct val="100000"/>
              </a:lnSpc>
              <a:spcBef>
                <a:spcPts val="0"/>
              </a:spcBef>
              <a:spcAft>
                <a:spcPts val="0"/>
              </a:spcAft>
              <a:buClr>
                <a:srgbClr val="F0AB00"/>
              </a:buClr>
              <a:buSzPct val="100000"/>
              <a:buFont typeface="Wingdings" pitchFamily="2" charset="2"/>
              <a:buChar char=""/>
              <a:tabLst/>
              <a:defRPr/>
            </a:pPr>
            <a:r>
              <a:rPr lang="en-US" sz="1400" b="1" i="0" kern="1200" dirty="0">
                <a:solidFill>
                  <a:srgbClr val="000000"/>
                </a:solidFill>
                <a:ea typeface="+mn-ea"/>
              </a:rPr>
              <a:t>Integration Assessment </a:t>
            </a:r>
            <a:r>
              <a:rPr lang="en-US" sz="1400" b="0" kern="1200" dirty="0">
                <a:solidFill>
                  <a:srgbClr val="000000"/>
                </a:solidFill>
                <a:ea typeface="+mn-ea"/>
              </a:rPr>
              <a:t>– Take a systematic approach to design, document, and govern an integration technology strategy in your enterprise, based on key parts of the ISA-M template (SAP Integration Solution Advisory Methodology)</a:t>
            </a:r>
          </a:p>
          <a:p>
            <a:pPr marL="180000" lvl="1" indent="-180000" algn="l" defTabSz="1088776" rtl="0" eaLnBrk="1" latinLnBrk="0" hangingPunct="1">
              <a:buClr>
                <a:srgbClr val="F0AB00"/>
              </a:buClr>
              <a:buSzPct val="100000"/>
              <a:buFont typeface="Wingdings" pitchFamily="2" charset="2"/>
              <a:buChar char=""/>
              <a:defRPr/>
            </a:pPr>
            <a:r>
              <a:rPr lang="en-US" sz="1400" b="1" i="0" kern="1200" dirty="0">
                <a:solidFill>
                  <a:srgbClr val="000000"/>
                </a:solidFill>
                <a:ea typeface="+mn-ea"/>
              </a:rPr>
              <a:t>Cloud Integration </a:t>
            </a:r>
            <a:r>
              <a:rPr lang="en-US" sz="1400" b="0" kern="1200" dirty="0">
                <a:solidFill>
                  <a:srgbClr val="000000"/>
                </a:solidFill>
                <a:ea typeface="+mn-ea"/>
              </a:rPr>
              <a:t>– to discover, develop, and operate scenarios for end-to-end process integration, covering A2A, B2B, B2G integrations</a:t>
            </a:r>
          </a:p>
          <a:p>
            <a:pPr marL="180000" marR="0" lvl="1" indent="-180000" algn="l" defTabSz="1088776" rtl="0" eaLnBrk="1" fontAlgn="auto" latinLnBrk="0" hangingPunct="1">
              <a:lnSpc>
                <a:spcPct val="100000"/>
              </a:lnSpc>
              <a:spcBef>
                <a:spcPts val="0"/>
              </a:spcBef>
              <a:spcAft>
                <a:spcPts val="0"/>
              </a:spcAft>
              <a:buClr>
                <a:srgbClr val="F0AB00"/>
              </a:buClr>
              <a:buSzPct val="100000"/>
              <a:buFont typeface="Wingdings" pitchFamily="2" charset="2"/>
              <a:buChar char=""/>
              <a:tabLst/>
              <a:defRPr/>
            </a:pPr>
            <a:r>
              <a:rPr lang="en-US" sz="1400" b="1" i="0" kern="1200" dirty="0">
                <a:solidFill>
                  <a:srgbClr val="000000"/>
                </a:solidFill>
                <a:ea typeface="+mn-ea"/>
              </a:rPr>
              <a:t>Integration Advisor </a:t>
            </a:r>
            <a:r>
              <a:rPr lang="en-US" sz="1400" b="0" kern="1200" dirty="0">
                <a:solidFill>
                  <a:srgbClr val="000000"/>
                </a:solidFill>
                <a:ea typeface="+mn-ea"/>
              </a:rPr>
              <a:t>– to accelerate the development of interfaces and mappings using crowdsourcing and machine learning capabilities to accelerate the interface design</a:t>
            </a:r>
          </a:p>
          <a:p>
            <a:pPr marL="180000" marR="0" lvl="1" indent="-180000" algn="l" defTabSz="1088776" rtl="0" eaLnBrk="1" fontAlgn="auto" latinLnBrk="0" hangingPunct="1">
              <a:lnSpc>
                <a:spcPct val="100000"/>
              </a:lnSpc>
              <a:spcBef>
                <a:spcPts val="0"/>
              </a:spcBef>
              <a:spcAft>
                <a:spcPts val="0"/>
              </a:spcAft>
              <a:buClr>
                <a:srgbClr val="F0AB00"/>
              </a:buClr>
              <a:buSzPct val="100000"/>
              <a:buFont typeface="Wingdings" pitchFamily="2" charset="2"/>
              <a:buChar char=""/>
              <a:tabLst/>
              <a:defRPr/>
            </a:pPr>
            <a:r>
              <a:rPr lang="en-US" sz="1400" b="1" i="0" kern="1200" dirty="0">
                <a:solidFill>
                  <a:srgbClr val="000000"/>
                </a:solidFill>
                <a:ea typeface="+mn-ea"/>
              </a:rPr>
              <a:t>Trading Partner Management </a:t>
            </a:r>
            <a:r>
              <a:rPr lang="en-US" sz="1400" b="0" kern="1200" dirty="0">
                <a:solidFill>
                  <a:srgbClr val="000000"/>
                </a:solidFill>
                <a:ea typeface="+mn-ea"/>
              </a:rPr>
              <a:t>– to maintain, operate, and monitor B2B scenarios:  to customize own company and the trading partners to get them onboarded to scenarios. Message Implementation Guideline (MIG) and Mapping Guidelines (MAG) will be then generated via Integration Advisor.</a:t>
            </a:r>
          </a:p>
          <a:p>
            <a:pPr marL="180000" lvl="1" indent="-180000" algn="l" defTabSz="1088776" rtl="0" eaLnBrk="1" latinLnBrk="0" hangingPunct="1">
              <a:buClr>
                <a:srgbClr val="F0AB00"/>
              </a:buClr>
              <a:buSzPct val="100000"/>
              <a:buFont typeface="Wingdings" pitchFamily="2" charset="2"/>
              <a:buChar char=""/>
              <a:defRPr/>
            </a:pPr>
            <a:r>
              <a:rPr lang="en-US" sz="1400" b="1" i="0" kern="1200" dirty="0">
                <a:solidFill>
                  <a:srgbClr val="000000"/>
                </a:solidFill>
                <a:ea typeface="+mn-ea"/>
              </a:rPr>
              <a:t>API Management </a:t>
            </a:r>
            <a:r>
              <a:rPr lang="en-US" sz="1400" b="0" kern="1200" dirty="0">
                <a:solidFill>
                  <a:srgbClr val="000000"/>
                </a:solidFill>
                <a:ea typeface="+mn-ea"/>
              </a:rPr>
              <a:t>– to design, deliver and manage all your APIs covering the entire lifecycle of APIs until deprecation of APIs</a:t>
            </a:r>
          </a:p>
          <a:p>
            <a:pPr marL="180000" marR="0" lvl="1" indent="-180000" algn="l" defTabSz="1088776" rtl="0" eaLnBrk="1" fontAlgn="auto" latinLnBrk="0" hangingPunct="1">
              <a:lnSpc>
                <a:spcPct val="100000"/>
              </a:lnSpc>
              <a:spcBef>
                <a:spcPts val="0"/>
              </a:spcBef>
              <a:spcAft>
                <a:spcPts val="0"/>
              </a:spcAft>
              <a:buClr>
                <a:srgbClr val="F0AB00"/>
              </a:buClr>
              <a:buSzPct val="100000"/>
              <a:buFont typeface="Wingdings" pitchFamily="2" charset="2"/>
              <a:buChar char=""/>
              <a:tabLst/>
              <a:defRPr/>
            </a:pPr>
            <a:r>
              <a:rPr lang="en-US" sz="1400" b="1" i="0" kern="1200" dirty="0">
                <a:solidFill>
                  <a:srgbClr val="000000"/>
                </a:solidFill>
                <a:ea typeface="+mn-ea"/>
              </a:rPr>
              <a:t>Graph</a:t>
            </a:r>
            <a:r>
              <a:rPr lang="en-US" sz="1400" b="0" kern="1200" dirty="0">
                <a:solidFill>
                  <a:srgbClr val="000000"/>
                </a:solidFill>
                <a:ea typeface="+mn-ea"/>
              </a:rPr>
              <a:t> as part of the API Management capability: </a:t>
            </a:r>
            <a:r>
              <a:rPr lang="en-US" sz="1800" dirty="0">
                <a:solidFill>
                  <a:srgbClr val="000000"/>
                </a:solidFill>
                <a:effectLst/>
                <a:latin typeface="Calibri" panose="020F0502020204030204" pitchFamily="34" charset="0"/>
                <a:ea typeface="Calibri" panose="020F0502020204030204" pitchFamily="34" charset="0"/>
              </a:rPr>
              <a:t>create</a:t>
            </a:r>
            <a:r>
              <a:rPr lang="en-US" sz="1800" b="1" dirty="0">
                <a:solidFill>
                  <a:srgbClr val="000000"/>
                </a:solidFill>
                <a:effectLst/>
                <a:latin typeface="Calibri" panose="020F0502020204030204" pitchFamily="34" charset="0"/>
                <a:ea typeface="Calibri" panose="020F0502020204030204" pitchFamily="34" charset="0"/>
              </a:rPr>
              <a:t> </a:t>
            </a:r>
            <a:r>
              <a:rPr lang="en-US" sz="1800" b="0" dirty="0">
                <a:solidFill>
                  <a:srgbClr val="000000"/>
                </a:solidFill>
                <a:effectLst/>
                <a:latin typeface="Calibri" panose="020F0502020204030204" pitchFamily="34" charset="0"/>
                <a:ea typeface="Calibri" panose="020F0502020204030204" pitchFamily="34" charset="0"/>
              </a:rPr>
              <a:t>out-of-the-box one connected data graph </a:t>
            </a:r>
            <a:r>
              <a:rPr lang="en-US" sz="1800" dirty="0">
                <a:solidFill>
                  <a:srgbClr val="000000"/>
                </a:solidFill>
                <a:effectLst/>
                <a:latin typeface="Calibri" panose="020F0502020204030204" pitchFamily="34" charset="0"/>
                <a:ea typeface="Calibri" panose="020F0502020204030204" pitchFamily="34" charset="0"/>
              </a:rPr>
              <a:t>of SAP-managed business data directly in SAP Integration Suite. They can also compose their own or extend the business data graph with additional data models and sources. </a:t>
            </a:r>
            <a:endParaRPr lang="en-US" sz="1400" b="0" kern="1200" dirty="0">
              <a:solidFill>
                <a:srgbClr val="000000"/>
              </a:solidFill>
              <a:ea typeface="+mn-ea"/>
            </a:endParaRPr>
          </a:p>
          <a:p>
            <a:pPr marL="180000" lvl="1" indent="-180000" algn="l" defTabSz="1088776" rtl="0" eaLnBrk="1" latinLnBrk="0" hangingPunct="1">
              <a:buClr>
                <a:srgbClr val="F0AB00"/>
              </a:buClr>
              <a:buSzPct val="100000"/>
              <a:buFont typeface="Wingdings" pitchFamily="2" charset="2"/>
              <a:buChar char=""/>
              <a:defRPr/>
            </a:pPr>
            <a:r>
              <a:rPr lang="en-US" sz="1400" b="1" i="0" kern="1200" dirty="0">
                <a:solidFill>
                  <a:srgbClr val="000000"/>
                </a:solidFill>
                <a:ea typeface="+mn-ea"/>
              </a:rPr>
              <a:t>Open Connectors </a:t>
            </a:r>
            <a:r>
              <a:rPr lang="en-US" sz="1400" b="0" kern="1200" dirty="0">
                <a:solidFill>
                  <a:srgbClr val="000000"/>
                </a:solidFill>
                <a:ea typeface="+mn-ea"/>
              </a:rPr>
              <a:t>– to simplify non-SAP connectivity and to add non-SAP cloud applications to your integration scenarios</a:t>
            </a:r>
          </a:p>
          <a:p>
            <a:pPr marL="180000" marR="0" lvl="1" indent="-180000" algn="l" defTabSz="1088776" rtl="0" eaLnBrk="1" fontAlgn="auto" latinLnBrk="0" hangingPunct="1">
              <a:lnSpc>
                <a:spcPct val="100000"/>
              </a:lnSpc>
              <a:spcBef>
                <a:spcPts val="0"/>
              </a:spcBef>
              <a:spcAft>
                <a:spcPts val="0"/>
              </a:spcAft>
              <a:buClr>
                <a:srgbClr val="F0AB00"/>
              </a:buClr>
              <a:buSzPct val="100000"/>
              <a:buFont typeface="Wingdings" pitchFamily="2" charset="2"/>
              <a:buChar char=""/>
              <a:tabLst/>
              <a:defRPr/>
            </a:pPr>
            <a:r>
              <a:rPr lang="en-US" sz="1400" dirty="0"/>
              <a:t>New kid in the family is the </a:t>
            </a:r>
            <a:r>
              <a:rPr lang="en-US" sz="1400" b="1" kern="1200" dirty="0">
                <a:solidFill>
                  <a:srgbClr val="000000"/>
                </a:solidFill>
                <a:effectLst/>
                <a:ea typeface="+mn-ea"/>
              </a:rPr>
              <a:t>Event Mesh</a:t>
            </a:r>
            <a:r>
              <a:rPr lang="en-US" sz="1400" b="0" kern="1200" dirty="0">
                <a:solidFill>
                  <a:srgbClr val="000000"/>
                </a:solidFill>
                <a:effectLst/>
                <a:ea typeface="+mn-ea"/>
              </a:rPr>
              <a:t>. It is commercially included to SAP Integration Suite. Event Mesh</a:t>
            </a:r>
            <a:r>
              <a:rPr lang="en-US" dirty="0">
                <a:solidFill>
                  <a:srgbClr val="242424"/>
                </a:solidFill>
                <a:effectLst/>
              </a:rPr>
              <a:t> is our </a:t>
            </a:r>
            <a:r>
              <a:rPr lang="en-US" sz="1400" dirty="0"/>
              <a:t>fully-managed event streaming and management service that enables enterprise-grade event-driven architecture. It is part of SAP’s event-driven ecosystem and powers end-to-end event-driven architectures. Event Mesh is a low entry barrier to event-driven architectures, specifically with customer friendly pay per use pricing. Parallel the SAP Event Mesh standalone SKUs are available. See note for the current functional restrictions of the Event Mesh capability within SIS: https://me.sap.com/notes/3461547</a:t>
            </a:r>
          </a:p>
          <a:p>
            <a:pPr marL="180000" marR="0" lvl="1" indent="-180000" algn="l" defTabSz="1088776" rtl="0" eaLnBrk="1" fontAlgn="auto" latinLnBrk="0" hangingPunct="1">
              <a:lnSpc>
                <a:spcPct val="100000"/>
              </a:lnSpc>
              <a:spcBef>
                <a:spcPts val="0"/>
              </a:spcBef>
              <a:spcAft>
                <a:spcPts val="0"/>
              </a:spcAft>
              <a:buClr>
                <a:srgbClr val="F0AB00"/>
              </a:buClr>
              <a:buSzPct val="100000"/>
              <a:buFont typeface="Wingdings" pitchFamily="2" charset="2"/>
              <a:buChar char=""/>
              <a:tabLst/>
              <a:defRPr/>
            </a:pPr>
            <a:r>
              <a:rPr lang="en-US" sz="1400" b="0" kern="1200" dirty="0">
                <a:solidFill>
                  <a:srgbClr val="000000"/>
                </a:solidFill>
                <a:effectLst/>
                <a:ea typeface="+mn-ea"/>
              </a:rPr>
              <a:t>SAP Inte</a:t>
            </a:r>
            <a:r>
              <a:rPr lang="en-US" dirty="0">
                <a:solidFill>
                  <a:srgbClr val="242424"/>
                </a:solidFill>
                <a:effectLst/>
              </a:rPr>
              <a:t>gration Suite, </a:t>
            </a:r>
            <a:r>
              <a:rPr lang="en-US" b="1" dirty="0">
                <a:solidFill>
                  <a:srgbClr val="242424"/>
                </a:solidFill>
                <a:effectLst/>
              </a:rPr>
              <a:t>advanced event mesh </a:t>
            </a:r>
            <a:r>
              <a:rPr lang="en-US" dirty="0">
                <a:solidFill>
                  <a:srgbClr val="242424"/>
                </a:solidFill>
                <a:effectLst/>
              </a:rPr>
              <a:t>service: it is also a </a:t>
            </a:r>
            <a:r>
              <a:rPr lang="en-US" sz="1400" dirty="0">
                <a:solidFill>
                  <a:srgbClr val="242424"/>
                </a:solidFill>
                <a:effectLst/>
                <a:latin typeface="72" panose="020B0503030000000003" pitchFamily="34" charset="0"/>
              </a:rPr>
              <a:t>f</a:t>
            </a:r>
            <a:r>
              <a:rPr lang="en-US" sz="1400" dirty="0">
                <a:latin typeface="72" panose="020B0503030000000003" pitchFamily="34" charset="0"/>
              </a:rPr>
              <a:t>ully-managed event streaming and management service and offers supreme scalability and flexibility for business processes. Customers will start with Event Mesh and end with AEM once their EDAs reach a certain maturity level. </a:t>
            </a:r>
          </a:p>
          <a:p>
            <a:pPr marL="180000" marR="0" lvl="1" indent="-180000" algn="l" defTabSz="1088776" rtl="0" eaLnBrk="1" fontAlgn="auto" latinLnBrk="0" hangingPunct="1">
              <a:lnSpc>
                <a:spcPct val="100000"/>
              </a:lnSpc>
              <a:spcBef>
                <a:spcPts val="0"/>
              </a:spcBef>
              <a:spcAft>
                <a:spcPts val="0"/>
              </a:spcAft>
              <a:buClr>
                <a:srgbClr val="F0AB00"/>
              </a:buClr>
              <a:buSzPct val="100000"/>
              <a:buFont typeface="Wingdings" pitchFamily="2" charset="2"/>
              <a:buChar char=""/>
              <a:tabLst/>
              <a:defRPr/>
            </a:pPr>
            <a:r>
              <a:rPr lang="en-US" dirty="0">
                <a:solidFill>
                  <a:srgbClr val="242424"/>
                </a:solidFill>
                <a:effectLst/>
              </a:rPr>
              <a:t> </a:t>
            </a:r>
            <a:r>
              <a:rPr lang="en-US" sz="1400" dirty="0"/>
              <a:t>(For this service a separate license is necessary)</a:t>
            </a:r>
          </a:p>
          <a:p>
            <a:pPr marL="180000" lvl="1" indent="-180000" algn="l" defTabSz="1088776" rtl="0" eaLnBrk="1" latinLnBrk="0" hangingPunct="1">
              <a:buClr>
                <a:srgbClr val="F0AB00"/>
              </a:buClr>
              <a:buSzPct val="100000"/>
              <a:buFont typeface="Wingdings" pitchFamily="2" charset="2"/>
              <a:buChar char=""/>
              <a:defRPr/>
            </a:pPr>
            <a:r>
              <a:rPr lang="en-US" sz="1400" b="1" dirty="0"/>
              <a:t>Edge Integration Cell </a:t>
            </a:r>
            <a:r>
              <a:rPr lang="en-US" sz="1400" b="0" dirty="0"/>
              <a:t>is </a:t>
            </a:r>
            <a:r>
              <a:rPr lang="en-US" sz="1400" dirty="0"/>
              <a:t>an optional on-premise runtime for local integration to comply with local regulations. All prebuilt integration content can be leveraged also for running on the Edge Integration Cell. </a:t>
            </a:r>
          </a:p>
          <a:p>
            <a:pPr algn="l"/>
            <a:endParaRPr lang="en-US" dirty="0">
              <a:solidFill>
                <a:srgbClr val="242424"/>
              </a:solidFill>
              <a:effectLst/>
            </a:endParaRPr>
          </a:p>
          <a:p>
            <a:pPr marL="0" marR="0" lvl="0" indent="0" algn="l" defTabSz="1088776" rtl="0" eaLnBrk="1" fontAlgn="auto" latinLnBrk="0" hangingPunct="1">
              <a:lnSpc>
                <a:spcPct val="107000"/>
              </a:lnSpc>
              <a:spcBef>
                <a:spcPts val="0"/>
              </a:spcBef>
              <a:spcAft>
                <a:spcPts val="800"/>
              </a:spcAft>
              <a:buClrTx/>
              <a:buSzTx/>
              <a:buFont typeface="Arial" panose="020B0604020202020204" pitchFamily="34" charset="0"/>
              <a:buNone/>
              <a:tabLst/>
              <a:defRPr/>
            </a:pPr>
            <a:r>
              <a:rPr lang="en-US" sz="2400" dirty="0">
                <a:effectLst/>
                <a:latin typeface="Calibri" panose="020F0502020204030204" pitchFamily="34" charset="0"/>
                <a:ea typeface="Calibri" panose="020F0502020204030204" pitchFamily="34" charset="0"/>
              </a:rPr>
              <a:t>Beyond we have new tools as part of the suite to help our customers in their journey moving from SAP Process Orchestration to SAP Integration Suite while having the option to run on-premise integration scenarios in their own landscapes:</a:t>
            </a:r>
          </a:p>
          <a:p>
            <a:pPr marL="180000" marR="0" lvl="1" indent="-180000" algn="l" defTabSz="1088776" rtl="0" eaLnBrk="1" fontAlgn="auto" latinLnBrk="0" hangingPunct="1">
              <a:lnSpc>
                <a:spcPct val="107000"/>
              </a:lnSpc>
              <a:spcBef>
                <a:spcPts val="0"/>
              </a:spcBef>
              <a:spcAft>
                <a:spcPts val="800"/>
              </a:spcAft>
              <a:buClr>
                <a:srgbClr val="F0AB00"/>
              </a:buClr>
              <a:buSzPct val="100000"/>
              <a:buFont typeface="Wingdings" pitchFamily="2" charset="2"/>
              <a:buChar char=""/>
              <a:tabLst/>
              <a:defRPr/>
            </a:pPr>
            <a:r>
              <a:rPr lang="en-US" sz="1400" b="1" i="0" kern="1200" dirty="0">
                <a:solidFill>
                  <a:srgbClr val="000000"/>
                </a:solidFill>
                <a:ea typeface="+mn-ea"/>
                <a:cs typeface="+mn-cs"/>
              </a:rPr>
              <a:t>Migration Assessment and the migration tool </a:t>
            </a:r>
            <a:r>
              <a:rPr lang="en-US" sz="1400" b="0" i="0" kern="1200" dirty="0">
                <a:solidFill>
                  <a:srgbClr val="000000"/>
                </a:solidFill>
                <a:ea typeface="+mn-ea"/>
                <a:cs typeface="+mn-cs"/>
              </a:rPr>
              <a:t>– Estimate the migration effort for SAP Process Orchestration scenarios </a:t>
            </a:r>
            <a:r>
              <a:rPr lang="en-US" sz="1400" dirty="0"/>
              <a:t>automate the migration itself based on integration flow templates</a:t>
            </a:r>
          </a:p>
          <a:p>
            <a:pPr marL="180000" marR="0" lvl="1" indent="-180000" algn="l" defTabSz="1088776" rtl="0" eaLnBrk="1" fontAlgn="auto" latinLnBrk="0" hangingPunct="1">
              <a:lnSpc>
                <a:spcPct val="107000"/>
              </a:lnSpc>
              <a:spcBef>
                <a:spcPts val="0"/>
              </a:spcBef>
              <a:spcAft>
                <a:spcPts val="800"/>
              </a:spcAft>
              <a:buClr>
                <a:srgbClr val="F0AB00"/>
              </a:buClr>
              <a:buSzPct val="100000"/>
              <a:buFont typeface="Wingdings" pitchFamily="2" charset="2"/>
              <a:buChar char=""/>
              <a:tabLst/>
              <a:defRPr/>
            </a:pPr>
            <a:r>
              <a:rPr lang="en-US" sz="1400" b="1" i="0" kern="1200" dirty="0">
                <a:solidFill>
                  <a:srgbClr val="000000"/>
                </a:solidFill>
                <a:ea typeface="+mn-ea"/>
                <a:cs typeface="+mn-cs"/>
              </a:rPr>
              <a:t>Edge Integration Cell: </a:t>
            </a:r>
            <a:r>
              <a:rPr lang="en-US" sz="1400" b="0" i="0" kern="1200" dirty="0">
                <a:solidFill>
                  <a:srgbClr val="000000"/>
                </a:solidFill>
                <a:ea typeface="+mn-ea"/>
                <a:cs typeface="+mn-cs"/>
              </a:rPr>
              <a:t>new hybrid runtime as new on-premise version, an </a:t>
            </a:r>
            <a:r>
              <a:rPr lang="en-US" sz="1800" dirty="0">
                <a:solidFill>
                  <a:srgbClr val="000000"/>
                </a:solidFill>
                <a:effectLst/>
                <a:latin typeface="Calibri" panose="020F0502020204030204" pitchFamily="34" charset="0"/>
                <a:ea typeface="Calibri" panose="020F0502020204030204" pitchFamily="34" charset="0"/>
              </a:rPr>
              <a:t>optional extension to SAP Integration Suite. It supports three integration use cases: classic on-premise process orchestration, on-premise API-based integrations including a policy engine, as well as event driven integrations by an on-premise event bridge to integrate event brokers from SAP and non-SAP.</a:t>
            </a:r>
          </a:p>
          <a:p>
            <a:pPr marL="0" marR="0" lvl="1" indent="0" algn="l" defTabSz="1088776" rtl="0" eaLnBrk="1" fontAlgn="auto" latinLnBrk="0" hangingPunct="1">
              <a:lnSpc>
                <a:spcPct val="107000"/>
              </a:lnSpc>
              <a:spcBef>
                <a:spcPts val="0"/>
              </a:spcBef>
              <a:spcAft>
                <a:spcPts val="800"/>
              </a:spcAft>
              <a:buClr>
                <a:srgbClr val="F0AB00"/>
              </a:buClr>
              <a:buSzPct val="100000"/>
              <a:buFont typeface="Wingdings" pitchFamily="2" charset="2"/>
              <a:buNone/>
              <a:tabLst/>
              <a:defRPr/>
            </a:pPr>
            <a:endParaRPr lang="en-US" sz="1400" b="0" i="0" kern="1200" dirty="0">
              <a:solidFill>
                <a:srgbClr val="000000"/>
              </a:solidFill>
              <a:ea typeface="+mn-ea"/>
              <a:cs typeface="+mn-cs"/>
            </a:endParaRPr>
          </a:p>
          <a:p>
            <a:pPr marL="0" marR="0" lvl="0" indent="0" algn="l" defTabSz="1088776" rtl="0" eaLnBrk="1" fontAlgn="auto" latinLnBrk="0" hangingPunct="1">
              <a:lnSpc>
                <a:spcPct val="107000"/>
              </a:lnSpc>
              <a:spcBef>
                <a:spcPts val="0"/>
              </a:spcBef>
              <a:spcAft>
                <a:spcPts val="800"/>
              </a:spcAft>
              <a:buClrTx/>
              <a:buSzTx/>
              <a:buFont typeface="Arial" panose="020B0604020202020204" pitchFamily="34" charset="0"/>
              <a:buNone/>
              <a:tabLst/>
              <a:defRPr/>
            </a:pPr>
            <a:r>
              <a:rPr lang="en-US" sz="1400" b="0" i="0" kern="1200" dirty="0">
                <a:solidFill>
                  <a:srgbClr val="000000"/>
                </a:solidFill>
                <a:ea typeface="+mn-ea"/>
              </a:rPr>
              <a:t>In Q2 2024 it will be released </a:t>
            </a:r>
            <a:r>
              <a:rPr lang="en-US" sz="1400" b="1" i="0" kern="1200" dirty="0">
                <a:solidFill>
                  <a:srgbClr val="000000"/>
                </a:solidFill>
                <a:ea typeface="+mn-ea"/>
              </a:rPr>
              <a:t>an event broker </a:t>
            </a:r>
            <a:r>
              <a:rPr lang="en-US" sz="1400" b="0" i="0" kern="1200" dirty="0">
                <a:solidFill>
                  <a:srgbClr val="000000"/>
                </a:solidFill>
                <a:ea typeface="+mn-ea"/>
              </a:rPr>
              <a:t>(name still undecided) as an additional capability of SAP Integration Suite </a:t>
            </a:r>
            <a:r>
              <a:rPr lang="en-US" sz="1400" b="0" kern="1200" dirty="0">
                <a:solidFill>
                  <a:srgbClr val="000000"/>
                </a:solidFill>
                <a:ea typeface="+mn-ea"/>
              </a:rPr>
              <a:t>to enable applications to communicate asynchronously through messages and events (will be available in the suite’s landing page)</a:t>
            </a:r>
            <a:endParaRPr lang="en-US" dirty="0"/>
          </a:p>
          <a:p>
            <a:pPr algn="l"/>
            <a:endParaRPr lang="en-US" dirty="0">
              <a:solidFill>
                <a:srgbClr val="242424"/>
              </a:solidFill>
              <a:effectLst/>
            </a:endParaRPr>
          </a:p>
          <a:p>
            <a:pPr marL="0" marR="0" lvl="0" indent="0" algn="l" defTabSz="1088776" rtl="0" eaLnBrk="1" fontAlgn="auto" latinLnBrk="0" hangingPunct="1">
              <a:lnSpc>
                <a:spcPct val="100000"/>
              </a:lnSpc>
              <a:spcBef>
                <a:spcPts val="0"/>
              </a:spcBef>
              <a:spcAft>
                <a:spcPts val="0"/>
              </a:spcAft>
              <a:buClrTx/>
              <a:buSzTx/>
              <a:buFontTx/>
              <a:buNone/>
              <a:tabLst/>
              <a:defRPr/>
            </a:pPr>
            <a:r>
              <a:rPr lang="en-US" dirty="0">
                <a:solidFill>
                  <a:srgbClr val="242424"/>
                </a:solidFill>
                <a:effectLst/>
              </a:rPr>
              <a:t>//Also available in 2025 will the a new capability called </a:t>
            </a:r>
            <a:r>
              <a:rPr lang="en-US" b="1" dirty="0">
                <a:solidFill>
                  <a:srgbClr val="242424"/>
                </a:solidFill>
                <a:effectLst/>
              </a:rPr>
              <a:t>Dataspace Integration</a:t>
            </a:r>
            <a:r>
              <a:rPr lang="en-US" dirty="0">
                <a:solidFill>
                  <a:srgbClr val="242424"/>
                </a:solidFill>
                <a:effectLst/>
              </a:rPr>
              <a:t>: it allows </a:t>
            </a:r>
            <a:r>
              <a:rPr lang="en-US" b="0" i="0" dirty="0">
                <a:solidFill>
                  <a:srgbClr val="222222"/>
                </a:solidFill>
                <a:effectLst/>
                <a:latin typeface="Roboto" panose="02000000000000000000" pitchFamily="2" charset="0"/>
              </a:rPr>
              <a:t>customers secure, reliable, and sovereign data exchange with other participants of a dataspace, such as the Catena-X network within the automobile industry.</a:t>
            </a:r>
            <a:endParaRPr lang="en-US" sz="1400" kern="0" dirty="0">
              <a:ea typeface="Arial Unicode MS" pitchFamily="34" charset="-128"/>
              <a:cs typeface="72" panose="020B0503030000000003" pitchFamily="34" charset="0"/>
            </a:endParaRPr>
          </a:p>
          <a:p>
            <a:pPr algn="l"/>
            <a:endParaRPr lang="en-US" dirty="0">
              <a:solidFill>
                <a:srgbClr val="242424"/>
              </a:solidFill>
              <a:effectLst/>
            </a:endParaRPr>
          </a:p>
          <a:p>
            <a:pPr algn="l"/>
            <a:endParaRPr lang="en-US" dirty="0">
              <a:solidFill>
                <a:srgbClr val="242424"/>
              </a:solidFill>
              <a:effectLst/>
            </a:endParaRPr>
          </a:p>
          <a:p>
            <a:pPr marL="0" marR="0" lvl="0" indent="0" algn="l" defTabSz="1088776" rtl="0" eaLnBrk="1" fontAlgn="auto" latinLnBrk="0" hangingPunct="1">
              <a:lnSpc>
                <a:spcPct val="100000"/>
              </a:lnSpc>
              <a:spcBef>
                <a:spcPts val="0"/>
              </a:spcBef>
              <a:spcAft>
                <a:spcPts val="0"/>
              </a:spcAft>
              <a:buClrTx/>
              <a:buSzTx/>
              <a:buFontTx/>
              <a:buNone/>
              <a:tabLst/>
              <a:defRPr/>
            </a:pPr>
            <a:r>
              <a:rPr lang="en-US" b="1" dirty="0"/>
              <a:t>SAP Business Accelerator Hub </a:t>
            </a:r>
            <a:r>
              <a:rPr lang="en-US" dirty="0"/>
              <a:t>is where you can discover and find pre-built integrations, APIs, application events where you want to integration (e.g., new sales order created) to happen, as well as, connecters and e-government scenarios (e.g., e-invoicing for Spain)</a:t>
            </a:r>
          </a:p>
          <a:p>
            <a:pPr marL="0" marR="0" lvl="0" indent="0" algn="l" defTabSz="1088776" rtl="0" eaLnBrk="1" fontAlgn="auto" latinLnBrk="0" hangingPunct="1">
              <a:lnSpc>
                <a:spcPct val="107000"/>
              </a:lnSpc>
              <a:spcBef>
                <a:spcPts val="0"/>
              </a:spcBef>
              <a:spcAft>
                <a:spcPts val="800"/>
              </a:spcAft>
              <a:buClrTx/>
              <a:buSzTx/>
              <a:buFont typeface="Arial" panose="020B0604020202020204" pitchFamily="34" charset="0"/>
              <a:buNone/>
              <a:tabLst/>
              <a:defRPr/>
            </a:pPr>
            <a:endParaRPr lang="en-US" sz="1400" b="0" dirty="0">
              <a:effectLst/>
              <a:latin typeface="Calibri" panose="020F0502020204030204" pitchFamily="34" charset="0"/>
              <a:ea typeface="Calibri" panose="020F0502020204030204" pitchFamily="34" charset="0"/>
            </a:endParaRPr>
          </a:p>
          <a:p>
            <a:pPr marL="0" marR="0" lvl="0" indent="0" algn="l" defTabSz="1088776" rtl="0" eaLnBrk="1" fontAlgn="auto" latinLnBrk="0" hangingPunct="1">
              <a:lnSpc>
                <a:spcPct val="100000"/>
              </a:lnSpc>
              <a:spcBef>
                <a:spcPts val="0"/>
              </a:spcBef>
              <a:spcAft>
                <a:spcPts val="0"/>
              </a:spcAft>
              <a:buClrTx/>
              <a:buSzTx/>
              <a:buFontTx/>
              <a:buNone/>
              <a:tabLst/>
              <a:defRPr/>
            </a:pPr>
            <a:r>
              <a:rPr lang="en-US" sz="1800" dirty="0">
                <a:effectLst/>
                <a:latin typeface="Calibri" panose="020F0502020204030204" pitchFamily="34" charset="0"/>
                <a:ea typeface="Calibri" panose="020F0502020204030204" pitchFamily="34" charset="0"/>
                <a:cs typeface="Times New Roman" panose="02020603050405020304" pitchFamily="18" charset="0"/>
              </a:rPr>
              <a:t>The Integration Suite is a </a:t>
            </a:r>
            <a:r>
              <a:rPr lang="en-US" sz="1800" b="1" dirty="0">
                <a:solidFill>
                  <a:srgbClr val="000000"/>
                </a:solidFill>
                <a:cs typeface="BentonSans Bold"/>
                <a:sym typeface="Arial"/>
              </a:rPr>
              <a:t>vendor-managed multi-cloud offering </a:t>
            </a:r>
            <a:r>
              <a:rPr lang="en-US" sz="1800" dirty="0">
                <a:effectLst/>
                <a:latin typeface="Calibri" panose="020F0502020204030204" pitchFamily="34" charset="0"/>
                <a:ea typeface="Calibri" panose="020F0502020204030204" pitchFamily="34" charset="0"/>
                <a:cs typeface="Times New Roman" panose="02020603050405020304" pitchFamily="18" charset="0"/>
              </a:rPr>
              <a:t>with all capabilities are </a:t>
            </a:r>
            <a:r>
              <a:rPr lang="en-US" sz="1800" b="1" dirty="0">
                <a:effectLst/>
                <a:latin typeface="Calibri" panose="020F0502020204030204" pitchFamily="34" charset="0"/>
                <a:ea typeface="Calibri" panose="020F0502020204030204" pitchFamily="34" charset="0"/>
                <a:cs typeface="Times New Roman" panose="02020603050405020304" pitchFamily="18" charset="0"/>
              </a:rPr>
              <a:t>running </a:t>
            </a:r>
            <a:r>
              <a:rPr lang="en-US" sz="1800" b="1"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on different hyper scale environments </a:t>
            </a:r>
            <a:r>
              <a:rPr lang="en-US" sz="18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such as </a:t>
            </a:r>
            <a:r>
              <a:rPr lang="en-US" sz="1800" b="0" dirty="0">
                <a:solidFill>
                  <a:srgbClr val="000000"/>
                </a:solidFill>
                <a:cs typeface="BentonSans Bold"/>
                <a:sym typeface="Arial"/>
              </a:rPr>
              <a:t>Amazon Web Services, Microsoft Azure, Alibaba Cloud,  SAP NS2 Cloud (Government), and Google Cloud Platform</a:t>
            </a:r>
            <a:endParaRPr lang="en-US" sz="1800" b="0" dirty="0">
              <a:solidFill>
                <a:srgbClr val="000000"/>
              </a:solidFill>
              <a:cs typeface="BentonSans Bold"/>
            </a:endParaRPr>
          </a:p>
          <a:p>
            <a:pPr algn="l"/>
            <a:r>
              <a:rPr lang="en-US" sz="1800" dirty="0">
                <a:solidFill>
                  <a:srgbClr val="242424"/>
                </a:solidFill>
                <a:effectLst/>
              </a:rPr>
              <a:t>Integration Advisor is planned to be available on NS2, too.</a:t>
            </a:r>
          </a:p>
          <a:p>
            <a:pPr algn="l"/>
            <a:endParaRPr lang="en-US" sz="1800" dirty="0">
              <a:solidFill>
                <a:srgbClr val="242424"/>
              </a:solidFill>
              <a:effectLst/>
            </a:endParaRPr>
          </a:p>
          <a:p>
            <a:pPr algn="l"/>
            <a:r>
              <a:rPr lang="en-US" sz="1800" dirty="0">
                <a:solidFill>
                  <a:srgbClr val="242424"/>
                </a:solidFill>
                <a:effectLst/>
              </a:rPr>
              <a:t>Also, Gartner recognized the Integration Suite as one of the most comprehensive integration platforms and ranked it as leader in the 2023 magic quadrant for Enterprise iPaaS the third time in the row.</a:t>
            </a:r>
            <a:endParaRPr lang="en-US" dirty="0">
              <a:solidFill>
                <a:srgbClr val="242424"/>
              </a:solidFill>
              <a:effectLst/>
            </a:endParaRPr>
          </a:p>
          <a:p>
            <a:pPr algn="l"/>
            <a:br>
              <a:rPr lang="en-US" b="1" dirty="0">
                <a:solidFill>
                  <a:srgbClr val="242424"/>
                </a:solidFill>
                <a:effectLst/>
              </a:rPr>
            </a:br>
            <a:r>
              <a:rPr lang="en-US" sz="1800" dirty="0">
                <a:solidFill>
                  <a:srgbClr val="242424"/>
                </a:solidFill>
                <a:effectLst/>
              </a:rPr>
              <a:t>When we think about </a:t>
            </a:r>
            <a:r>
              <a:rPr lang="en-US" sz="1800" b="1" dirty="0">
                <a:solidFill>
                  <a:srgbClr val="242424"/>
                </a:solidFill>
                <a:effectLst/>
              </a:rPr>
              <a:t>differentiation</a:t>
            </a:r>
            <a:r>
              <a:rPr lang="en-US" sz="1800" dirty="0">
                <a:solidFill>
                  <a:srgbClr val="242424"/>
                </a:solidFill>
                <a:effectLst/>
              </a:rPr>
              <a:t>, SAP Integration Suite is designed to:</a:t>
            </a:r>
            <a:endParaRPr lang="en-US" dirty="0">
              <a:solidFill>
                <a:srgbClr val="242424"/>
              </a:solidFill>
              <a:effectLst/>
            </a:endParaRPr>
          </a:p>
          <a:p>
            <a:pPr marL="180000" lvl="1" indent="-180000" algn="l" defTabSz="1088776" rtl="0" eaLnBrk="1" latinLnBrk="0" hangingPunct="1">
              <a:buClr>
                <a:srgbClr val="F0AB00"/>
              </a:buClr>
              <a:buSzPct val="100000"/>
              <a:buFont typeface="Wingdings" pitchFamily="2" charset="2"/>
              <a:buChar char=""/>
              <a:defRPr/>
            </a:pPr>
            <a:r>
              <a:rPr lang="en-US" sz="1400" b="0" kern="1200" dirty="0">
                <a:solidFill>
                  <a:srgbClr val="000000"/>
                </a:solidFill>
                <a:ea typeface="+mn-ea"/>
                <a:cs typeface="+mn-cs"/>
              </a:rPr>
              <a:t>Achieve seamless business processes by giving users the ability to compose processes with API-based integration ( including by leveraging over 2,800 ready to use SAP APIs) and respond faster to customers, employees, and partners with robust and scalable event mesh across heterogeneous landscapes and ecosystems</a:t>
            </a:r>
          </a:p>
          <a:p>
            <a:pPr marL="180000" lvl="1" indent="-180000" algn="l" defTabSz="1088776" rtl="0" eaLnBrk="1" latinLnBrk="0" hangingPunct="1">
              <a:buClr>
                <a:srgbClr val="F0AB00"/>
              </a:buClr>
              <a:buSzPct val="100000"/>
              <a:buFont typeface="Wingdings" pitchFamily="2" charset="2"/>
              <a:buChar char=""/>
              <a:defRPr/>
            </a:pPr>
            <a:r>
              <a:rPr lang="en-US" sz="1400" b="0" kern="1200" dirty="0">
                <a:solidFill>
                  <a:srgbClr val="000000"/>
                </a:solidFill>
                <a:ea typeface="+mn-ea"/>
                <a:cs typeface="+mn-cs"/>
              </a:rPr>
              <a:t>Our customers can accelerate connectivity by streamlining any-to-any, SAP, third-party, and e-government integrations with thousands of prebuilt integrations and connectors (easily discoverable and consumable in SAP API Business Hub) that are maintained by SAP</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5"/>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en-DE" sz="8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40</a:t>
            </a:fld>
            <a:endParaRPr kumimoji="0" lang="en-DE" sz="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98173853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E" dirty="0"/>
          </a:p>
        </p:txBody>
      </p:sp>
      <p:sp>
        <p:nvSpPr>
          <p:cNvPr id="4" name="Slide Number Placeholder 3"/>
          <p:cNvSpPr>
            <a:spLocks noGrp="1"/>
          </p:cNvSpPr>
          <p:nvPr>
            <p:ph type="sldNum" sz="quarter" idx="5"/>
          </p:nvPr>
        </p:nvSpPr>
        <p:spPr/>
        <p:txBody>
          <a:bodyPr/>
          <a:lstStyle/>
          <a:p>
            <a:fld id="{7D8C2C35-2B8A-446E-BEC0-FD36716C29AC}" type="slidenum">
              <a:rPr lang="en-DE" smtClean="0"/>
              <a:pPr/>
              <a:t>41</a:t>
            </a:fld>
            <a:endParaRPr lang="en-DE"/>
          </a:p>
        </p:txBody>
      </p:sp>
    </p:spTree>
    <p:extLst>
      <p:ext uri="{BB962C8B-B14F-4D97-AF65-F5344CB8AC3E}">
        <p14:creationId xmlns:p14="http://schemas.microsoft.com/office/powerpoint/2010/main" val="46730483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E" dirty="0"/>
          </a:p>
        </p:txBody>
      </p:sp>
      <p:sp>
        <p:nvSpPr>
          <p:cNvPr id="4" name="Slide Number Placeholder 3"/>
          <p:cNvSpPr>
            <a:spLocks noGrp="1"/>
          </p:cNvSpPr>
          <p:nvPr>
            <p:ph type="sldNum" sz="quarter" idx="5"/>
          </p:nvPr>
        </p:nvSpPr>
        <p:spPr/>
        <p:txBody>
          <a:bodyPr/>
          <a:lstStyle/>
          <a:p>
            <a:fld id="{7D8C2C35-2B8A-446E-BEC0-FD36716C29AC}" type="slidenum">
              <a:rPr lang="en-DE" smtClean="0"/>
              <a:pPr/>
              <a:t>42</a:t>
            </a:fld>
            <a:endParaRPr lang="en-DE"/>
          </a:p>
        </p:txBody>
      </p:sp>
    </p:spTree>
    <p:extLst>
      <p:ext uri="{BB962C8B-B14F-4D97-AF65-F5344CB8AC3E}">
        <p14:creationId xmlns:p14="http://schemas.microsoft.com/office/powerpoint/2010/main" val="175108044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5"/>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de-DE" sz="8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45</a:t>
            </a:fld>
            <a:endParaRPr kumimoji="0" lang="de-DE" sz="8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97795442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en-US" sz="8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49</a:t>
            </a:fld>
            <a:endParaRPr kumimoji="0" lang="en-US" sz="8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388969861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7D8C2C35-2B8A-446E-BEC0-FD36716C29AC}" type="slidenum">
              <a:rPr lang="de-DE" smtClean="0"/>
              <a:pPr/>
              <a:t>50</a:t>
            </a:fld>
            <a:endParaRPr lang="de-DE" dirty="0"/>
          </a:p>
        </p:txBody>
      </p:sp>
      <p:sp>
        <p:nvSpPr>
          <p:cNvPr id="9" name="Slide Image Placeholder 8"/>
          <p:cNvSpPr>
            <a:spLocks noGrp="1" noRot="1" noChangeAspect="1"/>
          </p:cNvSpPr>
          <p:nvPr>
            <p:ph type="sldImg"/>
          </p:nvPr>
        </p:nvSpPr>
        <p:spPr>
          <a:xfrm>
            <a:off x="547688" y="612775"/>
            <a:ext cx="5762625" cy="3241675"/>
          </a:xfrm>
        </p:spPr>
      </p:sp>
      <p:sp>
        <p:nvSpPr>
          <p:cNvPr id="10" name="Notes Placeholder 9"/>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106075244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E" dirty="0"/>
          </a:p>
        </p:txBody>
      </p:sp>
      <p:sp>
        <p:nvSpPr>
          <p:cNvPr id="4" name="Slide Number Placeholder 3"/>
          <p:cNvSpPr>
            <a:spLocks noGrp="1"/>
          </p:cNvSpPr>
          <p:nvPr>
            <p:ph type="sldNum" sz="quarter" idx="5"/>
          </p:nvPr>
        </p:nvSpPr>
        <p:spPr/>
        <p:txBody>
          <a:bodyPr/>
          <a:lstStyle/>
          <a:p>
            <a:fld id="{7D8C2C35-2B8A-446E-BEC0-FD36716C29AC}" type="slidenum">
              <a:rPr lang="en-DE" smtClean="0"/>
              <a:pPr/>
              <a:t>51</a:t>
            </a:fld>
            <a:endParaRPr lang="en-DE" dirty="0"/>
          </a:p>
        </p:txBody>
      </p:sp>
    </p:spTree>
    <p:extLst>
      <p:ext uri="{BB962C8B-B14F-4D97-AF65-F5344CB8AC3E}">
        <p14:creationId xmlns:p14="http://schemas.microsoft.com/office/powerpoint/2010/main" val="313477864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a:p>
            <a:endParaRPr lang="de-DE" dirty="0"/>
          </a:p>
          <a:p>
            <a:endParaRPr lang="en-DE" dirty="0"/>
          </a:p>
        </p:txBody>
      </p:sp>
      <p:sp>
        <p:nvSpPr>
          <p:cNvPr id="4" name="Slide Number Placeholder 3"/>
          <p:cNvSpPr>
            <a:spLocks noGrp="1"/>
          </p:cNvSpPr>
          <p:nvPr>
            <p:ph type="sldNum" sz="quarter" idx="5"/>
          </p:nvPr>
        </p:nvSpPr>
        <p:spPr/>
        <p:txBody>
          <a:bodyPr/>
          <a:lstStyle/>
          <a:p>
            <a:fld id="{7D8C2C35-2B8A-446E-BEC0-FD36716C29AC}" type="slidenum">
              <a:rPr lang="en-DE" smtClean="0"/>
              <a:pPr/>
              <a:t>52</a:t>
            </a:fld>
            <a:endParaRPr lang="en-DE" dirty="0"/>
          </a:p>
        </p:txBody>
      </p:sp>
    </p:spTree>
    <p:extLst>
      <p:ext uri="{BB962C8B-B14F-4D97-AF65-F5344CB8AC3E}">
        <p14:creationId xmlns:p14="http://schemas.microsoft.com/office/powerpoint/2010/main" val="357683533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D8C2C35-2B8A-446E-BEC0-FD36716C29AC}" type="slidenum">
              <a:rPr lang="en-DE" smtClean="0"/>
              <a:pPr/>
              <a:t>3</a:t>
            </a:fld>
            <a:endParaRPr lang="en-DE"/>
          </a:p>
        </p:txBody>
      </p:sp>
    </p:spTree>
    <p:extLst>
      <p:ext uri="{BB962C8B-B14F-4D97-AF65-F5344CB8AC3E}">
        <p14:creationId xmlns:p14="http://schemas.microsoft.com/office/powerpoint/2010/main" val="340295864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E" dirty="0"/>
          </a:p>
        </p:txBody>
      </p:sp>
      <p:sp>
        <p:nvSpPr>
          <p:cNvPr id="4" name="Slide Number Placeholder 3"/>
          <p:cNvSpPr>
            <a:spLocks noGrp="1"/>
          </p:cNvSpPr>
          <p:nvPr>
            <p:ph type="sldNum" sz="quarter" idx="5"/>
          </p:nvPr>
        </p:nvSpPr>
        <p:spPr/>
        <p:txBody>
          <a:bodyPr/>
          <a:lstStyle/>
          <a:p>
            <a:fld id="{7D8C2C35-2B8A-446E-BEC0-FD36716C29AC}" type="slidenum">
              <a:rPr lang="en-DE" smtClean="0"/>
              <a:pPr/>
              <a:t>53</a:t>
            </a:fld>
            <a:endParaRPr lang="en-DE" dirty="0"/>
          </a:p>
        </p:txBody>
      </p:sp>
    </p:spTree>
    <p:extLst>
      <p:ext uri="{BB962C8B-B14F-4D97-AF65-F5344CB8AC3E}">
        <p14:creationId xmlns:p14="http://schemas.microsoft.com/office/powerpoint/2010/main" val="342984764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a:p>
            <a:endParaRPr lang="de-DE" dirty="0"/>
          </a:p>
          <a:p>
            <a:endParaRPr lang="en-DE" dirty="0"/>
          </a:p>
        </p:txBody>
      </p:sp>
      <p:sp>
        <p:nvSpPr>
          <p:cNvPr id="4" name="Slide Number Placeholder 3"/>
          <p:cNvSpPr>
            <a:spLocks noGrp="1"/>
          </p:cNvSpPr>
          <p:nvPr>
            <p:ph type="sldNum" sz="quarter" idx="5"/>
          </p:nvPr>
        </p:nvSpPr>
        <p:spPr/>
        <p:txBody>
          <a:bodyPr/>
          <a:lstStyle/>
          <a:p>
            <a:fld id="{7D8C2C35-2B8A-446E-BEC0-FD36716C29AC}" type="slidenum">
              <a:rPr lang="en-DE" smtClean="0"/>
              <a:pPr/>
              <a:t>54</a:t>
            </a:fld>
            <a:endParaRPr lang="en-DE" dirty="0"/>
          </a:p>
        </p:txBody>
      </p:sp>
    </p:spTree>
    <p:extLst>
      <p:ext uri="{BB962C8B-B14F-4D97-AF65-F5344CB8AC3E}">
        <p14:creationId xmlns:p14="http://schemas.microsoft.com/office/powerpoint/2010/main" val="219890059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E" dirty="0"/>
          </a:p>
        </p:txBody>
      </p:sp>
      <p:sp>
        <p:nvSpPr>
          <p:cNvPr id="4" name="Slide Number Placeholder 3"/>
          <p:cNvSpPr>
            <a:spLocks noGrp="1"/>
          </p:cNvSpPr>
          <p:nvPr>
            <p:ph type="sldNum" sz="quarter" idx="5"/>
          </p:nvPr>
        </p:nvSpPr>
        <p:spPr/>
        <p:txBody>
          <a:bodyPr/>
          <a:lstStyle/>
          <a:p>
            <a:fld id="{7D8C2C35-2B8A-446E-BEC0-FD36716C29AC}" type="slidenum">
              <a:rPr lang="en-DE" smtClean="0"/>
              <a:pPr/>
              <a:t>55</a:t>
            </a:fld>
            <a:endParaRPr lang="en-DE" dirty="0"/>
          </a:p>
        </p:txBody>
      </p:sp>
    </p:spTree>
    <p:extLst>
      <p:ext uri="{BB962C8B-B14F-4D97-AF65-F5344CB8AC3E}">
        <p14:creationId xmlns:p14="http://schemas.microsoft.com/office/powerpoint/2010/main" val="413467847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E" dirty="0"/>
          </a:p>
        </p:txBody>
      </p:sp>
      <p:sp>
        <p:nvSpPr>
          <p:cNvPr id="4" name="Slide Number Placeholder 3"/>
          <p:cNvSpPr>
            <a:spLocks noGrp="1"/>
          </p:cNvSpPr>
          <p:nvPr>
            <p:ph type="sldNum" sz="quarter" idx="5"/>
          </p:nvPr>
        </p:nvSpPr>
        <p:spPr/>
        <p:txBody>
          <a:bodyPr/>
          <a:lstStyle/>
          <a:p>
            <a:fld id="{7D8C2C35-2B8A-446E-BEC0-FD36716C29AC}" type="slidenum">
              <a:rPr lang="en-DE" smtClean="0"/>
              <a:pPr/>
              <a:t>56</a:t>
            </a:fld>
            <a:endParaRPr lang="en-DE" dirty="0"/>
          </a:p>
        </p:txBody>
      </p:sp>
    </p:spTree>
    <p:extLst>
      <p:ext uri="{BB962C8B-B14F-4D97-AF65-F5344CB8AC3E}">
        <p14:creationId xmlns:p14="http://schemas.microsoft.com/office/powerpoint/2010/main" val="219670941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a:p>
            <a:endParaRPr lang="de-DE" dirty="0"/>
          </a:p>
          <a:p>
            <a:endParaRPr lang="en-DE" dirty="0"/>
          </a:p>
        </p:txBody>
      </p:sp>
      <p:sp>
        <p:nvSpPr>
          <p:cNvPr id="4" name="Slide Number Placeholder 3"/>
          <p:cNvSpPr>
            <a:spLocks noGrp="1"/>
          </p:cNvSpPr>
          <p:nvPr>
            <p:ph type="sldNum" sz="quarter" idx="5"/>
          </p:nvPr>
        </p:nvSpPr>
        <p:spPr/>
        <p:txBody>
          <a:bodyPr/>
          <a:lstStyle/>
          <a:p>
            <a:fld id="{7D8C2C35-2B8A-446E-BEC0-FD36716C29AC}" type="slidenum">
              <a:rPr lang="en-DE" smtClean="0"/>
              <a:pPr/>
              <a:t>57</a:t>
            </a:fld>
            <a:endParaRPr lang="en-DE" dirty="0"/>
          </a:p>
        </p:txBody>
      </p:sp>
    </p:spTree>
    <p:extLst>
      <p:ext uri="{BB962C8B-B14F-4D97-AF65-F5344CB8AC3E}">
        <p14:creationId xmlns:p14="http://schemas.microsoft.com/office/powerpoint/2010/main" val="361642490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088776" rtl="0" eaLnBrk="1" fontAlgn="auto" latinLnBrk="0" hangingPunct="1">
              <a:lnSpc>
                <a:spcPct val="100000"/>
              </a:lnSpc>
              <a:spcBef>
                <a:spcPts val="0"/>
              </a:spcBef>
              <a:spcAft>
                <a:spcPts val="0"/>
              </a:spcAft>
              <a:buClrTx/>
              <a:buSzTx/>
              <a:buFontTx/>
              <a:buNone/>
              <a:tabLst/>
              <a:defRPr/>
            </a:pPr>
            <a:r>
              <a:rPr lang="de-DE" b="0" i="0" u="none" strike="noStrike" dirty="0" err="1">
                <a:effectLst/>
                <a:latin typeface="Arial" panose="020B0604020202020204" pitchFamily="34" charset="0"/>
                <a:hlinkClick r:id="rId3"/>
              </a:rPr>
              <a:t>JMSToolbox</a:t>
            </a:r>
            <a:endParaRPr lang="de-DE" b="0" i="0" u="none" strike="noStrike" dirty="0">
              <a:effectLst/>
              <a:latin typeface="Arial" panose="020B0604020202020204" pitchFamily="34" charset="0"/>
              <a:hlinkClick r:id="rId3"/>
            </a:endParaRPr>
          </a:p>
          <a:p>
            <a:endParaRPr lang="en-DE" dirty="0"/>
          </a:p>
        </p:txBody>
      </p:sp>
      <p:sp>
        <p:nvSpPr>
          <p:cNvPr id="4" name="Slide Number Placeholder 3"/>
          <p:cNvSpPr>
            <a:spLocks noGrp="1"/>
          </p:cNvSpPr>
          <p:nvPr>
            <p:ph type="sldNum" sz="quarter" idx="5"/>
          </p:nvPr>
        </p:nvSpPr>
        <p:spPr/>
        <p:txBody>
          <a:bodyPr/>
          <a:lstStyle/>
          <a:p>
            <a:fld id="{7D8C2C35-2B8A-446E-BEC0-FD36716C29AC}" type="slidenum">
              <a:rPr lang="en-DE" smtClean="0"/>
              <a:pPr/>
              <a:t>58</a:t>
            </a:fld>
            <a:endParaRPr lang="en-DE" dirty="0"/>
          </a:p>
        </p:txBody>
      </p:sp>
    </p:spTree>
    <p:extLst>
      <p:ext uri="{BB962C8B-B14F-4D97-AF65-F5344CB8AC3E}">
        <p14:creationId xmlns:p14="http://schemas.microsoft.com/office/powerpoint/2010/main" val="29797979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a:p>
            <a:endParaRPr lang="de-DE" dirty="0"/>
          </a:p>
          <a:p>
            <a:endParaRPr lang="en-DE" dirty="0"/>
          </a:p>
        </p:txBody>
      </p:sp>
      <p:sp>
        <p:nvSpPr>
          <p:cNvPr id="4" name="Slide Number Placeholder 3"/>
          <p:cNvSpPr>
            <a:spLocks noGrp="1"/>
          </p:cNvSpPr>
          <p:nvPr>
            <p:ph type="sldNum" sz="quarter" idx="5"/>
          </p:nvPr>
        </p:nvSpPr>
        <p:spPr/>
        <p:txBody>
          <a:bodyPr/>
          <a:lstStyle/>
          <a:p>
            <a:fld id="{7D8C2C35-2B8A-446E-BEC0-FD36716C29AC}" type="slidenum">
              <a:rPr lang="en-DE" smtClean="0"/>
              <a:pPr/>
              <a:t>59</a:t>
            </a:fld>
            <a:endParaRPr lang="en-DE" dirty="0"/>
          </a:p>
        </p:txBody>
      </p:sp>
    </p:spTree>
    <p:extLst>
      <p:ext uri="{BB962C8B-B14F-4D97-AF65-F5344CB8AC3E}">
        <p14:creationId xmlns:p14="http://schemas.microsoft.com/office/powerpoint/2010/main" val="38124781"/>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a:p>
            <a:endParaRPr lang="de-DE" dirty="0"/>
          </a:p>
          <a:p>
            <a:endParaRPr lang="en-DE" dirty="0"/>
          </a:p>
        </p:txBody>
      </p:sp>
      <p:sp>
        <p:nvSpPr>
          <p:cNvPr id="4" name="Slide Number Placeholder 3"/>
          <p:cNvSpPr>
            <a:spLocks noGrp="1"/>
          </p:cNvSpPr>
          <p:nvPr>
            <p:ph type="sldNum" sz="quarter" idx="5"/>
          </p:nvPr>
        </p:nvSpPr>
        <p:spPr/>
        <p:txBody>
          <a:bodyPr/>
          <a:lstStyle/>
          <a:p>
            <a:fld id="{7D8C2C35-2B8A-446E-BEC0-FD36716C29AC}" type="slidenum">
              <a:rPr lang="en-DE" smtClean="0"/>
              <a:pPr/>
              <a:t>60</a:t>
            </a:fld>
            <a:endParaRPr lang="en-DE" dirty="0"/>
          </a:p>
        </p:txBody>
      </p:sp>
    </p:spTree>
    <p:extLst>
      <p:ext uri="{BB962C8B-B14F-4D97-AF65-F5344CB8AC3E}">
        <p14:creationId xmlns:p14="http://schemas.microsoft.com/office/powerpoint/2010/main" val="3516130496"/>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a:p>
            <a:endParaRPr lang="de-DE" dirty="0"/>
          </a:p>
          <a:p>
            <a:endParaRPr lang="en-DE" dirty="0"/>
          </a:p>
        </p:txBody>
      </p:sp>
      <p:sp>
        <p:nvSpPr>
          <p:cNvPr id="4" name="Slide Number Placeholder 3"/>
          <p:cNvSpPr>
            <a:spLocks noGrp="1"/>
          </p:cNvSpPr>
          <p:nvPr>
            <p:ph type="sldNum" sz="quarter" idx="5"/>
          </p:nvPr>
        </p:nvSpPr>
        <p:spPr/>
        <p:txBody>
          <a:bodyPr/>
          <a:lstStyle/>
          <a:p>
            <a:fld id="{7D8C2C35-2B8A-446E-BEC0-FD36716C29AC}" type="slidenum">
              <a:rPr lang="en-DE" smtClean="0"/>
              <a:pPr/>
              <a:t>61</a:t>
            </a:fld>
            <a:endParaRPr lang="en-DE" dirty="0"/>
          </a:p>
        </p:txBody>
      </p:sp>
    </p:spTree>
    <p:extLst>
      <p:ext uri="{BB962C8B-B14F-4D97-AF65-F5344CB8AC3E}">
        <p14:creationId xmlns:p14="http://schemas.microsoft.com/office/powerpoint/2010/main" val="2439480977"/>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E" dirty="0"/>
          </a:p>
        </p:txBody>
      </p:sp>
      <p:sp>
        <p:nvSpPr>
          <p:cNvPr id="4" name="Slide Number Placeholder 3"/>
          <p:cNvSpPr>
            <a:spLocks noGrp="1"/>
          </p:cNvSpPr>
          <p:nvPr>
            <p:ph type="sldNum" sz="quarter" idx="5"/>
          </p:nvPr>
        </p:nvSpPr>
        <p:spPr/>
        <p:txBody>
          <a:bodyPr/>
          <a:lstStyle/>
          <a:p>
            <a:fld id="{7D8C2C35-2B8A-446E-BEC0-FD36716C29AC}" type="slidenum">
              <a:rPr lang="en-DE" smtClean="0"/>
              <a:pPr/>
              <a:t>62</a:t>
            </a:fld>
            <a:endParaRPr lang="en-DE" dirty="0"/>
          </a:p>
        </p:txBody>
      </p:sp>
    </p:spTree>
    <p:extLst>
      <p:ext uri="{BB962C8B-B14F-4D97-AF65-F5344CB8AC3E}">
        <p14:creationId xmlns:p14="http://schemas.microsoft.com/office/powerpoint/2010/main" val="413192617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D8C2C35-2B8A-446E-BEC0-FD36716C29AC}" type="slidenum">
              <a:rPr lang="en-DE" smtClean="0"/>
              <a:pPr/>
              <a:t>4</a:t>
            </a:fld>
            <a:endParaRPr lang="en-DE"/>
          </a:p>
        </p:txBody>
      </p:sp>
    </p:spTree>
    <p:extLst>
      <p:ext uri="{BB962C8B-B14F-4D97-AF65-F5344CB8AC3E}">
        <p14:creationId xmlns:p14="http://schemas.microsoft.com/office/powerpoint/2010/main" val="3359060828"/>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a:p>
            <a:endParaRPr lang="en-DE" dirty="0"/>
          </a:p>
        </p:txBody>
      </p:sp>
      <p:sp>
        <p:nvSpPr>
          <p:cNvPr id="4" name="Slide Number Placeholder 3"/>
          <p:cNvSpPr>
            <a:spLocks noGrp="1"/>
          </p:cNvSpPr>
          <p:nvPr>
            <p:ph type="sldNum" sz="quarter" idx="5"/>
          </p:nvPr>
        </p:nvSpPr>
        <p:spPr/>
        <p:txBody>
          <a:bodyPr/>
          <a:lstStyle/>
          <a:p>
            <a:fld id="{7D8C2C35-2B8A-446E-BEC0-FD36716C29AC}" type="slidenum">
              <a:rPr lang="en-DE" smtClean="0"/>
              <a:pPr/>
              <a:t>63</a:t>
            </a:fld>
            <a:endParaRPr lang="en-DE" dirty="0"/>
          </a:p>
        </p:txBody>
      </p:sp>
    </p:spTree>
    <p:extLst>
      <p:ext uri="{BB962C8B-B14F-4D97-AF65-F5344CB8AC3E}">
        <p14:creationId xmlns:p14="http://schemas.microsoft.com/office/powerpoint/2010/main" val="2273771380"/>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a:p>
            <a:endParaRPr lang="en-DE" dirty="0"/>
          </a:p>
        </p:txBody>
      </p:sp>
      <p:sp>
        <p:nvSpPr>
          <p:cNvPr id="4" name="Slide Number Placeholder 3"/>
          <p:cNvSpPr>
            <a:spLocks noGrp="1"/>
          </p:cNvSpPr>
          <p:nvPr>
            <p:ph type="sldNum" sz="quarter" idx="5"/>
          </p:nvPr>
        </p:nvSpPr>
        <p:spPr/>
        <p:txBody>
          <a:bodyPr/>
          <a:lstStyle/>
          <a:p>
            <a:fld id="{7D8C2C35-2B8A-446E-BEC0-FD36716C29AC}" type="slidenum">
              <a:rPr lang="en-DE" smtClean="0"/>
              <a:pPr/>
              <a:t>64</a:t>
            </a:fld>
            <a:endParaRPr lang="en-DE" dirty="0"/>
          </a:p>
        </p:txBody>
      </p:sp>
    </p:spTree>
    <p:extLst>
      <p:ext uri="{BB962C8B-B14F-4D97-AF65-F5344CB8AC3E}">
        <p14:creationId xmlns:p14="http://schemas.microsoft.com/office/powerpoint/2010/main" val="1754006893"/>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a:p>
            <a:endParaRPr lang="en-DE" dirty="0"/>
          </a:p>
        </p:txBody>
      </p:sp>
      <p:sp>
        <p:nvSpPr>
          <p:cNvPr id="4" name="Slide Number Placeholder 3"/>
          <p:cNvSpPr>
            <a:spLocks noGrp="1"/>
          </p:cNvSpPr>
          <p:nvPr>
            <p:ph type="sldNum" sz="quarter" idx="5"/>
          </p:nvPr>
        </p:nvSpPr>
        <p:spPr/>
        <p:txBody>
          <a:bodyPr/>
          <a:lstStyle/>
          <a:p>
            <a:fld id="{7D8C2C35-2B8A-446E-BEC0-FD36716C29AC}" type="slidenum">
              <a:rPr lang="en-DE" smtClean="0"/>
              <a:pPr/>
              <a:t>65</a:t>
            </a:fld>
            <a:endParaRPr lang="en-DE" dirty="0"/>
          </a:p>
        </p:txBody>
      </p:sp>
    </p:spTree>
    <p:extLst>
      <p:ext uri="{BB962C8B-B14F-4D97-AF65-F5344CB8AC3E}">
        <p14:creationId xmlns:p14="http://schemas.microsoft.com/office/powerpoint/2010/main" val="3291577269"/>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a:p>
            <a:endParaRPr lang="en-DE" dirty="0"/>
          </a:p>
        </p:txBody>
      </p:sp>
      <p:sp>
        <p:nvSpPr>
          <p:cNvPr id="4" name="Slide Number Placeholder 3"/>
          <p:cNvSpPr>
            <a:spLocks noGrp="1"/>
          </p:cNvSpPr>
          <p:nvPr>
            <p:ph type="sldNum" sz="quarter" idx="5"/>
          </p:nvPr>
        </p:nvSpPr>
        <p:spPr/>
        <p:txBody>
          <a:bodyPr/>
          <a:lstStyle/>
          <a:p>
            <a:fld id="{7D8C2C35-2B8A-446E-BEC0-FD36716C29AC}" type="slidenum">
              <a:rPr lang="en-DE" smtClean="0"/>
              <a:pPr/>
              <a:t>66</a:t>
            </a:fld>
            <a:endParaRPr lang="en-DE" dirty="0"/>
          </a:p>
        </p:txBody>
      </p:sp>
    </p:spTree>
    <p:extLst>
      <p:ext uri="{BB962C8B-B14F-4D97-AF65-F5344CB8AC3E}">
        <p14:creationId xmlns:p14="http://schemas.microsoft.com/office/powerpoint/2010/main" val="1907692161"/>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a:p>
            <a:endParaRPr lang="en-DE" dirty="0"/>
          </a:p>
        </p:txBody>
      </p:sp>
      <p:sp>
        <p:nvSpPr>
          <p:cNvPr id="4" name="Slide Number Placeholder 3"/>
          <p:cNvSpPr>
            <a:spLocks noGrp="1"/>
          </p:cNvSpPr>
          <p:nvPr>
            <p:ph type="sldNum" sz="quarter" idx="5"/>
          </p:nvPr>
        </p:nvSpPr>
        <p:spPr/>
        <p:txBody>
          <a:bodyPr/>
          <a:lstStyle/>
          <a:p>
            <a:fld id="{7D8C2C35-2B8A-446E-BEC0-FD36716C29AC}" type="slidenum">
              <a:rPr lang="en-DE" smtClean="0"/>
              <a:pPr/>
              <a:t>67</a:t>
            </a:fld>
            <a:endParaRPr lang="en-DE" dirty="0"/>
          </a:p>
        </p:txBody>
      </p:sp>
    </p:spTree>
    <p:extLst>
      <p:ext uri="{BB962C8B-B14F-4D97-AF65-F5344CB8AC3E}">
        <p14:creationId xmlns:p14="http://schemas.microsoft.com/office/powerpoint/2010/main" val="1464007076"/>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7D8C2C35-2B8A-446E-BEC0-FD36716C29AC}" type="slidenum">
              <a:rPr lang="de-DE" smtClean="0"/>
              <a:pPr/>
              <a:t>68</a:t>
            </a:fld>
            <a:endParaRPr lang="de-DE" dirty="0"/>
          </a:p>
        </p:txBody>
      </p:sp>
      <p:sp>
        <p:nvSpPr>
          <p:cNvPr id="9" name="Slide Image Placeholder 8"/>
          <p:cNvSpPr>
            <a:spLocks noGrp="1" noRot="1" noChangeAspect="1"/>
          </p:cNvSpPr>
          <p:nvPr>
            <p:ph type="sldImg"/>
          </p:nvPr>
        </p:nvSpPr>
        <p:spPr>
          <a:xfrm>
            <a:off x="547688" y="612775"/>
            <a:ext cx="5762625" cy="3241675"/>
          </a:xfrm>
        </p:spPr>
      </p:sp>
      <p:sp>
        <p:nvSpPr>
          <p:cNvPr id="10" name="Notes Placeholder 9"/>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979621955"/>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Further Reading: </a:t>
            </a:r>
          </a:p>
          <a:p>
            <a:r>
              <a:rPr lang="de-DE" dirty="0"/>
              <a:t>Rest API AEM: </a:t>
            </a:r>
          </a:p>
          <a:p>
            <a:pPr marL="285750" indent="-285750">
              <a:buFont typeface="Arial" panose="020B0604020202020204" pitchFamily="34" charset="0"/>
              <a:buChar char="•"/>
            </a:pPr>
            <a:r>
              <a:rPr lang="de-DE" dirty="0"/>
              <a:t>https://docs.solace.com/Cloud/cloud-rest-api-lp.htm</a:t>
            </a:r>
          </a:p>
          <a:p>
            <a:pPr marL="285750" indent="-285750">
              <a:buFont typeface="Arial" panose="020B0604020202020204" pitchFamily="34" charset="0"/>
              <a:buChar char="•"/>
            </a:pPr>
            <a:r>
              <a:rPr lang="de-DE" dirty="0"/>
              <a:t>https://help.pubsub.em.services.cloud.sap/Cloud/cloud_rest_api.htm </a:t>
            </a:r>
          </a:p>
          <a:p>
            <a:endParaRPr lang="de-DE" dirty="0"/>
          </a:p>
          <a:p>
            <a:endParaRPr lang="de-DE" dirty="0"/>
          </a:p>
          <a:p>
            <a:endParaRPr lang="en-DE" dirty="0"/>
          </a:p>
        </p:txBody>
      </p:sp>
      <p:sp>
        <p:nvSpPr>
          <p:cNvPr id="4" name="Slide Number Placeholder 3"/>
          <p:cNvSpPr>
            <a:spLocks noGrp="1"/>
          </p:cNvSpPr>
          <p:nvPr>
            <p:ph type="sldNum" sz="quarter" idx="5"/>
          </p:nvPr>
        </p:nvSpPr>
        <p:spPr/>
        <p:txBody>
          <a:bodyPr/>
          <a:lstStyle/>
          <a:p>
            <a:fld id="{7D8C2C35-2B8A-446E-BEC0-FD36716C29AC}" type="slidenum">
              <a:rPr lang="en-DE" smtClean="0"/>
              <a:pPr/>
              <a:t>69</a:t>
            </a:fld>
            <a:endParaRPr lang="en-DE" dirty="0"/>
          </a:p>
        </p:txBody>
      </p:sp>
    </p:spTree>
    <p:extLst>
      <p:ext uri="{BB962C8B-B14F-4D97-AF65-F5344CB8AC3E}">
        <p14:creationId xmlns:p14="http://schemas.microsoft.com/office/powerpoint/2010/main" val="1077747139"/>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7D8C2C35-2B8A-446E-BEC0-FD36716C29AC}" type="slidenum">
              <a:rPr lang="en-DE" smtClean="0"/>
              <a:pPr/>
              <a:t>70</a:t>
            </a:fld>
            <a:endParaRPr lang="en-DE" dirty="0"/>
          </a:p>
        </p:txBody>
      </p:sp>
    </p:spTree>
    <p:extLst>
      <p:ext uri="{BB962C8B-B14F-4D97-AF65-F5344CB8AC3E}">
        <p14:creationId xmlns:p14="http://schemas.microsoft.com/office/powerpoint/2010/main" val="3207444562"/>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API Dokumentation: https://api.solace.dev/cloud/reference/using-the-v2-rest-apis-for-pubsub-cloud </a:t>
            </a:r>
          </a:p>
          <a:p>
            <a:endParaRPr lang="de-DE" dirty="0"/>
          </a:p>
        </p:txBody>
      </p:sp>
      <p:sp>
        <p:nvSpPr>
          <p:cNvPr id="4" name="Slide Number Placeholder 3"/>
          <p:cNvSpPr>
            <a:spLocks noGrp="1"/>
          </p:cNvSpPr>
          <p:nvPr>
            <p:ph type="sldNum" sz="quarter" idx="5"/>
          </p:nvPr>
        </p:nvSpPr>
        <p:spPr/>
        <p:txBody>
          <a:bodyPr/>
          <a:lstStyle/>
          <a:p>
            <a:fld id="{7D8C2C35-2B8A-446E-BEC0-FD36716C29AC}" type="slidenum">
              <a:rPr lang="en-DE" smtClean="0"/>
              <a:pPr/>
              <a:t>71</a:t>
            </a:fld>
            <a:endParaRPr lang="en-DE" dirty="0"/>
          </a:p>
        </p:txBody>
      </p:sp>
    </p:spTree>
    <p:extLst>
      <p:ext uri="{BB962C8B-B14F-4D97-AF65-F5344CB8AC3E}">
        <p14:creationId xmlns:p14="http://schemas.microsoft.com/office/powerpoint/2010/main" val="4045285286"/>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7D8C2C35-2B8A-446E-BEC0-FD36716C29AC}" type="slidenum">
              <a:rPr lang="en-DE" smtClean="0"/>
              <a:pPr/>
              <a:t>72</a:t>
            </a:fld>
            <a:endParaRPr lang="en-DE" dirty="0"/>
          </a:p>
        </p:txBody>
      </p:sp>
    </p:spTree>
    <p:extLst>
      <p:ext uri="{BB962C8B-B14F-4D97-AF65-F5344CB8AC3E}">
        <p14:creationId xmlns:p14="http://schemas.microsoft.com/office/powerpoint/2010/main" val="207538078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fld id="{7D8C2C35-2B8A-446E-BEC0-FD36716C29AC}" type="slidenum">
              <a:rPr lang="en-DE" smtClean="0"/>
              <a:pPr/>
              <a:t>5</a:t>
            </a:fld>
            <a:endParaRPr lang="en-DE"/>
          </a:p>
        </p:txBody>
      </p:sp>
    </p:spTree>
    <p:extLst>
      <p:ext uri="{BB962C8B-B14F-4D97-AF65-F5344CB8AC3E}">
        <p14:creationId xmlns:p14="http://schemas.microsoft.com/office/powerpoint/2010/main" val="495705002"/>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7D8C2C35-2B8A-446E-BEC0-FD36716C29AC}" type="slidenum">
              <a:rPr lang="en-DE" smtClean="0"/>
              <a:pPr/>
              <a:t>73</a:t>
            </a:fld>
            <a:endParaRPr lang="en-DE" dirty="0"/>
          </a:p>
        </p:txBody>
      </p:sp>
    </p:spTree>
    <p:extLst>
      <p:ext uri="{BB962C8B-B14F-4D97-AF65-F5344CB8AC3E}">
        <p14:creationId xmlns:p14="http://schemas.microsoft.com/office/powerpoint/2010/main" val="1563889939"/>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DE" dirty="0"/>
              <a:t>Feedback so far?</a:t>
            </a:r>
          </a:p>
        </p:txBody>
      </p:sp>
      <p:sp>
        <p:nvSpPr>
          <p:cNvPr id="4" name="Slide Number Placeholder 3"/>
          <p:cNvSpPr>
            <a:spLocks noGrp="1"/>
          </p:cNvSpPr>
          <p:nvPr>
            <p:ph type="sldNum" sz="quarter" idx="5"/>
          </p:nvPr>
        </p:nvSpPr>
        <p:spPr/>
        <p:txBody>
          <a:bodyPr/>
          <a:lstStyle/>
          <a:p>
            <a:fld id="{7D8C2C35-2B8A-446E-BEC0-FD36716C29AC}" type="slidenum">
              <a:rPr lang="en-DE" smtClean="0"/>
              <a:pPr/>
              <a:t>74</a:t>
            </a:fld>
            <a:endParaRPr lang="en-DE"/>
          </a:p>
        </p:txBody>
      </p:sp>
    </p:spTree>
    <p:extLst>
      <p:ext uri="{BB962C8B-B14F-4D97-AF65-F5344CB8AC3E}">
        <p14:creationId xmlns:p14="http://schemas.microsoft.com/office/powerpoint/2010/main" val="2418542552"/>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7D8C2C35-2B8A-446E-BEC0-FD36716C29AC}" type="slidenum">
              <a:rPr lang="en-DE" smtClean="0"/>
              <a:pPr/>
              <a:t>76</a:t>
            </a:fld>
            <a:endParaRPr lang="en-DE"/>
          </a:p>
        </p:txBody>
      </p:sp>
    </p:spTree>
    <p:extLst>
      <p:ext uri="{BB962C8B-B14F-4D97-AF65-F5344CB8AC3E}">
        <p14:creationId xmlns:p14="http://schemas.microsoft.com/office/powerpoint/2010/main" val="599921614"/>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7D8C2C35-2B8A-446E-BEC0-FD36716C29AC}" type="slidenum">
              <a:rPr lang="en-DE" smtClean="0"/>
              <a:pPr/>
              <a:t>77</a:t>
            </a:fld>
            <a:endParaRPr lang="en-DE"/>
          </a:p>
        </p:txBody>
      </p:sp>
    </p:spTree>
    <p:extLst>
      <p:ext uri="{BB962C8B-B14F-4D97-AF65-F5344CB8AC3E}">
        <p14:creationId xmlns:p14="http://schemas.microsoft.com/office/powerpoint/2010/main" val="1036380451"/>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E" dirty="0"/>
          </a:p>
        </p:txBody>
      </p:sp>
      <p:sp>
        <p:nvSpPr>
          <p:cNvPr id="4" name="Slide Number Placeholder 3"/>
          <p:cNvSpPr>
            <a:spLocks noGrp="1"/>
          </p:cNvSpPr>
          <p:nvPr>
            <p:ph type="sldNum" sz="quarter" idx="5"/>
          </p:nvPr>
        </p:nvSpPr>
        <p:spPr/>
        <p:txBody>
          <a:bodyPr/>
          <a:lstStyle/>
          <a:p>
            <a:fld id="{7D8C2C35-2B8A-446E-BEC0-FD36716C29AC}" type="slidenum">
              <a:rPr lang="en-DE" smtClean="0"/>
              <a:pPr/>
              <a:t>84</a:t>
            </a:fld>
            <a:endParaRPr lang="en-DE"/>
          </a:p>
        </p:txBody>
      </p:sp>
    </p:spTree>
    <p:extLst>
      <p:ext uri="{BB962C8B-B14F-4D97-AF65-F5344CB8AC3E}">
        <p14:creationId xmlns:p14="http://schemas.microsoft.com/office/powerpoint/2010/main" val="3777001203"/>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C1B3358-084D-76C3-28F5-B46402BFDF1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C9A86DA-0805-B177-3270-5B969723A891}"/>
              </a:ext>
            </a:extLst>
          </p:cNvPr>
          <p:cNvSpPr>
            <a:spLocks noGrp="1" noRot="1" noChangeAspect="1"/>
          </p:cNvSpPr>
          <p:nvPr>
            <p:ph type="sldImg"/>
          </p:nvPr>
        </p:nvSpPr>
        <p:spPr>
          <a:xfrm>
            <a:off x="381000" y="685800"/>
            <a:ext cx="6096000" cy="3429000"/>
          </a:xfrm>
        </p:spPr>
      </p:sp>
      <p:sp>
        <p:nvSpPr>
          <p:cNvPr id="3" name="Notes Placeholder 2">
            <a:extLst>
              <a:ext uri="{FF2B5EF4-FFF2-40B4-BE49-F238E27FC236}">
                <a16:creationId xmlns:a16="http://schemas.microsoft.com/office/drawing/2014/main" id="{04916928-03C9-FD8A-20CD-24F9F3D92587}"/>
              </a:ext>
            </a:extLst>
          </p:cNvPr>
          <p:cNvSpPr>
            <a:spLocks noGrp="1"/>
          </p:cNvSpPr>
          <p:nvPr>
            <p:ph type="body" idx="1"/>
          </p:nvPr>
        </p:nvSpPr>
        <p:spPr/>
        <p:txBody>
          <a:bodyPr/>
          <a:lstStyle/>
          <a:p>
            <a:endParaRPr lang="de-DE" dirty="0"/>
          </a:p>
        </p:txBody>
      </p:sp>
      <p:sp>
        <p:nvSpPr>
          <p:cNvPr id="4" name="Slide Number Placeholder 3">
            <a:extLst>
              <a:ext uri="{FF2B5EF4-FFF2-40B4-BE49-F238E27FC236}">
                <a16:creationId xmlns:a16="http://schemas.microsoft.com/office/drawing/2014/main" id="{AD3C3F9C-2522-1555-EA60-0FBBEC6DDF71}"/>
              </a:ext>
            </a:extLst>
          </p:cNvPr>
          <p:cNvSpPr>
            <a:spLocks noGrp="1"/>
          </p:cNvSpPr>
          <p:nvPr>
            <p:ph type="sldNum" sz="quarter" idx="5"/>
          </p:nvPr>
        </p:nvSpPr>
        <p:spPr/>
        <p:txBody>
          <a:bodyPr/>
          <a:lstStyle/>
          <a:p>
            <a:fld id="{7D8C2C35-2B8A-446E-BEC0-FD36716C29AC}" type="slidenum">
              <a:rPr lang="de-DE" smtClean="0"/>
              <a:pPr/>
              <a:t>85</a:t>
            </a:fld>
            <a:endParaRPr lang="de-DE"/>
          </a:p>
        </p:txBody>
      </p:sp>
    </p:spTree>
    <p:extLst>
      <p:ext uri="{BB962C8B-B14F-4D97-AF65-F5344CB8AC3E}">
        <p14:creationId xmlns:p14="http://schemas.microsoft.com/office/powerpoint/2010/main" val="762315862"/>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en-US" sz="8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86</a:t>
            </a:fld>
            <a:endParaRPr kumimoji="0" lang="en-US" sz="8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1911044566"/>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de-DE" sz="800" b="0" i="0" u="none" strike="noStrike" kern="1200" cap="none" spc="0" normalizeH="0" baseline="0" noProof="0" smtClean="0">
                <a:ln>
                  <a:noFill/>
                </a:ln>
                <a:solidFill>
                  <a:srgbClr val="000000"/>
                </a:solidFill>
                <a:effectLst/>
                <a:uLnTx/>
                <a:uFillTx/>
                <a:latin typeface="72 Brand" panose="020B0504030603020204" pitchFamily="34" charset="0"/>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90</a:t>
            </a:fld>
            <a:endParaRPr kumimoji="0" lang="de-DE" sz="800"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Tree>
    <p:extLst>
      <p:ext uri="{BB962C8B-B14F-4D97-AF65-F5344CB8AC3E}">
        <p14:creationId xmlns:p14="http://schemas.microsoft.com/office/powerpoint/2010/main" val="159674806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lnSpcReduction="10000"/>
          </a:bodyPr>
          <a:lstStyle/>
          <a:p>
            <a:r>
              <a:rPr lang="en-US" dirty="0"/>
              <a:t>1:30min</a:t>
            </a:r>
          </a:p>
          <a:p>
            <a:r>
              <a:rPr lang="en-US" dirty="0"/>
              <a:t>11:30-13:00</a:t>
            </a:r>
          </a:p>
          <a:p>
            <a:endParaRPr lang="en-US" dirty="0"/>
          </a:p>
          <a:p>
            <a:r>
              <a:rPr lang="de-DE" sz="1900" dirty="0"/>
              <a:t>I </a:t>
            </a:r>
            <a:r>
              <a:rPr lang="de-DE" sz="1900" dirty="0" err="1"/>
              <a:t>want</a:t>
            </a:r>
            <a:r>
              <a:rPr lang="de-DE" sz="1900" dirty="0"/>
              <a:t> to double </a:t>
            </a:r>
            <a:r>
              <a:rPr lang="de-DE" sz="1900" dirty="0" err="1"/>
              <a:t>click</a:t>
            </a:r>
            <a:r>
              <a:rPr lang="de-DE" sz="1900" dirty="0"/>
              <a:t> on </a:t>
            </a:r>
            <a:r>
              <a:rPr lang="de-DE" sz="1900" dirty="0" err="1"/>
              <a:t>standard</a:t>
            </a:r>
            <a:r>
              <a:rPr lang="de-DE" sz="1900" dirty="0"/>
              <a:t> </a:t>
            </a:r>
            <a:r>
              <a:rPr lang="de-DE" sz="1900" dirty="0" err="1"/>
              <a:t>events</a:t>
            </a:r>
            <a:r>
              <a:rPr lang="de-DE" sz="1900" dirty="0"/>
              <a:t> in </a:t>
            </a:r>
            <a:r>
              <a:rPr lang="de-DE" sz="1900" dirty="0" err="1"/>
              <a:t>our</a:t>
            </a:r>
            <a:r>
              <a:rPr lang="de-DE" sz="1900" dirty="0"/>
              <a:t> </a:t>
            </a:r>
            <a:r>
              <a:rPr lang="de-DE" sz="1900" dirty="0" err="1"/>
              <a:t>applications</a:t>
            </a:r>
            <a:r>
              <a:rPr lang="de-DE" sz="1900" dirty="0"/>
              <a:t> for a </a:t>
            </a:r>
            <a:r>
              <a:rPr lang="de-DE" sz="1900" dirty="0" err="1"/>
              <a:t>minute</a:t>
            </a:r>
            <a:r>
              <a:rPr lang="de-DE" sz="1900" dirty="0"/>
              <a:t>, </a:t>
            </a:r>
            <a:r>
              <a:rPr lang="de-DE" sz="1900" dirty="0" err="1"/>
              <a:t>particular</a:t>
            </a:r>
            <a:r>
              <a:rPr lang="de-DE" sz="1900" dirty="0"/>
              <a:t> S/4.</a:t>
            </a:r>
          </a:p>
          <a:p>
            <a:r>
              <a:rPr lang="de-DE" sz="1900" dirty="0" err="1"/>
              <a:t>We</a:t>
            </a:r>
            <a:r>
              <a:rPr lang="de-DE" sz="1900" dirty="0"/>
              <a:t> </a:t>
            </a:r>
            <a:r>
              <a:rPr lang="de-DE" sz="1900" dirty="0" err="1"/>
              <a:t>have</a:t>
            </a:r>
            <a:r>
              <a:rPr lang="de-DE" sz="1900" dirty="0"/>
              <a:t> </a:t>
            </a:r>
            <a:r>
              <a:rPr lang="de-DE" sz="1900" dirty="0" err="1"/>
              <a:t>already</a:t>
            </a:r>
            <a:r>
              <a:rPr lang="de-DE" sz="1900" dirty="0"/>
              <a:t> </a:t>
            </a:r>
            <a:r>
              <a:rPr lang="de-DE" sz="1900" dirty="0" err="1"/>
              <a:t>published</a:t>
            </a:r>
            <a:r>
              <a:rPr lang="de-DE" sz="1900" dirty="0"/>
              <a:t> </a:t>
            </a:r>
            <a:r>
              <a:rPr lang="de-DE" sz="1900" dirty="0" err="1"/>
              <a:t>about</a:t>
            </a:r>
            <a:r>
              <a:rPr lang="de-DE" sz="1900" dirty="0"/>
              <a:t> 600 </a:t>
            </a:r>
            <a:r>
              <a:rPr lang="de-DE" sz="1900" dirty="0" err="1"/>
              <a:t>standard</a:t>
            </a:r>
            <a:r>
              <a:rPr lang="de-DE" sz="1900" dirty="0"/>
              <a:t> </a:t>
            </a:r>
            <a:r>
              <a:rPr lang="de-DE" sz="1900" dirty="0" err="1"/>
              <a:t>events</a:t>
            </a:r>
            <a:r>
              <a:rPr lang="de-DE" sz="1900" dirty="0"/>
              <a:t> in S4/H Cloud on private and on </a:t>
            </a:r>
            <a:r>
              <a:rPr lang="de-DE" sz="1900" dirty="0" err="1"/>
              <a:t>prem</a:t>
            </a:r>
            <a:r>
              <a:rPr lang="de-DE" sz="1900" dirty="0"/>
              <a:t>.</a:t>
            </a:r>
          </a:p>
          <a:p>
            <a:r>
              <a:rPr lang="de-DE" sz="1900" dirty="0"/>
              <a:t> </a:t>
            </a:r>
          </a:p>
          <a:p>
            <a:r>
              <a:rPr lang="de-DE" sz="1900" dirty="0" err="1"/>
              <a:t>We</a:t>
            </a:r>
            <a:r>
              <a:rPr lang="de-DE" sz="1900" dirty="0"/>
              <a:t> </a:t>
            </a:r>
            <a:r>
              <a:rPr lang="de-DE" sz="1900" dirty="0" err="1"/>
              <a:t>have</a:t>
            </a:r>
            <a:r>
              <a:rPr lang="de-DE" sz="1900" dirty="0"/>
              <a:t> native </a:t>
            </a:r>
            <a:r>
              <a:rPr lang="de-DE" sz="1900" dirty="0" err="1"/>
              <a:t>eventing</a:t>
            </a:r>
            <a:r>
              <a:rPr lang="de-DE" sz="1900" dirty="0"/>
              <a:t> support in  RAP - and you </a:t>
            </a:r>
            <a:r>
              <a:rPr lang="de-DE" sz="1900" dirty="0" err="1"/>
              <a:t>now</a:t>
            </a:r>
            <a:r>
              <a:rPr lang="de-DE" sz="1900" dirty="0"/>
              <a:t> </a:t>
            </a:r>
            <a:r>
              <a:rPr lang="de-DE" sz="1900" dirty="0" err="1"/>
              <a:t>can</a:t>
            </a:r>
            <a:r>
              <a:rPr lang="de-DE" sz="1900" dirty="0"/>
              <a:t> </a:t>
            </a:r>
            <a:r>
              <a:rPr lang="de-DE" sz="1900" dirty="0" err="1"/>
              <a:t>define</a:t>
            </a:r>
            <a:r>
              <a:rPr lang="de-DE" sz="1900" dirty="0"/>
              <a:t> </a:t>
            </a:r>
            <a:r>
              <a:rPr lang="de-DE" sz="1900" dirty="0" err="1"/>
              <a:t>your</a:t>
            </a:r>
            <a:r>
              <a:rPr lang="de-DE" sz="1900" dirty="0"/>
              <a:t> </a:t>
            </a:r>
            <a:r>
              <a:rPr lang="de-DE" sz="1900" dirty="0" err="1"/>
              <a:t>derived</a:t>
            </a:r>
            <a:r>
              <a:rPr lang="de-DE" sz="1900" dirty="0"/>
              <a:t> </a:t>
            </a:r>
            <a:r>
              <a:rPr lang="de-DE" sz="1900" dirty="0" err="1"/>
              <a:t>events</a:t>
            </a:r>
            <a:r>
              <a:rPr lang="de-DE" sz="1900" dirty="0"/>
              <a:t> and </a:t>
            </a:r>
            <a:r>
              <a:rPr lang="de-DE" sz="1900" dirty="0" err="1"/>
              <a:t>payload</a:t>
            </a:r>
            <a:r>
              <a:rPr lang="de-DE" sz="1900" dirty="0"/>
              <a:t> </a:t>
            </a:r>
            <a:r>
              <a:rPr lang="de-DE" sz="1900" dirty="0" err="1"/>
              <a:t>events</a:t>
            </a:r>
            <a:r>
              <a:rPr lang="de-DE" sz="1900" dirty="0"/>
              <a:t> with </a:t>
            </a:r>
            <a:r>
              <a:rPr lang="de-DE" sz="1900" dirty="0" err="1"/>
              <a:t>full</a:t>
            </a:r>
            <a:r>
              <a:rPr lang="de-DE" sz="1900" dirty="0"/>
              <a:t> </a:t>
            </a:r>
            <a:r>
              <a:rPr lang="de-DE" sz="1900" dirty="0" err="1"/>
              <a:t>extensibility</a:t>
            </a:r>
            <a:r>
              <a:rPr lang="de-DE" sz="1900" dirty="0"/>
              <a:t> </a:t>
            </a:r>
            <a:r>
              <a:rPr lang="de-DE" sz="1900" dirty="0" err="1"/>
              <a:t>based</a:t>
            </a:r>
            <a:r>
              <a:rPr lang="de-DE" sz="1900" dirty="0"/>
              <a:t> on </a:t>
            </a:r>
            <a:r>
              <a:rPr lang="de-DE" sz="1900" dirty="0" err="1"/>
              <a:t>standard</a:t>
            </a:r>
            <a:r>
              <a:rPr lang="de-DE" sz="1900" dirty="0"/>
              <a:t> </a:t>
            </a:r>
            <a:r>
              <a:rPr lang="de-DE" sz="1900" dirty="0" err="1"/>
              <a:t>events</a:t>
            </a:r>
            <a:r>
              <a:rPr lang="de-DE" sz="1900" dirty="0"/>
              <a:t> in RAP.</a:t>
            </a:r>
          </a:p>
          <a:p>
            <a:r>
              <a:rPr lang="de-DE" sz="1900" dirty="0"/>
              <a:t> </a:t>
            </a:r>
          </a:p>
          <a:p>
            <a:pPr defTabSz="964793" fontAlgn="base">
              <a:lnSpc>
                <a:spcPct val="90000"/>
              </a:lnSpc>
              <a:defRPr/>
            </a:pPr>
            <a:r>
              <a:rPr lang="de-DE" sz="1900" dirty="0"/>
              <a:t>As with APIs, </a:t>
            </a:r>
            <a:r>
              <a:rPr lang="de-DE" sz="1900" dirty="0" err="1"/>
              <a:t>we</a:t>
            </a:r>
            <a:r>
              <a:rPr lang="de-DE" sz="1900" dirty="0"/>
              <a:t> </a:t>
            </a:r>
            <a:r>
              <a:rPr lang="de-DE" sz="1900" dirty="0" err="1"/>
              <a:t>are</a:t>
            </a:r>
            <a:r>
              <a:rPr lang="de-DE" sz="1900" dirty="0"/>
              <a:t> </a:t>
            </a:r>
            <a:r>
              <a:rPr lang="de-DE" sz="1900" dirty="0" err="1"/>
              <a:t>listening</a:t>
            </a:r>
            <a:r>
              <a:rPr lang="de-DE" sz="1900" dirty="0"/>
              <a:t> to </a:t>
            </a:r>
            <a:r>
              <a:rPr lang="de-DE" sz="1900" dirty="0" err="1"/>
              <a:t>our</a:t>
            </a:r>
            <a:r>
              <a:rPr lang="de-DE" sz="1900" dirty="0"/>
              <a:t> </a:t>
            </a:r>
            <a:r>
              <a:rPr lang="de-DE" sz="1900" dirty="0" err="1"/>
              <a:t>customers</a:t>
            </a:r>
            <a:r>
              <a:rPr lang="de-DE" sz="1900" dirty="0"/>
              <a:t> to </a:t>
            </a:r>
            <a:r>
              <a:rPr lang="de-DE" sz="1900" dirty="0" err="1"/>
              <a:t>continouusly</a:t>
            </a:r>
            <a:r>
              <a:rPr lang="de-DE" sz="1900" dirty="0"/>
              <a:t> </a:t>
            </a:r>
            <a:r>
              <a:rPr lang="de-DE" sz="1900" dirty="0" err="1"/>
              <a:t>enhance</a:t>
            </a:r>
            <a:r>
              <a:rPr lang="de-DE" sz="1900" dirty="0"/>
              <a:t> the </a:t>
            </a:r>
            <a:r>
              <a:rPr lang="de-DE" sz="1900" dirty="0" err="1"/>
              <a:t>set</a:t>
            </a:r>
            <a:r>
              <a:rPr lang="de-DE" sz="1900" dirty="0"/>
              <a:t> </a:t>
            </a:r>
            <a:r>
              <a:rPr lang="de-DE" sz="1900" dirty="0" err="1"/>
              <a:t>of</a:t>
            </a:r>
            <a:r>
              <a:rPr lang="de-DE" sz="1900" dirty="0"/>
              <a:t> </a:t>
            </a:r>
            <a:r>
              <a:rPr lang="de-DE" sz="1900" dirty="0" err="1"/>
              <a:t>standarrd</a:t>
            </a:r>
            <a:r>
              <a:rPr lang="de-DE" sz="1900" dirty="0"/>
              <a:t> </a:t>
            </a:r>
            <a:r>
              <a:rPr lang="de-DE" sz="1900" dirty="0" err="1"/>
              <a:t>events</a:t>
            </a:r>
            <a:r>
              <a:rPr lang="de-DE" sz="1900" dirty="0"/>
              <a:t>.</a:t>
            </a:r>
          </a:p>
          <a:p>
            <a:endParaRPr lang="de-DE" sz="1900" dirty="0"/>
          </a:p>
          <a:p>
            <a:r>
              <a:rPr lang="de-DE" sz="1900" dirty="0"/>
              <a:t>For </a:t>
            </a:r>
            <a:r>
              <a:rPr lang="de-DE" sz="1900" dirty="0" err="1"/>
              <a:t>older</a:t>
            </a:r>
            <a:r>
              <a:rPr lang="de-DE" sz="1900" dirty="0"/>
              <a:t> ERP </a:t>
            </a:r>
            <a:r>
              <a:rPr lang="de-DE" sz="1900" dirty="0" err="1"/>
              <a:t>releases</a:t>
            </a:r>
            <a:r>
              <a:rPr lang="de-DE" sz="1900" dirty="0"/>
              <a:t>, </a:t>
            </a:r>
            <a:r>
              <a:rPr lang="de-DE" sz="1900" dirty="0" err="1"/>
              <a:t>partiuclar</a:t>
            </a:r>
            <a:r>
              <a:rPr lang="de-DE" sz="1900" dirty="0"/>
              <a:t> on </a:t>
            </a:r>
            <a:r>
              <a:rPr lang="de-DE" sz="1900" dirty="0" err="1"/>
              <a:t>prem</a:t>
            </a:r>
            <a:r>
              <a:rPr lang="de-DE" sz="1900" dirty="0"/>
              <a:t>, </a:t>
            </a:r>
            <a:r>
              <a:rPr lang="de-DE" sz="1900" dirty="0" err="1"/>
              <a:t>we</a:t>
            </a:r>
            <a:r>
              <a:rPr lang="de-DE" sz="1900" dirty="0"/>
              <a:t> </a:t>
            </a:r>
            <a:r>
              <a:rPr lang="de-DE" sz="1900" dirty="0" err="1"/>
              <a:t>are</a:t>
            </a:r>
            <a:r>
              <a:rPr lang="de-DE" sz="1900" dirty="0"/>
              <a:t> </a:t>
            </a:r>
            <a:r>
              <a:rPr lang="de-DE" sz="1900" dirty="0" err="1"/>
              <a:t>working</a:t>
            </a:r>
            <a:r>
              <a:rPr lang="de-DE" sz="1900" dirty="0"/>
              <a:t> with a </a:t>
            </a:r>
            <a:r>
              <a:rPr lang="de-DE" sz="1900" dirty="0" err="1"/>
              <a:t>partner</a:t>
            </a:r>
            <a:r>
              <a:rPr lang="de-DE" sz="1900" dirty="0"/>
              <a:t> to support </a:t>
            </a:r>
            <a:r>
              <a:rPr lang="de-DE" sz="1900" dirty="0" err="1"/>
              <a:t>custom</a:t>
            </a:r>
            <a:r>
              <a:rPr lang="de-DE" sz="1900" dirty="0"/>
              <a:t> </a:t>
            </a:r>
            <a:r>
              <a:rPr lang="de-DE" sz="1900" dirty="0" err="1"/>
              <a:t>defined</a:t>
            </a:r>
            <a:r>
              <a:rPr lang="de-DE" sz="1900" dirty="0"/>
              <a:t> </a:t>
            </a:r>
            <a:r>
              <a:rPr lang="de-DE" sz="1900" dirty="0" err="1"/>
              <a:t>events</a:t>
            </a:r>
            <a:r>
              <a:rPr lang="de-DE" sz="1900" dirty="0"/>
              <a:t> and connect to the Mesh </a:t>
            </a:r>
            <a:r>
              <a:rPr lang="de-DE" sz="1900" dirty="0" err="1"/>
              <a:t>easily</a:t>
            </a:r>
            <a:r>
              <a:rPr lang="de-DE" sz="1900" dirty="0"/>
              <a:t>.</a:t>
            </a:r>
          </a:p>
          <a:p>
            <a:endParaRPr lang="en-DE" dirty="0"/>
          </a:p>
        </p:txBody>
      </p:sp>
      <p:sp>
        <p:nvSpPr>
          <p:cNvPr id="4" name="Header Placeholder 3"/>
          <p:cNvSpPr>
            <a:spLocks noGrp="1"/>
          </p:cNvSpPr>
          <p:nvPr>
            <p:ph type="hdr" sz="quarter"/>
          </p:nvPr>
        </p:nvSpPr>
        <p:spPr/>
        <p:txBody>
          <a:bodyPr lIns="96647" tIns="48324" rIns="96647" bIns="48324"/>
          <a:lstStyle/>
          <a:p>
            <a:pPr>
              <a:defRPr/>
            </a:pPr>
            <a:endParaRPr lang="en-US">
              <a:latin typeface="72 Brand" panose="020B0504030603020204" pitchFamily="34" charset="0"/>
            </a:endParaRPr>
          </a:p>
        </p:txBody>
      </p:sp>
      <p:sp>
        <p:nvSpPr>
          <p:cNvPr id="5" name="Footer Placeholder 4"/>
          <p:cNvSpPr>
            <a:spLocks noGrp="1"/>
          </p:cNvSpPr>
          <p:nvPr>
            <p:ph type="ftr" sz="quarter" idx="4"/>
          </p:nvPr>
        </p:nvSpPr>
        <p:spPr/>
        <p:txBody>
          <a:bodyPr lIns="96647" tIns="48324" rIns="96647" bIns="48324"/>
          <a:lstStyle/>
          <a:p>
            <a:pPr>
              <a:defRPr/>
            </a:pPr>
            <a:r>
              <a:rPr lang="en-US">
                <a:latin typeface="72 Brand" panose="020B0504030603020204"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lIns="96647" tIns="48324" rIns="96647" bIns="48324"/>
          <a:lstStyle/>
          <a:p>
            <a:pPr>
              <a:defRPr/>
            </a:pPr>
            <a:fld id="{93709C18-1759-4834-B9A7-2A4A4DEF8FEE}" type="datetime8">
              <a:rPr lang="en-US" smtClean="0">
                <a:latin typeface="72 Brand" panose="020B0504030603020204" pitchFamily="34" charset="0"/>
              </a:rPr>
              <a:pPr>
                <a:defRPr/>
              </a:pPr>
              <a:t>12/12/24 4:32 PM</a:t>
            </a:fld>
            <a:endParaRPr lang="en-US">
              <a:latin typeface="72 Brand" panose="020B0504030603020204" pitchFamily="34" charset="0"/>
            </a:endParaRPr>
          </a:p>
        </p:txBody>
      </p:sp>
      <p:sp>
        <p:nvSpPr>
          <p:cNvPr id="7" name="Slide Number Placeholder 6"/>
          <p:cNvSpPr>
            <a:spLocks noGrp="1"/>
          </p:cNvSpPr>
          <p:nvPr>
            <p:ph type="sldNum" sz="quarter" idx="5"/>
          </p:nvPr>
        </p:nvSpPr>
        <p:spPr/>
        <p:txBody>
          <a:bodyPr/>
          <a:lstStyle/>
          <a:p>
            <a:pPr>
              <a:defRPr/>
            </a:pPr>
            <a:fld id="{7339760D-58A6-4F8B-9C20-3902ABE1EB36}" type="slidenum">
              <a:rPr lang="en-US" smtClean="0"/>
              <a:pPr>
                <a:defRPr/>
              </a:pPr>
              <a:t>6</a:t>
            </a:fld>
            <a:endParaRPr lang="en-US"/>
          </a:p>
        </p:txBody>
      </p:sp>
    </p:spTree>
    <p:extLst>
      <p:ext uri="{BB962C8B-B14F-4D97-AF65-F5344CB8AC3E}">
        <p14:creationId xmlns:p14="http://schemas.microsoft.com/office/powerpoint/2010/main" val="391526184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SG" dirty="0"/>
          </a:p>
        </p:txBody>
      </p:sp>
      <p:sp>
        <p:nvSpPr>
          <p:cNvPr id="4" name="Slide Number Placeholder 3"/>
          <p:cNvSpPr>
            <a:spLocks noGrp="1"/>
          </p:cNvSpPr>
          <p:nvPr>
            <p:ph type="sldNum" sz="quarter" idx="5"/>
          </p:nvPr>
        </p:nvSpPr>
        <p:spPr/>
        <p:txBody>
          <a:bodyPr/>
          <a:lstStyle/>
          <a:p>
            <a:fld id="{0BA01E0B-A923-C442-8EA4-076ACD4C9686}" type="slidenum">
              <a:rPr lang="en-US" smtClean="0"/>
              <a:t>7</a:t>
            </a:fld>
            <a:endParaRPr lang="en-US" dirty="0"/>
          </a:p>
        </p:txBody>
      </p:sp>
    </p:spTree>
    <p:extLst>
      <p:ext uri="{BB962C8B-B14F-4D97-AF65-F5344CB8AC3E}">
        <p14:creationId xmlns:p14="http://schemas.microsoft.com/office/powerpoint/2010/main" val="4885777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fld id="{7D8C2C35-2B8A-446E-BEC0-FD36716C29AC}" type="slidenum">
              <a:rPr lang="en-DE" smtClean="0"/>
              <a:pPr/>
              <a:t>8</a:t>
            </a:fld>
            <a:endParaRPr lang="en-DE"/>
          </a:p>
        </p:txBody>
      </p:sp>
    </p:spTree>
    <p:extLst>
      <p:ext uri="{BB962C8B-B14F-4D97-AF65-F5344CB8AC3E}">
        <p14:creationId xmlns:p14="http://schemas.microsoft.com/office/powerpoint/2010/main" val="192748504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7D8C2C35-2B8A-446E-BEC0-FD36716C29AC}" type="slidenum">
              <a:rPr lang="en-DE" smtClean="0"/>
              <a:pPr/>
              <a:t>10</a:t>
            </a:fld>
            <a:endParaRPr lang="en-DE"/>
          </a:p>
        </p:txBody>
      </p:sp>
    </p:spTree>
    <p:extLst>
      <p:ext uri="{BB962C8B-B14F-4D97-AF65-F5344CB8AC3E}">
        <p14:creationId xmlns:p14="http://schemas.microsoft.com/office/powerpoint/2010/main" val="53311524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1.pn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White cover with blue pattern">
    <p:bg>
      <p:bgRef idx="1001">
        <a:schemeClr val="bg1"/>
      </p:bgRef>
    </p:bg>
    <p:spTree>
      <p:nvGrpSpPr>
        <p:cNvPr id="1" name=""/>
        <p:cNvGrpSpPr/>
        <p:nvPr/>
      </p:nvGrpSpPr>
      <p:grpSpPr>
        <a:xfrm>
          <a:off x="0" y="0"/>
          <a:ext cx="0" cy="0"/>
          <a:chOff x="0" y="0"/>
          <a:chExt cx="0" cy="0"/>
        </a:xfrm>
      </p:grpSpPr>
      <p:sp>
        <p:nvSpPr>
          <p:cNvPr id="2" name="Background">
            <a:extLst>
              <a:ext uri="{FF2B5EF4-FFF2-40B4-BE49-F238E27FC236}">
                <a16:creationId xmlns:a16="http://schemas.microsoft.com/office/drawing/2014/main" id="{369E6551-269A-D225-4CF8-EC6D532E4902}"/>
              </a:ext>
            </a:extLst>
          </p:cNvPr>
          <p:cNvSpPr/>
          <p:nvPr userDrawn="1"/>
        </p:nvSpPr>
        <p:spPr bwMode="gray">
          <a:xfrm>
            <a:off x="-1" y="0"/>
            <a:ext cx="12195175" cy="6858000"/>
          </a:xfrm>
          <a:prstGeom prst="rect">
            <a:avLst/>
          </a:prstGeom>
          <a:solidFill>
            <a:schemeClr val="bg1"/>
          </a:solidFill>
          <a:ln w="15238" cap="flat">
            <a:noFill/>
            <a:prstDash val="solid"/>
            <a:miter/>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a:ln>
                <a:noFill/>
              </a:ln>
              <a:effectLst/>
              <a:uLnTx/>
              <a:uFillTx/>
              <a:latin typeface="72 Brand" panose="020B0504030603020204" pitchFamily="34" charset="0"/>
              <a:ea typeface="Arial Unicode MS" pitchFamily="34" charset="-128"/>
              <a:cs typeface="Arial Unicode MS" pitchFamily="34" charset="-128"/>
            </a:endParaRPr>
          </a:p>
        </p:txBody>
      </p:sp>
      <p:sp>
        <p:nvSpPr>
          <p:cNvPr id="4" name="Title"/>
          <p:cNvSpPr>
            <a:spLocks noGrp="1"/>
          </p:cNvSpPr>
          <p:nvPr>
            <p:ph type="title" hasCustomPrompt="1"/>
          </p:nvPr>
        </p:nvSpPr>
        <p:spPr>
          <a:xfrm>
            <a:off x="288000" y="2706317"/>
            <a:ext cx="5441288" cy="997196"/>
          </a:xfrm>
        </p:spPr>
        <p:txBody>
          <a:bodyPr anchor="b" anchorCtr="0">
            <a:noAutofit/>
          </a:bodyPr>
          <a:lstStyle>
            <a:lvl1pPr>
              <a:lnSpc>
                <a:spcPct val="90000"/>
              </a:lnSpc>
              <a:defRPr sz="3600" b="0" i="0">
                <a:latin typeface="72 Brand Medium" panose="020B0504030603020204" pitchFamily="34" charset="0"/>
                <a:cs typeface="72" panose="020B0503030000000003" pitchFamily="34" charset="0"/>
              </a:defRPr>
            </a:lvl1pPr>
          </a:lstStyle>
          <a:p>
            <a:pPr fontAlgn="base">
              <a:spcBef>
                <a:spcPct val="50000"/>
              </a:spcBef>
              <a:spcAft>
                <a:spcPct val="0"/>
              </a:spcAft>
              <a:buClr>
                <a:srgbClr val="F0AB00"/>
              </a:buClr>
              <a:buSzPct val="80000"/>
            </a:pPr>
            <a:r>
              <a:rPr lang="en-US"/>
              <a:t>Title Goes Here</a:t>
            </a:r>
            <a:br>
              <a:rPr lang="en-US"/>
            </a:br>
            <a:r>
              <a:rPr lang="en-US"/>
              <a:t>and Here and Here</a:t>
            </a:r>
            <a:endParaRPr lang="de-DE" sz="3600" kern="0" err="1">
              <a:ea typeface="Arial Unicode MS" pitchFamily="34" charset="-128"/>
              <a:cs typeface="Arial Unicode MS" pitchFamily="34" charset="-128"/>
            </a:endParaRPr>
          </a:p>
        </p:txBody>
      </p:sp>
      <p:sp>
        <p:nvSpPr>
          <p:cNvPr id="3" name="Picture Placeholder 2">
            <a:extLst>
              <a:ext uri="{FF2B5EF4-FFF2-40B4-BE49-F238E27FC236}">
                <a16:creationId xmlns:a16="http://schemas.microsoft.com/office/drawing/2014/main" id="{DE73D104-EF7E-A0AB-2243-882D65E686E2}"/>
              </a:ext>
            </a:extLst>
          </p:cNvPr>
          <p:cNvSpPr>
            <a:spLocks noGrp="1"/>
          </p:cNvSpPr>
          <p:nvPr>
            <p:ph type="pic" sz="quarter" idx="15" hasCustomPrompt="1"/>
          </p:nvPr>
        </p:nvSpPr>
        <p:spPr>
          <a:xfrm>
            <a:off x="6075363" y="0"/>
            <a:ext cx="6119812" cy="6858000"/>
          </a:xfrm>
        </p:spPr>
        <p:txBody>
          <a:bodyPr anchor="ctr" anchorCtr="0"/>
          <a:lstStyle>
            <a:lvl1pPr algn="ctr">
              <a:defRPr/>
            </a:lvl1pPr>
          </a:lstStyle>
          <a:p>
            <a:r>
              <a:rPr lang="en-US"/>
              <a:t>Click to insert picture</a:t>
            </a:r>
          </a:p>
        </p:txBody>
      </p:sp>
      <p:pic>
        <p:nvPicPr>
          <p:cNvPr id="1533652702" name="LogoBlue-Dynamic" descr="{&quot;templafy&quot;:{&quot;id&quot;:&quot;6c7bdae5-f4a4-41ef-bce1-a9de047427a3&quot;}}"/>
          <p:cNvPicPr>
            <a:picLocks noChangeAspect="1"/>
          </p:cNvPicPr>
          <p:nvPr/>
        </p:nvPicPr>
        <p:blipFill>
          <a:blip r:embed="rId2"/>
          <a:stretch>
            <a:fillRect/>
          </a:stretch>
        </p:blipFill>
        <p:spPr>
          <a:xfrm>
            <a:off x="288006" y="360000"/>
            <a:ext cx="727192" cy="360000"/>
          </a:xfrm>
          <a:prstGeom prst="rect">
            <a:avLst/>
          </a:prstGeom>
        </p:spPr>
      </p:pic>
      <p:sp>
        <p:nvSpPr>
          <p:cNvPr id="6" name="Classification-Dynamic" descr="{&quot;templafy&quot;:{&quot;id&quot;:&quot;31826e07-6bd8-46cf-99a6-aba87324adbb&quot;}}">
            <a:extLst>
              <a:ext uri="{FF2B5EF4-FFF2-40B4-BE49-F238E27FC236}">
                <a16:creationId xmlns:a16="http://schemas.microsoft.com/office/drawing/2014/main" id="{870EB466-B92B-9D4D-974E-A49C0F424152}"/>
              </a:ext>
            </a:extLst>
          </p:cNvPr>
          <p:cNvSpPr txBox="1"/>
          <p:nvPr userDrawn="1"/>
        </p:nvSpPr>
        <p:spPr>
          <a:xfrm>
            <a:off x="282575" y="5080814"/>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solidFill>
                  <a:schemeClr val="tx1"/>
                </a:solidFill>
                <a:latin typeface="72 Brand" panose="020B0504030603020204" pitchFamily="34" charset="0"/>
                <a:ea typeface="Arial Unicode MS" pitchFamily="34" charset="-128"/>
                <a:cs typeface="Arial Unicode MS" pitchFamily="34" charset="-128"/>
              </a:rPr>
              <a:t>Customer &amp; SAP Only</a:t>
            </a:r>
          </a:p>
        </p:txBody>
      </p:sp>
    </p:spTree>
    <p:extLst>
      <p:ext uri="{BB962C8B-B14F-4D97-AF65-F5344CB8AC3E}">
        <p14:creationId xmlns:p14="http://schemas.microsoft.com/office/powerpoint/2010/main" val="198241062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81" userDrawn="1">
          <p15:clr>
            <a:srgbClr val="FBAE40"/>
          </p15:clr>
        </p15:guide>
        <p15:guide id="2" orient="horz" pos="1704" userDrawn="1">
          <p15:clr>
            <a:srgbClr val="FBAE40"/>
          </p15:clr>
        </p15:guide>
        <p15:guide id="3" orient="horz" pos="2704" userDrawn="1">
          <p15:clr>
            <a:srgbClr val="FBAE40"/>
          </p15:clr>
        </p15:guide>
        <p15:guide id="4" orient="horz" pos="2334" userDrawn="1">
          <p15:clr>
            <a:srgbClr val="FBAE40"/>
          </p15:clr>
        </p15:guide>
        <p15:guide id="5" orient="horz" pos="2960" userDrawn="1">
          <p15:clr>
            <a:srgbClr val="FBAE40"/>
          </p15:clr>
        </p15:guide>
        <p15:guide id="7" orient="horz" pos="4144"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With cover with image">
    <p:bg>
      <p:bgRef idx="1001">
        <a:schemeClr val="bg1"/>
      </p:bgRef>
    </p:bg>
    <p:spTree>
      <p:nvGrpSpPr>
        <p:cNvPr id="1" name=""/>
        <p:cNvGrpSpPr/>
        <p:nvPr/>
      </p:nvGrpSpPr>
      <p:grpSpPr>
        <a:xfrm>
          <a:off x="0" y="0"/>
          <a:ext cx="0" cy="0"/>
          <a:chOff x="0" y="0"/>
          <a:chExt cx="0" cy="0"/>
        </a:xfrm>
      </p:grpSpPr>
      <p:sp>
        <p:nvSpPr>
          <p:cNvPr id="2" name="Background">
            <a:extLst>
              <a:ext uri="{FF2B5EF4-FFF2-40B4-BE49-F238E27FC236}">
                <a16:creationId xmlns:a16="http://schemas.microsoft.com/office/drawing/2014/main" id="{83FFCA81-9D1B-7BE9-9F97-BEDB3E67519A}"/>
              </a:ext>
            </a:extLst>
          </p:cNvPr>
          <p:cNvSpPr/>
          <p:nvPr userDrawn="1"/>
        </p:nvSpPr>
        <p:spPr bwMode="gray">
          <a:xfrm>
            <a:off x="-1" y="0"/>
            <a:ext cx="12195175" cy="6858000"/>
          </a:xfrm>
          <a:prstGeom prst="rect">
            <a:avLst/>
          </a:prstGeom>
          <a:solidFill>
            <a:schemeClr val="bg1"/>
          </a:solidFill>
          <a:ln w="15238" cap="flat">
            <a:noFill/>
            <a:prstDash val="solid"/>
            <a:miter/>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a:ln>
                <a:noFill/>
              </a:ln>
              <a:effectLst/>
              <a:uLnTx/>
              <a:uFillTx/>
              <a:latin typeface="72 Brand" panose="020B0504030603020204" pitchFamily="34" charset="0"/>
              <a:ea typeface="Arial Unicode MS" pitchFamily="34" charset="-128"/>
              <a:cs typeface="Arial Unicode MS" pitchFamily="34" charset="-128"/>
            </a:endParaRPr>
          </a:p>
        </p:txBody>
      </p:sp>
      <p:sp>
        <p:nvSpPr>
          <p:cNvPr id="6" name="Picture Placeholder 5">
            <a:extLst>
              <a:ext uri="{FF2B5EF4-FFF2-40B4-BE49-F238E27FC236}">
                <a16:creationId xmlns:a16="http://schemas.microsoft.com/office/drawing/2014/main" id="{28860E7D-5DEB-5F1B-5AAF-4C41BD1A7778}"/>
              </a:ext>
            </a:extLst>
          </p:cNvPr>
          <p:cNvSpPr>
            <a:spLocks noGrp="1"/>
          </p:cNvSpPr>
          <p:nvPr>
            <p:ph type="pic" sz="quarter" idx="15" hasCustomPrompt="1"/>
          </p:nvPr>
        </p:nvSpPr>
        <p:spPr>
          <a:xfrm>
            <a:off x="6108700" y="0"/>
            <a:ext cx="6086475" cy="6858000"/>
          </a:xfrm>
        </p:spPr>
        <p:txBody>
          <a:bodyPr anchor="ctr" anchorCtr="0"/>
          <a:lstStyle>
            <a:lvl1pPr algn="ctr">
              <a:defRPr/>
            </a:lvl1pPr>
          </a:lstStyle>
          <a:p>
            <a:r>
              <a:rPr lang="en-US"/>
              <a:t>Click to insert picture</a:t>
            </a:r>
          </a:p>
        </p:txBody>
      </p:sp>
      <p:pic>
        <p:nvPicPr>
          <p:cNvPr id="28936725" name="Acquired Company Logo Placeholder" descr="{&quot;templafy&quot;:{&quot;id&quot;:&quot;e24a6e43-600a-4c6b-89de-bcf3787a4fa8&quot;}}" hidden="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82575" y="2141327"/>
            <a:ext cx="4125924" cy="266010"/>
          </a:xfrm>
          <a:prstGeom prst="rect">
            <a:avLst/>
          </a:prstGeom>
        </p:spPr>
      </p:pic>
      <p:sp>
        <p:nvSpPr>
          <p:cNvPr id="4" name="Title">
            <a:extLst>
              <a:ext uri="{FF2B5EF4-FFF2-40B4-BE49-F238E27FC236}">
                <a16:creationId xmlns:a16="http://schemas.microsoft.com/office/drawing/2014/main" id="{D8805AE3-41BC-E9DB-1A66-ADF41EDBC899}"/>
              </a:ext>
            </a:extLst>
          </p:cNvPr>
          <p:cNvSpPr>
            <a:spLocks noGrp="1"/>
          </p:cNvSpPr>
          <p:nvPr>
            <p:ph type="title" hasCustomPrompt="1"/>
          </p:nvPr>
        </p:nvSpPr>
        <p:spPr>
          <a:xfrm>
            <a:off x="288000" y="2706317"/>
            <a:ext cx="6026739" cy="997196"/>
          </a:xfrm>
        </p:spPr>
        <p:txBody>
          <a:bodyPr>
            <a:noAutofit/>
          </a:bodyPr>
          <a:lstStyle>
            <a:lvl1pPr>
              <a:lnSpc>
                <a:spcPct val="90000"/>
              </a:lnSpc>
              <a:defRPr sz="3600" b="0" i="0">
                <a:latin typeface="72 Brand Medium" panose="020B0504030603020204" pitchFamily="34" charset="0"/>
                <a:cs typeface="72" panose="020B0503030000000003" pitchFamily="34" charset="0"/>
              </a:defRPr>
            </a:lvl1pPr>
          </a:lstStyle>
          <a:p>
            <a:pPr fontAlgn="base">
              <a:spcBef>
                <a:spcPct val="50000"/>
              </a:spcBef>
              <a:spcAft>
                <a:spcPct val="0"/>
              </a:spcAft>
              <a:buClr>
                <a:srgbClr val="F0AB00"/>
              </a:buClr>
              <a:buSzPct val="80000"/>
            </a:pPr>
            <a:r>
              <a:rPr lang="en-US"/>
              <a:t>Title Goes Here</a:t>
            </a:r>
            <a:br>
              <a:rPr lang="en-US"/>
            </a:br>
            <a:r>
              <a:rPr lang="en-US"/>
              <a:t>and Here and Here</a:t>
            </a:r>
            <a:endParaRPr lang="de-DE" sz="3600" kern="0" err="1">
              <a:ea typeface="Arial Unicode MS" pitchFamily="34" charset="-128"/>
              <a:cs typeface="Arial Unicode MS" pitchFamily="34" charset="-128"/>
            </a:endParaRPr>
          </a:p>
        </p:txBody>
      </p:sp>
      <p:pic>
        <p:nvPicPr>
          <p:cNvPr id="1608403681" name="LogoBlue-Dynamic" descr="{&quot;templafy&quot;:{&quot;id&quot;:&quot;4730df89-118a-4dac-850a-22582fba25ef&quot;}}"/>
          <p:cNvPicPr>
            <a:picLocks noChangeAspect="1"/>
          </p:cNvPicPr>
          <p:nvPr/>
        </p:nvPicPr>
        <p:blipFill>
          <a:blip r:embed="rId3"/>
          <a:stretch>
            <a:fillRect/>
          </a:stretch>
        </p:blipFill>
        <p:spPr>
          <a:xfrm>
            <a:off x="288006" y="360000"/>
            <a:ext cx="727192" cy="360000"/>
          </a:xfrm>
          <a:prstGeom prst="rect">
            <a:avLst/>
          </a:prstGeom>
        </p:spPr>
      </p:pic>
      <p:sp>
        <p:nvSpPr>
          <p:cNvPr id="3" name="Classification-Dynamic" descr="{&quot;templafy&quot;:{&quot;id&quot;:&quot;3b3005ec-996c-4d76-a358-795127b0f977&quot;}}">
            <a:extLst>
              <a:ext uri="{FF2B5EF4-FFF2-40B4-BE49-F238E27FC236}">
                <a16:creationId xmlns:a16="http://schemas.microsoft.com/office/drawing/2014/main" id="{4A078429-99DD-7555-B0F4-FEF46FD297B0}"/>
              </a:ext>
            </a:extLst>
          </p:cNvPr>
          <p:cNvSpPr txBox="1"/>
          <p:nvPr userDrawn="1"/>
        </p:nvSpPr>
        <p:spPr>
          <a:xfrm>
            <a:off x="282575" y="5080814"/>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solidFill>
                  <a:schemeClr val="tx1"/>
                </a:solidFill>
                <a:latin typeface="72 Brand" panose="020B0504030603020204" pitchFamily="34" charset="0"/>
                <a:ea typeface="Arial Unicode MS" pitchFamily="34" charset="-128"/>
                <a:cs typeface="Arial Unicode MS" pitchFamily="34" charset="-128"/>
              </a:rPr>
              <a:t>INTERNAL – SAP and Partners Only</a:t>
            </a:r>
          </a:p>
        </p:txBody>
      </p:sp>
    </p:spTree>
    <p:extLst>
      <p:ext uri="{BB962C8B-B14F-4D97-AF65-F5344CB8AC3E}">
        <p14:creationId xmlns:p14="http://schemas.microsoft.com/office/powerpoint/2010/main" val="104365570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34">
          <p15:clr>
            <a:srgbClr val="FBAE40"/>
          </p15:clr>
        </p15:guide>
        <p15:guide id="5" orient="horz" pos="2960">
          <p15:clr>
            <a:srgbClr val="FBAE40"/>
          </p15:clr>
        </p15:guide>
        <p15:guide id="7" orient="horz" pos="4144">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Blue cover with anvil and image">
    <p:bg>
      <p:bgRef idx="1001">
        <a:schemeClr val="bg1"/>
      </p:bgRef>
    </p:bg>
    <p:spTree>
      <p:nvGrpSpPr>
        <p:cNvPr id="1" name=""/>
        <p:cNvGrpSpPr/>
        <p:nvPr/>
      </p:nvGrpSpPr>
      <p:grpSpPr>
        <a:xfrm>
          <a:off x="0" y="0"/>
          <a:ext cx="0" cy="0"/>
          <a:chOff x="0" y="0"/>
          <a:chExt cx="0" cy="0"/>
        </a:xfrm>
      </p:grpSpPr>
      <p:sp>
        <p:nvSpPr>
          <p:cNvPr id="7" name="Background" descr="preencoded.png">
            <a:extLst>
              <a:ext uri="{FF2B5EF4-FFF2-40B4-BE49-F238E27FC236}">
                <a16:creationId xmlns:a16="http://schemas.microsoft.com/office/drawing/2014/main" id="{9DE307C8-D1C3-00E2-C5B0-2A7EBB981384}"/>
              </a:ext>
            </a:extLst>
          </p:cNvPr>
          <p:cNvSpPr/>
          <p:nvPr/>
        </p:nvSpPr>
        <p:spPr>
          <a:xfrm>
            <a:off x="0" y="0"/>
            <a:ext cx="12195175" cy="6861495"/>
          </a:xfrm>
          <a:custGeom>
            <a:avLst/>
            <a:gdLst>
              <a:gd name="connsiteX0" fmla="*/ 0 w 12195175"/>
              <a:gd name="connsiteY0" fmla="*/ 0 h 6861495"/>
              <a:gd name="connsiteX1" fmla="*/ 12195175 w 12195175"/>
              <a:gd name="connsiteY1" fmla="*/ 0 h 6861495"/>
              <a:gd name="connsiteX2" fmla="*/ 12195175 w 12195175"/>
              <a:gd name="connsiteY2" fmla="*/ 6861496 h 6861495"/>
              <a:gd name="connsiteX3" fmla="*/ 0 w 12195175"/>
              <a:gd name="connsiteY3" fmla="*/ 6861496 h 6861495"/>
            </a:gdLst>
            <a:ahLst/>
            <a:cxnLst>
              <a:cxn ang="0">
                <a:pos x="connsiteX0" y="connsiteY0"/>
              </a:cxn>
              <a:cxn ang="0">
                <a:pos x="connsiteX1" y="connsiteY1"/>
              </a:cxn>
              <a:cxn ang="0">
                <a:pos x="connsiteX2" y="connsiteY2"/>
              </a:cxn>
              <a:cxn ang="0">
                <a:pos x="connsiteX3" y="connsiteY3"/>
              </a:cxn>
            </a:cxnLst>
            <a:rect l="l" t="t" r="r" b="b"/>
            <a:pathLst>
              <a:path w="12195175" h="6861495">
                <a:moveTo>
                  <a:pt x="0" y="0"/>
                </a:moveTo>
                <a:lnTo>
                  <a:pt x="12195175" y="0"/>
                </a:lnTo>
                <a:lnTo>
                  <a:pt x="12195175" y="6861496"/>
                </a:lnTo>
                <a:lnTo>
                  <a:pt x="0" y="6861496"/>
                </a:lnTo>
                <a:close/>
              </a:path>
            </a:pathLst>
          </a:custGeom>
          <a:solidFill>
            <a:srgbClr val="0057D2"/>
          </a:solidFill>
          <a:ln w="10160" cap="flat">
            <a:noFill/>
            <a:prstDash val="solid"/>
            <a:miter/>
          </a:ln>
        </p:spPr>
        <p:txBody>
          <a:bodyPr rtlCol="0" anchor="ctr"/>
          <a:lstStyle/>
          <a:p>
            <a:endParaRPr lang="en-US"/>
          </a:p>
        </p:txBody>
      </p:sp>
      <p:sp>
        <p:nvSpPr>
          <p:cNvPr id="6" name="Anvil" descr="preencoded.png">
            <a:extLst>
              <a:ext uri="{FF2B5EF4-FFF2-40B4-BE49-F238E27FC236}">
                <a16:creationId xmlns:a16="http://schemas.microsoft.com/office/drawing/2014/main" id="{6C575B3E-49FD-8450-F2CB-84C6E7A1153D}"/>
              </a:ext>
            </a:extLst>
          </p:cNvPr>
          <p:cNvSpPr/>
          <p:nvPr/>
        </p:nvSpPr>
        <p:spPr>
          <a:xfrm>
            <a:off x="752355" y="1156532"/>
            <a:ext cx="5613722" cy="2756252"/>
          </a:xfrm>
          <a:custGeom>
            <a:avLst/>
            <a:gdLst>
              <a:gd name="connsiteX0" fmla="*/ 0 w 5613722"/>
              <a:gd name="connsiteY0" fmla="*/ 0 h 2756252"/>
              <a:gd name="connsiteX1" fmla="*/ 0 w 5613722"/>
              <a:gd name="connsiteY1" fmla="*/ 2756252 h 2756252"/>
              <a:gd name="connsiteX2" fmla="*/ 2852875 w 5613722"/>
              <a:gd name="connsiteY2" fmla="*/ 2756252 h 2756252"/>
              <a:gd name="connsiteX3" fmla="*/ 5613722 w 5613722"/>
              <a:gd name="connsiteY3" fmla="*/ 0 h 2756252"/>
              <a:gd name="connsiteX4" fmla="*/ 0 w 5613722"/>
              <a:gd name="connsiteY4" fmla="*/ 0 h 27562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13722" h="2756252">
                <a:moveTo>
                  <a:pt x="0" y="0"/>
                </a:moveTo>
                <a:lnTo>
                  <a:pt x="0" y="2756252"/>
                </a:lnTo>
                <a:lnTo>
                  <a:pt x="2852875" y="2756252"/>
                </a:lnTo>
                <a:lnTo>
                  <a:pt x="5613722" y="0"/>
                </a:lnTo>
                <a:lnTo>
                  <a:pt x="0" y="0"/>
                </a:lnTo>
                <a:close/>
              </a:path>
            </a:pathLst>
          </a:custGeom>
          <a:solidFill>
            <a:srgbClr val="1B90FF"/>
          </a:solidFill>
          <a:ln w="9273" cap="flat">
            <a:noFill/>
            <a:prstDash val="solid"/>
            <a:miter/>
          </a:ln>
        </p:spPr>
        <p:txBody>
          <a:bodyPr rtlCol="0" anchor="ctr"/>
          <a:lstStyle/>
          <a:p>
            <a:endParaRPr lang="en-US"/>
          </a:p>
        </p:txBody>
      </p:sp>
      <p:sp>
        <p:nvSpPr>
          <p:cNvPr id="13" name="Picture Placeholder 12">
            <a:extLst>
              <a:ext uri="{FF2B5EF4-FFF2-40B4-BE49-F238E27FC236}">
                <a16:creationId xmlns:a16="http://schemas.microsoft.com/office/drawing/2014/main" id="{FF6D8674-EA25-0C87-7F7A-4B6FFA7F1F14}"/>
              </a:ext>
            </a:extLst>
          </p:cNvPr>
          <p:cNvSpPr>
            <a:spLocks noGrp="1"/>
          </p:cNvSpPr>
          <p:nvPr>
            <p:ph type="pic" sz="quarter" idx="10" hasCustomPrompt="1"/>
          </p:nvPr>
        </p:nvSpPr>
        <p:spPr>
          <a:xfrm>
            <a:off x="7836062" y="0"/>
            <a:ext cx="4359114" cy="6858000"/>
          </a:xfrm>
        </p:spPr>
        <p:txBody>
          <a:bodyPr anchor="ctr" anchorCtr="0"/>
          <a:lstStyle>
            <a:lvl1pPr algn="ctr">
              <a:defRPr>
                <a:solidFill>
                  <a:schemeClr val="bg1"/>
                </a:solidFill>
              </a:defRPr>
            </a:lvl1pPr>
          </a:lstStyle>
          <a:p>
            <a:r>
              <a:rPr lang="en-US"/>
              <a:t>Click to insert picture</a:t>
            </a:r>
          </a:p>
        </p:txBody>
      </p:sp>
      <p:sp>
        <p:nvSpPr>
          <p:cNvPr id="4" name="Title">
            <a:extLst>
              <a:ext uri="{FF2B5EF4-FFF2-40B4-BE49-F238E27FC236}">
                <a16:creationId xmlns:a16="http://schemas.microsoft.com/office/drawing/2014/main" id="{A222ABC1-A03E-5EDE-02E2-6F3794850CC1}"/>
              </a:ext>
            </a:extLst>
          </p:cNvPr>
          <p:cNvSpPr>
            <a:spLocks noGrp="1"/>
          </p:cNvSpPr>
          <p:nvPr>
            <p:ph type="title" hasCustomPrompt="1"/>
          </p:nvPr>
        </p:nvSpPr>
        <p:spPr>
          <a:xfrm>
            <a:off x="440401" y="2206502"/>
            <a:ext cx="5529704" cy="997196"/>
          </a:xfrm>
        </p:spPr>
        <p:txBody>
          <a:bodyPr>
            <a:noAutofit/>
          </a:bodyPr>
          <a:lstStyle>
            <a:lvl1pPr>
              <a:lnSpc>
                <a:spcPct val="90000"/>
              </a:lnSpc>
              <a:defRPr sz="3600" b="0" i="0">
                <a:solidFill>
                  <a:schemeClr val="bg1"/>
                </a:solidFill>
                <a:latin typeface="72 Brand Medium" panose="020B0504030603020204" pitchFamily="34" charset="0"/>
              </a:defRPr>
            </a:lvl1pPr>
          </a:lstStyle>
          <a:p>
            <a:pPr fontAlgn="base">
              <a:spcBef>
                <a:spcPct val="50000"/>
              </a:spcBef>
              <a:spcAft>
                <a:spcPct val="0"/>
              </a:spcAft>
              <a:buClr>
                <a:srgbClr val="F0AB00"/>
              </a:buClr>
              <a:buSzPct val="80000"/>
            </a:pPr>
            <a:r>
              <a:rPr lang="en-US"/>
              <a:t>Title Goes Here</a:t>
            </a:r>
            <a:br>
              <a:rPr lang="en-US"/>
            </a:br>
            <a:r>
              <a:rPr lang="en-US"/>
              <a:t>and Here and Here</a:t>
            </a:r>
            <a:endParaRPr lang="de-DE" sz="3600" kern="0" err="1">
              <a:ea typeface="Arial Unicode MS" pitchFamily="34" charset="-128"/>
              <a:cs typeface="Arial Unicode MS" pitchFamily="34" charset="-128"/>
            </a:endParaRPr>
          </a:p>
        </p:txBody>
      </p:sp>
      <p:pic>
        <p:nvPicPr>
          <p:cNvPr id="1743685208" name="LogoWhite-Dynamic" descr="{&quot;templafy&quot;:{&quot;id&quot;:&quot;c91d4f96-eb02-4c57-a0e1-338790f88ede&quot;}}"/>
          <p:cNvPicPr>
            <a:picLocks noChangeAspect="1"/>
          </p:cNvPicPr>
          <p:nvPr/>
        </p:nvPicPr>
        <p:blipFill>
          <a:blip r:embed="rId2"/>
          <a:stretch>
            <a:fillRect/>
          </a:stretch>
        </p:blipFill>
        <p:spPr>
          <a:xfrm>
            <a:off x="288006" y="360000"/>
            <a:ext cx="727192" cy="360000"/>
          </a:xfrm>
          <a:prstGeom prst="rect">
            <a:avLst/>
          </a:prstGeom>
        </p:spPr>
      </p:pic>
      <p:sp>
        <p:nvSpPr>
          <p:cNvPr id="5" name="Classification-Dynamic" descr="{&quot;templafy&quot;:{&quot;id&quot;:&quot;54a69f23-ff76-4f65-96bb-a6bf00e9647f&quot;}}">
            <a:extLst>
              <a:ext uri="{FF2B5EF4-FFF2-40B4-BE49-F238E27FC236}">
                <a16:creationId xmlns:a16="http://schemas.microsoft.com/office/drawing/2014/main" id="{7A6CB977-D711-D436-9DC2-AAFCC56F9CAA}"/>
              </a:ext>
            </a:extLst>
          </p:cNvPr>
          <p:cNvSpPr txBox="1"/>
          <p:nvPr userDrawn="1"/>
        </p:nvSpPr>
        <p:spPr>
          <a:xfrm>
            <a:off x="440401" y="5080814"/>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solidFill>
                  <a:schemeClr val="bg1"/>
                </a:solidFill>
                <a:latin typeface="72 Brand" panose="020B0504030603020204" pitchFamily="34" charset="0"/>
                <a:ea typeface="Arial Unicode MS" pitchFamily="34" charset="-128"/>
                <a:cs typeface="Arial Unicode MS" pitchFamily="34" charset="-128"/>
              </a:rPr>
              <a:t>INTERNAL – SAP and Partners Only</a:t>
            </a:r>
          </a:p>
        </p:txBody>
      </p:sp>
    </p:spTree>
    <p:extLst>
      <p:ext uri="{BB962C8B-B14F-4D97-AF65-F5344CB8AC3E}">
        <p14:creationId xmlns:p14="http://schemas.microsoft.com/office/powerpoint/2010/main" val="1979749642"/>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34">
          <p15:clr>
            <a:srgbClr val="FBAE40"/>
          </p15:clr>
        </p15:guide>
        <p15:guide id="5" orient="horz" pos="2960">
          <p15:clr>
            <a:srgbClr val="FBAE40"/>
          </p15:clr>
        </p15:guide>
        <p15:guide id="7" orient="horz" pos="4144">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4" name="Agenda items placeholder"/>
          <p:cNvSpPr>
            <a:spLocks noGrp="1"/>
          </p:cNvSpPr>
          <p:nvPr>
            <p:ph type="body" sz="quarter" idx="10" hasCustomPrompt="1"/>
          </p:nvPr>
        </p:nvSpPr>
        <p:spPr>
          <a:xfrm>
            <a:off x="503238" y="1580844"/>
            <a:ext cx="11185200" cy="4764394"/>
          </a:xfrm>
        </p:spPr>
        <p:txBody>
          <a:bodyPr>
            <a:normAutofit/>
          </a:bodyPr>
          <a:lstStyle>
            <a:lvl1pPr marL="0" marR="0" indent="0" algn="l" defTabSz="1088558" rtl="0" eaLnBrk="1" fontAlgn="auto" latinLnBrk="0" hangingPunct="1">
              <a:lnSpc>
                <a:spcPct val="100000"/>
              </a:lnSpc>
              <a:spcBef>
                <a:spcPts val="3000"/>
              </a:spcBef>
              <a:spcAft>
                <a:spcPts val="0"/>
              </a:spcAft>
              <a:buClr>
                <a:schemeClr val="accent1"/>
              </a:buClr>
              <a:buSzPct val="80000"/>
              <a:buFontTx/>
              <a:buNone/>
              <a:tabLst/>
              <a:defRPr sz="2000" b="0"/>
            </a:lvl1pPr>
            <a:lvl2pPr marL="179964" marR="0" indent="-179964" algn="l" defTabSz="1088558"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sz="1800"/>
            </a:lvl2pPr>
            <a:lvl3pPr marL="359928" marR="0" indent="-179352" algn="l" defTabSz="1088558" rtl="0" eaLnBrk="1" fontAlgn="auto" latinLnBrk="0" hangingPunct="1">
              <a:lnSpc>
                <a:spcPct val="100000"/>
              </a:lnSpc>
              <a:spcBef>
                <a:spcPts val="400"/>
              </a:spcBef>
              <a:spcAft>
                <a:spcPts val="0"/>
              </a:spcAft>
              <a:buClr>
                <a:schemeClr val="tx1"/>
              </a:buClr>
              <a:buSzPct val="100000"/>
              <a:buFont typeface="Arial" pitchFamily="34" charset="0"/>
              <a:buChar char="–"/>
              <a:tabLst/>
              <a:defRPr sz="1800" baseline="0"/>
            </a:lvl3pPr>
            <a:lvl4pPr marL="539892" marR="0" indent="-179964" algn="l" defTabSz="1088558" rtl="0" eaLnBrk="1" fontAlgn="auto" latinLnBrk="0" hangingPunct="1">
              <a:lnSpc>
                <a:spcPct val="100000"/>
              </a:lnSpc>
              <a:spcBef>
                <a:spcPts val="250"/>
              </a:spcBef>
              <a:spcAft>
                <a:spcPts val="0"/>
              </a:spcAft>
              <a:buClr>
                <a:schemeClr val="tx1"/>
              </a:buClr>
              <a:buSzPct val="100000"/>
              <a:buFont typeface="Courier New" pitchFamily="49" charset="0"/>
              <a:buChar char="o"/>
              <a:tabLst/>
              <a:defRPr sz="1600"/>
            </a:lvl4pPr>
            <a:lvl5pPr>
              <a:buClr>
                <a:schemeClr val="accent2"/>
              </a:buClr>
              <a:buFont typeface="Arial" pitchFamily="34" charset="0"/>
              <a:buChar char="–"/>
              <a:defRPr/>
            </a:lvl5pPr>
          </a:lstStyle>
          <a:p>
            <a:pPr lvl="0"/>
            <a:r>
              <a:rPr lang="en-US"/>
              <a:t>Agenda Item/Divider Headline</a:t>
            </a:r>
          </a:p>
          <a:p>
            <a:pPr lvl="1"/>
            <a:r>
              <a:rPr lang="en-US"/>
              <a:t>Details</a:t>
            </a:r>
          </a:p>
        </p:txBody>
      </p:sp>
      <p:sp>
        <p:nvSpPr>
          <p:cNvPr id="3" name="Agenda title"/>
          <p:cNvSpPr>
            <a:spLocks noGrp="1"/>
          </p:cNvSpPr>
          <p:nvPr>
            <p:ph type="title" hasCustomPrompt="1"/>
          </p:nvPr>
        </p:nvSpPr>
        <p:spPr/>
        <p:txBody>
          <a:bodyPr/>
          <a:lstStyle>
            <a:lvl1pPr>
              <a:defRPr b="0" i="0">
                <a:latin typeface="72 Brand Medium" panose="020B0504030603020204" pitchFamily="34" charset="0"/>
              </a:defRPr>
            </a:lvl1pPr>
          </a:lstStyle>
          <a:p>
            <a:r>
              <a:rPr lang="en-US"/>
              <a:t>Agenda</a:t>
            </a:r>
          </a:p>
        </p:txBody>
      </p:sp>
    </p:spTree>
    <p:extLst>
      <p:ext uri="{BB962C8B-B14F-4D97-AF65-F5344CB8AC3E}">
        <p14:creationId xmlns:p14="http://schemas.microsoft.com/office/powerpoint/2010/main" val="1859360619"/>
      </p:ext>
    </p:extLst>
  </p:cSld>
  <p:clrMapOvr>
    <a:masterClrMapping/>
  </p:clrMapOvr>
  <p:extLst>
    <p:ext uri="{DCECCB84-F9BA-43D5-87BE-67443E8EF086}">
      <p15:sldGuideLst xmlns:p15="http://schemas.microsoft.com/office/powerpoint/2012/main">
        <p15:guide id="1" pos="303" userDrawn="1">
          <p15:clr>
            <a:srgbClr val="FBAE40"/>
          </p15:clr>
        </p15:guide>
        <p15:guide id="2" orient="horz" pos="981" userDrawn="1">
          <p15:clr>
            <a:srgbClr val="FBAE40"/>
          </p15:clr>
        </p15:guide>
        <p15:guide id="3" pos="7364" userDrawn="1">
          <p15:clr>
            <a:srgbClr val="FBAE40"/>
          </p15:clr>
        </p15:guide>
        <p15:guide id="4" orient="horz" pos="316" userDrawn="1">
          <p15:clr>
            <a:srgbClr val="FBAE40"/>
          </p15:clr>
        </p15:guide>
        <p15:guide id="5" orient="horz" pos="551" userDrawn="1">
          <p15:clr>
            <a:srgbClr val="FBAE40"/>
          </p15:clr>
        </p15:guide>
        <p15:guide id="6" orient="horz" pos="3997"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Divider Page">
    <p:spTree>
      <p:nvGrpSpPr>
        <p:cNvPr id="1" name=""/>
        <p:cNvGrpSpPr/>
        <p:nvPr/>
      </p:nvGrpSpPr>
      <p:grpSpPr>
        <a:xfrm>
          <a:off x="0" y="0"/>
          <a:ext cx="0" cy="0"/>
          <a:chOff x="0" y="0"/>
          <a:chExt cx="0" cy="0"/>
        </a:xfrm>
      </p:grpSpPr>
      <p:sp>
        <p:nvSpPr>
          <p:cNvPr id="2" name="Divider text"/>
          <p:cNvSpPr>
            <a:spLocks noGrp="1"/>
          </p:cNvSpPr>
          <p:nvPr>
            <p:ph type="ctrTitle" hasCustomPrompt="1"/>
          </p:nvPr>
        </p:nvSpPr>
        <p:spPr bwMode="black">
          <a:xfrm>
            <a:off x="504000" y="3090446"/>
            <a:ext cx="11185200" cy="677108"/>
          </a:xfrm>
        </p:spPr>
        <p:txBody>
          <a:bodyPr anchor="ctr" anchorCtr="0">
            <a:noAutofit/>
          </a:bodyPr>
          <a:lstStyle>
            <a:lvl1pPr>
              <a:defRPr sz="4400" b="0" i="0">
                <a:solidFill>
                  <a:schemeClr val="tx1"/>
                </a:solidFill>
                <a:latin typeface="72 Brand Medium" panose="020B0504030603020204" pitchFamily="34" charset="0"/>
              </a:defRPr>
            </a:lvl1pPr>
          </a:lstStyle>
          <a:p>
            <a:r>
              <a:rPr lang="en-US"/>
              <a:t>Divider page</a:t>
            </a:r>
            <a:endParaRPr lang="de-DE"/>
          </a:p>
        </p:txBody>
      </p:sp>
    </p:spTree>
    <p:extLst>
      <p:ext uri="{BB962C8B-B14F-4D97-AF65-F5344CB8AC3E}">
        <p14:creationId xmlns:p14="http://schemas.microsoft.com/office/powerpoint/2010/main" val="4109527874"/>
      </p:ext>
    </p:extLst>
  </p:cSld>
  <p:clrMapOvr>
    <a:masterClrMapping/>
  </p:clrMapOvr>
  <p:hf sldNum="0" hdr="0" ftr="0" dt="0"/>
  <p:extLst>
    <p:ext uri="{DCECCB84-F9BA-43D5-87BE-67443E8EF086}">
      <p15:sldGuideLst xmlns:p15="http://schemas.microsoft.com/office/powerpoint/2012/main">
        <p15:guide id="1" pos="303" userDrawn="1">
          <p15:clr>
            <a:srgbClr val="FBAE40"/>
          </p15:clr>
        </p15:guide>
        <p15:guide id="2" orient="horz" pos="2160" userDrawn="1">
          <p15:clr>
            <a:srgbClr val="FBAE40"/>
          </p15:clr>
        </p15:guide>
        <p15:guide id="3" pos="7364"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Divider Page with Image">
    <p:spTree>
      <p:nvGrpSpPr>
        <p:cNvPr id="1" name=""/>
        <p:cNvGrpSpPr/>
        <p:nvPr/>
      </p:nvGrpSpPr>
      <p:grpSpPr>
        <a:xfrm>
          <a:off x="0" y="0"/>
          <a:ext cx="0" cy="0"/>
          <a:chOff x="0" y="0"/>
          <a:chExt cx="0" cy="0"/>
        </a:xfrm>
      </p:grpSpPr>
      <p:sp>
        <p:nvSpPr>
          <p:cNvPr id="4" name="Divider image placeholder"/>
          <p:cNvSpPr>
            <a:spLocks noGrp="1"/>
          </p:cNvSpPr>
          <p:nvPr>
            <p:ph type="pic" sz="quarter" idx="12" hasCustomPrompt="1"/>
          </p:nvPr>
        </p:nvSpPr>
        <p:spPr bwMode="gray">
          <a:xfrm>
            <a:off x="1" y="3427200"/>
            <a:ext cx="12195175" cy="3430800"/>
          </a:xfrm>
          <a:noFill/>
        </p:spPr>
        <p:txBody>
          <a:bodyPr tIns="324000"/>
          <a:lstStyle>
            <a:lvl1pPr marL="0" marR="0" indent="0" algn="ctr" defTabSz="1088558" rtl="0" eaLnBrk="1" fontAlgn="auto" latinLnBrk="0" hangingPunct="1">
              <a:lnSpc>
                <a:spcPct val="100000"/>
              </a:lnSpc>
              <a:spcBef>
                <a:spcPts val="1200"/>
              </a:spcBef>
              <a:spcAft>
                <a:spcPts val="0"/>
              </a:spcAft>
              <a:buClr>
                <a:schemeClr val="accent1"/>
              </a:buClr>
              <a:buSzPct val="80000"/>
              <a:buFontTx/>
              <a:buNone/>
              <a:tabLst/>
              <a:defRPr sz="1600">
                <a:solidFill>
                  <a:schemeClr val="tx1"/>
                </a:solidFill>
              </a:defRPr>
            </a:lvl1pPr>
          </a:lstStyle>
          <a:p>
            <a:pPr marL="0" marR="0" lvl="0" indent="0" algn="ctr" defTabSz="1088558" rtl="0" eaLnBrk="1" fontAlgn="auto" latinLnBrk="0" hangingPunct="1">
              <a:lnSpc>
                <a:spcPct val="100000"/>
              </a:lnSpc>
              <a:spcBef>
                <a:spcPts val="1200"/>
              </a:spcBef>
              <a:spcAft>
                <a:spcPts val="0"/>
              </a:spcAft>
              <a:buClr>
                <a:schemeClr val="accent1"/>
              </a:buClr>
              <a:buSzPct val="80000"/>
              <a:buFontTx/>
              <a:buNone/>
              <a:tabLst/>
              <a:defRPr/>
            </a:pPr>
            <a:r>
              <a:rPr lang="en-US"/>
              <a:t>Placeholder for image and illustration</a:t>
            </a:r>
          </a:p>
        </p:txBody>
      </p:sp>
      <p:sp>
        <p:nvSpPr>
          <p:cNvPr id="2" name="Divider text"/>
          <p:cNvSpPr>
            <a:spLocks noGrp="1"/>
          </p:cNvSpPr>
          <p:nvPr>
            <p:ph type="ctrTitle" hasCustomPrompt="1"/>
          </p:nvPr>
        </p:nvSpPr>
        <p:spPr bwMode="black">
          <a:xfrm>
            <a:off x="504000" y="1375046"/>
            <a:ext cx="11185200" cy="677108"/>
          </a:xfrm>
        </p:spPr>
        <p:txBody>
          <a:bodyPr anchor="t" anchorCtr="0">
            <a:noAutofit/>
          </a:bodyPr>
          <a:lstStyle>
            <a:lvl1pPr>
              <a:defRPr sz="4400" b="0" i="0">
                <a:solidFill>
                  <a:schemeClr val="tx1"/>
                </a:solidFill>
                <a:latin typeface="72 Brand Medium" panose="020B0504030603020204" pitchFamily="34" charset="0"/>
              </a:defRPr>
            </a:lvl1pPr>
          </a:lstStyle>
          <a:p>
            <a:r>
              <a:rPr lang="en-US"/>
              <a:t>Divider page</a:t>
            </a:r>
            <a:endParaRPr lang="de-DE"/>
          </a:p>
        </p:txBody>
      </p:sp>
    </p:spTree>
    <p:extLst>
      <p:ext uri="{BB962C8B-B14F-4D97-AF65-F5344CB8AC3E}">
        <p14:creationId xmlns:p14="http://schemas.microsoft.com/office/powerpoint/2010/main" val="1008985274"/>
      </p:ext>
    </p:extLst>
  </p:cSld>
  <p:clrMapOvr>
    <a:masterClrMapping/>
  </p:clrMapOvr>
  <p:hf sldNum="0" hdr="0" ftr="0" dt="0"/>
  <p:extLst>
    <p:ext uri="{DCECCB84-F9BA-43D5-87BE-67443E8EF086}">
      <p15:sldGuideLst xmlns:p15="http://schemas.microsoft.com/office/powerpoint/2012/main">
        <p15:guide id="1" orient="horz" pos="2160" userDrawn="1">
          <p15:clr>
            <a:srgbClr val="FBAE40"/>
          </p15:clr>
        </p15:guide>
        <p15:guide id="2" pos="7364" userDrawn="1">
          <p15:clr>
            <a:srgbClr val="FBAE40"/>
          </p15:clr>
        </p15:guide>
        <p15:guide id="3" pos="303" userDrawn="1">
          <p15:clr>
            <a:srgbClr val="FBAE40"/>
          </p15:clr>
        </p15:guide>
        <p15:guide id="4" orient="horz" pos="865" userDrawn="1">
          <p15:clr>
            <a:srgbClr val="FBAE40"/>
          </p15:clr>
        </p15:guide>
        <p15:guide id="5" orient="horz" pos="1294"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1_Divider Page with Image">
    <p:spTree>
      <p:nvGrpSpPr>
        <p:cNvPr id="1" name=""/>
        <p:cNvGrpSpPr/>
        <p:nvPr/>
      </p:nvGrpSpPr>
      <p:grpSpPr>
        <a:xfrm>
          <a:off x="0" y="0"/>
          <a:ext cx="0" cy="0"/>
          <a:chOff x="0" y="0"/>
          <a:chExt cx="0" cy="0"/>
        </a:xfrm>
      </p:grpSpPr>
      <p:sp>
        <p:nvSpPr>
          <p:cNvPr id="2" name="Divider text"/>
          <p:cNvSpPr>
            <a:spLocks noGrp="1"/>
          </p:cNvSpPr>
          <p:nvPr>
            <p:ph type="ctrTitle" hasCustomPrompt="1"/>
          </p:nvPr>
        </p:nvSpPr>
        <p:spPr bwMode="black">
          <a:xfrm>
            <a:off x="504000" y="1375046"/>
            <a:ext cx="11185200" cy="677108"/>
          </a:xfrm>
        </p:spPr>
        <p:txBody>
          <a:bodyPr anchor="t" anchorCtr="0">
            <a:noAutofit/>
          </a:bodyPr>
          <a:lstStyle>
            <a:lvl1pPr>
              <a:defRPr sz="4400" b="0" i="0">
                <a:solidFill>
                  <a:schemeClr val="tx1"/>
                </a:solidFill>
                <a:latin typeface="72 Brand Medium" panose="020B0504030603020204" pitchFamily="34" charset="0"/>
              </a:defRPr>
            </a:lvl1pPr>
          </a:lstStyle>
          <a:p>
            <a:r>
              <a:rPr lang="en-US"/>
              <a:t>Divider page</a:t>
            </a:r>
            <a:endParaRPr lang="de-DE"/>
          </a:p>
        </p:txBody>
      </p:sp>
    </p:spTree>
    <p:extLst>
      <p:ext uri="{BB962C8B-B14F-4D97-AF65-F5344CB8AC3E}">
        <p14:creationId xmlns:p14="http://schemas.microsoft.com/office/powerpoint/2010/main" val="3514533024"/>
      </p:ext>
    </p:extLst>
  </p:cSld>
  <p:clrMapOvr>
    <a:masterClrMapping/>
  </p:clrMapOvr>
  <p:hf sldNum="0" hdr="0" ftr="0" dt="0"/>
  <p:extLst>
    <p:ext uri="{DCECCB84-F9BA-43D5-87BE-67443E8EF086}">
      <p15:sldGuideLst xmlns:p15="http://schemas.microsoft.com/office/powerpoint/2012/main">
        <p15:guide id="1" orient="horz" pos="2160" userDrawn="1">
          <p15:clr>
            <a:srgbClr val="FBAE40"/>
          </p15:clr>
        </p15:guide>
        <p15:guide id="2" pos="7364" userDrawn="1">
          <p15:clr>
            <a:srgbClr val="FBAE40"/>
          </p15:clr>
        </p15:guide>
        <p15:guide id="3" pos="303" userDrawn="1">
          <p15:clr>
            <a:srgbClr val="FBAE40"/>
          </p15:clr>
        </p15:guide>
        <p15:guide id="4" orient="horz" pos="865" userDrawn="1">
          <p15:clr>
            <a:srgbClr val="FBAE40"/>
          </p15:clr>
        </p15:guide>
        <p15:guide id="5" orient="horz" pos="1294"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p:cNvSpPr>
            <a:spLocks noGrp="1"/>
          </p:cNvSpPr>
          <p:nvPr>
            <p:ph type="title" hasCustomPrompt="1"/>
          </p:nvPr>
        </p:nvSpPr>
        <p:spPr/>
        <p:txBody>
          <a:bodyPr/>
          <a:lstStyle>
            <a:lvl1pPr>
              <a:defRPr b="0" i="0">
                <a:latin typeface="72 Brand Medium" panose="020B0504030603020204" pitchFamily="34" charset="0"/>
              </a:defRPr>
            </a:lvl1pPr>
          </a:lstStyle>
          <a:p>
            <a:r>
              <a:rPr lang="en-US" noProof="0"/>
              <a:t>Insert page title (sentence case)</a:t>
            </a:r>
            <a:endParaRPr lang="en-US"/>
          </a:p>
        </p:txBody>
      </p:sp>
    </p:spTree>
    <p:extLst>
      <p:ext uri="{BB962C8B-B14F-4D97-AF65-F5344CB8AC3E}">
        <p14:creationId xmlns:p14="http://schemas.microsoft.com/office/powerpoint/2010/main" val="2466743634"/>
      </p:ext>
    </p:extLst>
  </p:cSld>
  <p:clrMapOvr>
    <a:masterClrMapping/>
  </p:clrMapOvr>
  <p:extLst>
    <p:ext uri="{DCECCB84-F9BA-43D5-87BE-67443E8EF086}">
      <p15:sldGuideLst xmlns:p15="http://schemas.microsoft.com/office/powerpoint/2012/main">
        <p15:guide id="1" pos="303" userDrawn="1">
          <p15:clr>
            <a:srgbClr val="FBAE40"/>
          </p15:clr>
        </p15:guide>
        <p15:guide id="2" orient="horz" pos="317" userDrawn="1">
          <p15:clr>
            <a:srgbClr val="FBAE40"/>
          </p15:clr>
        </p15:guide>
        <p15:guide id="3" pos="7364" userDrawn="1">
          <p15:clr>
            <a:srgbClr val="FBAE40"/>
          </p15:clr>
        </p15:guide>
        <p15:guide id="4" orient="horz" pos="551" userDrawn="1">
          <p15:clr>
            <a:srgbClr val="FBAE40"/>
          </p15:clr>
        </p15:guide>
        <p15:guide id="5" orient="horz" pos="3992"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4" name="Text placeholder"/>
          <p:cNvSpPr>
            <a:spLocks noGrp="1"/>
          </p:cNvSpPr>
          <p:nvPr>
            <p:ph type="body" sz="quarter" idx="10" hasCustomPrompt="1"/>
          </p:nvPr>
        </p:nvSpPr>
        <p:spPr>
          <a:xfrm>
            <a:off x="501650" y="1557338"/>
            <a:ext cx="11186477" cy="47879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hasCustomPrompt="1"/>
          </p:nvPr>
        </p:nvSpPr>
        <p:spPr>
          <a:xfrm>
            <a:off x="504001" y="504000"/>
            <a:ext cx="11186476" cy="369332"/>
          </a:xfrm>
        </p:spPr>
        <p:txBody>
          <a:bodyPr/>
          <a:lstStyle>
            <a:lvl1pPr>
              <a:defRPr b="0"/>
            </a:lvl1pPr>
          </a:lstStyle>
          <a:p>
            <a:r>
              <a:rPr lang="en-US" noProof="0"/>
              <a:t>Insert page title (sentence case)</a:t>
            </a:r>
            <a:endParaRPr lang="en-US"/>
          </a:p>
        </p:txBody>
      </p:sp>
    </p:spTree>
    <p:extLst>
      <p:ext uri="{BB962C8B-B14F-4D97-AF65-F5344CB8AC3E}">
        <p14:creationId xmlns:p14="http://schemas.microsoft.com/office/powerpoint/2010/main" val="2129332223"/>
      </p:ext>
    </p:extLst>
  </p:cSld>
  <p:clrMapOvr>
    <a:masterClrMapping/>
  </p:clrMapOvr>
  <p:extLst>
    <p:ext uri="{DCECCB84-F9BA-43D5-87BE-67443E8EF086}">
      <p15:sldGuideLst xmlns:p15="http://schemas.microsoft.com/office/powerpoint/2012/main">
        <p15:guide id="1" pos="316" userDrawn="1">
          <p15:clr>
            <a:srgbClr val="FBAE40"/>
          </p15:clr>
        </p15:guide>
        <p15:guide id="2" orient="horz" pos="3997" userDrawn="1">
          <p15:clr>
            <a:srgbClr val="FBAE40"/>
          </p15:clr>
        </p15:guide>
        <p15:guide id="3" pos="7364" userDrawn="1">
          <p15:clr>
            <a:srgbClr val="FBAE40"/>
          </p15:clr>
        </p15:guide>
        <p15:guide id="4" orient="horz" pos="318" userDrawn="1">
          <p15:clr>
            <a:srgbClr val="FBAE40"/>
          </p15:clr>
        </p15:guide>
        <p15:guide id="5" orient="horz" pos="552" userDrawn="1">
          <p15:clr>
            <a:srgbClr val="FBAE40"/>
          </p15:clr>
        </p15:guide>
        <p15:guide id="6" orient="horz" pos="981"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nd Text: 2 Columns">
    <p:spTree>
      <p:nvGrpSpPr>
        <p:cNvPr id="1" name=""/>
        <p:cNvGrpSpPr/>
        <p:nvPr/>
      </p:nvGrpSpPr>
      <p:grpSpPr>
        <a:xfrm>
          <a:off x="0" y="0"/>
          <a:ext cx="0" cy="0"/>
          <a:chOff x="0" y="0"/>
          <a:chExt cx="0" cy="0"/>
        </a:xfrm>
      </p:grpSpPr>
      <p:sp>
        <p:nvSpPr>
          <p:cNvPr id="5" name="Text placeholder - column 2"/>
          <p:cNvSpPr>
            <a:spLocks noGrp="1"/>
          </p:cNvSpPr>
          <p:nvPr>
            <p:ph type="body" sz="quarter" idx="11" hasCustomPrompt="1"/>
          </p:nvPr>
        </p:nvSpPr>
        <p:spPr>
          <a:xfrm>
            <a:off x="6362477" y="1557338"/>
            <a:ext cx="5328000" cy="47879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4" name="Text placeholder - column 1"/>
          <p:cNvSpPr>
            <a:spLocks noGrp="1"/>
          </p:cNvSpPr>
          <p:nvPr>
            <p:ph type="body" sz="quarter" idx="10" hasCustomPrompt="1"/>
          </p:nvPr>
        </p:nvSpPr>
        <p:spPr>
          <a:xfrm>
            <a:off x="504000" y="1557338"/>
            <a:ext cx="5328000" cy="47879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2630481451"/>
      </p:ext>
    </p:extLst>
  </p:cSld>
  <p:clrMapOvr>
    <a:masterClrMapping/>
  </p:clrMapOvr>
  <p:extLst>
    <p:ext uri="{DCECCB84-F9BA-43D5-87BE-67443E8EF086}">
      <p15:sldGuideLst xmlns:p15="http://schemas.microsoft.com/office/powerpoint/2012/main">
        <p15:guide id="1" pos="317" userDrawn="1">
          <p15:clr>
            <a:srgbClr val="FBAE40"/>
          </p15:clr>
        </p15:guide>
        <p15:guide id="2" orient="horz" pos="3997" userDrawn="1">
          <p15:clr>
            <a:srgbClr val="FBAE40"/>
          </p15:clr>
        </p15:guide>
        <p15:guide id="3" pos="7364" userDrawn="1">
          <p15:clr>
            <a:srgbClr val="FBAE40"/>
          </p15:clr>
        </p15:guide>
        <p15:guide id="4" pos="3674" userDrawn="1">
          <p15:clr>
            <a:srgbClr val="FBAE40"/>
          </p15:clr>
        </p15:guide>
        <p15:guide id="5" pos="4007" userDrawn="1">
          <p15:clr>
            <a:srgbClr val="FBAE40"/>
          </p15:clr>
        </p15:guide>
        <p15:guide id="6" orient="horz" pos="317" userDrawn="1">
          <p15:clr>
            <a:srgbClr val="FBAE40"/>
          </p15:clr>
        </p15:guide>
        <p15:guide id="7" orient="horz" pos="551" userDrawn="1">
          <p15:clr>
            <a:srgbClr val="FBAE40"/>
          </p15:clr>
        </p15:guide>
        <p15:guide id="8" orient="horz" pos="981"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nd Text: 3 Columns">
    <p:spTree>
      <p:nvGrpSpPr>
        <p:cNvPr id="1" name=""/>
        <p:cNvGrpSpPr/>
        <p:nvPr/>
      </p:nvGrpSpPr>
      <p:grpSpPr>
        <a:xfrm>
          <a:off x="0" y="0"/>
          <a:ext cx="0" cy="0"/>
          <a:chOff x="0" y="0"/>
          <a:chExt cx="0" cy="0"/>
        </a:xfrm>
      </p:grpSpPr>
      <p:sp>
        <p:nvSpPr>
          <p:cNvPr id="7" name="Text Placeholder - column 3"/>
          <p:cNvSpPr>
            <a:spLocks noGrp="1"/>
          </p:cNvSpPr>
          <p:nvPr>
            <p:ph type="body" sz="quarter" idx="13" hasCustomPrompt="1"/>
          </p:nvPr>
        </p:nvSpPr>
        <p:spPr>
          <a:xfrm>
            <a:off x="8126477" y="1557338"/>
            <a:ext cx="3564000" cy="47879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6" name="Text Placeholder - column 2"/>
          <p:cNvSpPr>
            <a:spLocks noGrp="1"/>
          </p:cNvSpPr>
          <p:nvPr>
            <p:ph type="body" sz="quarter" idx="12" hasCustomPrompt="1"/>
          </p:nvPr>
        </p:nvSpPr>
        <p:spPr>
          <a:xfrm>
            <a:off x="4315238" y="1557338"/>
            <a:ext cx="3564000" cy="47879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4" name="Text Placeholder - column 1"/>
          <p:cNvSpPr>
            <a:spLocks noGrp="1"/>
          </p:cNvSpPr>
          <p:nvPr>
            <p:ph type="body" sz="quarter" idx="10" hasCustomPrompt="1"/>
          </p:nvPr>
        </p:nvSpPr>
        <p:spPr>
          <a:xfrm>
            <a:off x="504000" y="1557338"/>
            <a:ext cx="3564000" cy="47879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2"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866416376"/>
      </p:ext>
    </p:extLst>
  </p:cSld>
  <p:clrMapOvr>
    <a:masterClrMapping/>
  </p:clrMapOvr>
  <p:extLst>
    <p:ext uri="{DCECCB84-F9BA-43D5-87BE-67443E8EF086}">
      <p15:sldGuideLst xmlns:p15="http://schemas.microsoft.com/office/powerpoint/2012/main">
        <p15:guide id="1" pos="317" userDrawn="1">
          <p15:clr>
            <a:srgbClr val="FBAE40"/>
          </p15:clr>
        </p15:guide>
        <p15:guide id="2" orient="horz" pos="317" userDrawn="1">
          <p15:clr>
            <a:srgbClr val="FBAE40"/>
          </p15:clr>
        </p15:guide>
        <p15:guide id="3" pos="2563" userDrawn="1">
          <p15:clr>
            <a:srgbClr val="FBAE40"/>
          </p15:clr>
        </p15:guide>
        <p15:guide id="4" pos="2717" userDrawn="1">
          <p15:clr>
            <a:srgbClr val="FBAE40"/>
          </p15:clr>
        </p15:guide>
        <p15:guide id="5" pos="4964" userDrawn="1">
          <p15:clr>
            <a:srgbClr val="FBAE40"/>
          </p15:clr>
        </p15:guide>
        <p15:guide id="6" pos="5119" userDrawn="1">
          <p15:clr>
            <a:srgbClr val="FBAE40"/>
          </p15:clr>
        </p15:guide>
        <p15:guide id="7" pos="7364" userDrawn="1">
          <p15:clr>
            <a:srgbClr val="FBAE40"/>
          </p15:clr>
        </p15:guide>
        <p15:guide id="8" orient="horz" pos="551" userDrawn="1">
          <p15:clr>
            <a:srgbClr val="FBAE40"/>
          </p15:clr>
        </p15:guide>
        <p15:guide id="9" orient="horz" pos="981" userDrawn="1">
          <p15:clr>
            <a:srgbClr val="FBAE40"/>
          </p15:clr>
        </p15:guide>
        <p15:guide id="10" orient="horz" pos="3997"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Pink cover with anvil">
    <p:bg>
      <p:bgPr>
        <a:solidFill>
          <a:srgbClr val="28004A"/>
        </a:solidFill>
        <a:effectLst/>
      </p:bgPr>
    </p:bg>
    <p:spTree>
      <p:nvGrpSpPr>
        <p:cNvPr id="1" name=""/>
        <p:cNvGrpSpPr/>
        <p:nvPr/>
      </p:nvGrpSpPr>
      <p:grpSpPr>
        <a:xfrm>
          <a:off x="0" y="0"/>
          <a:ext cx="0" cy="0"/>
          <a:chOff x="0" y="0"/>
          <a:chExt cx="0" cy="0"/>
        </a:xfrm>
      </p:grpSpPr>
      <p:sp>
        <p:nvSpPr>
          <p:cNvPr id="3" name="Background">
            <a:extLst>
              <a:ext uri="{FF2B5EF4-FFF2-40B4-BE49-F238E27FC236}">
                <a16:creationId xmlns:a16="http://schemas.microsoft.com/office/drawing/2014/main" id="{37E79459-E5C5-5E87-E38B-80855D38E462}"/>
              </a:ext>
            </a:extLst>
          </p:cNvPr>
          <p:cNvSpPr/>
          <p:nvPr userDrawn="1"/>
        </p:nvSpPr>
        <p:spPr bwMode="gray">
          <a:xfrm>
            <a:off x="-1" y="0"/>
            <a:ext cx="12195175" cy="6858000"/>
          </a:xfrm>
          <a:prstGeom prst="rect">
            <a:avLst/>
          </a:prstGeom>
          <a:solidFill>
            <a:srgbClr val="28004A"/>
          </a:solidFill>
          <a:ln w="15238" cap="flat">
            <a:noFill/>
            <a:prstDash val="solid"/>
            <a:miter/>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a:ln>
                <a:noFill/>
              </a:ln>
              <a:effectLst/>
              <a:uLnTx/>
              <a:uFillTx/>
              <a:latin typeface="72 Brand" panose="020B0504030603020204" pitchFamily="34" charset="0"/>
              <a:ea typeface="Arial Unicode MS" pitchFamily="34" charset="-128"/>
              <a:cs typeface="Arial Unicode MS" pitchFamily="34" charset="-128"/>
            </a:endParaRPr>
          </a:p>
        </p:txBody>
      </p:sp>
      <p:pic>
        <p:nvPicPr>
          <p:cNvPr id="2" name="Picture 1">
            <a:extLst>
              <a:ext uri="{FF2B5EF4-FFF2-40B4-BE49-F238E27FC236}">
                <a16:creationId xmlns:a16="http://schemas.microsoft.com/office/drawing/2014/main" id="{1846E736-979F-0D4B-6D59-D0EA5D367E1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299111" y="1216759"/>
            <a:ext cx="8887864" cy="4424483"/>
          </a:xfrm>
          <a:prstGeom prst="rect">
            <a:avLst/>
          </a:prstGeom>
        </p:spPr>
      </p:pic>
      <p:sp>
        <p:nvSpPr>
          <p:cNvPr id="4" name="Title"/>
          <p:cNvSpPr>
            <a:spLocks noGrp="1"/>
          </p:cNvSpPr>
          <p:nvPr>
            <p:ph type="title" hasCustomPrompt="1"/>
          </p:nvPr>
        </p:nvSpPr>
        <p:spPr>
          <a:xfrm>
            <a:off x="288000" y="2706317"/>
            <a:ext cx="10900800" cy="997196"/>
          </a:xfrm>
        </p:spPr>
        <p:txBody>
          <a:bodyPr>
            <a:noAutofit/>
          </a:bodyPr>
          <a:lstStyle>
            <a:lvl1pPr>
              <a:lnSpc>
                <a:spcPct val="90000"/>
              </a:lnSpc>
              <a:defRPr sz="3600" b="0" i="0">
                <a:solidFill>
                  <a:schemeClr val="bg1"/>
                </a:solidFill>
                <a:latin typeface="72 Brand Medium" panose="020B0504030603020204" pitchFamily="34" charset="0"/>
                <a:cs typeface="72" panose="020B0503030000000003" pitchFamily="34" charset="0"/>
              </a:defRPr>
            </a:lvl1pPr>
          </a:lstStyle>
          <a:p>
            <a:pPr fontAlgn="base">
              <a:spcBef>
                <a:spcPct val="50000"/>
              </a:spcBef>
              <a:spcAft>
                <a:spcPct val="0"/>
              </a:spcAft>
              <a:buClr>
                <a:srgbClr val="F0AB00"/>
              </a:buClr>
              <a:buSzPct val="80000"/>
            </a:pPr>
            <a:r>
              <a:rPr lang="en-US"/>
              <a:t>Title Goes Here</a:t>
            </a:r>
            <a:br>
              <a:rPr lang="en-US"/>
            </a:br>
            <a:r>
              <a:rPr lang="en-US"/>
              <a:t>and Here and Here</a:t>
            </a:r>
            <a:endParaRPr lang="de-DE" sz="3600" kern="0" err="1">
              <a:ea typeface="Arial Unicode MS" pitchFamily="34" charset="-128"/>
              <a:cs typeface="Arial Unicode MS" pitchFamily="34" charset="-128"/>
            </a:endParaRPr>
          </a:p>
        </p:txBody>
      </p:sp>
      <p:pic>
        <p:nvPicPr>
          <p:cNvPr id="1787688874" name="LogoWhite-Dynamic" descr="{&quot;templafy&quot;:{&quot;id&quot;:&quot;2de5be2a-d3c3-4ddf-bfce-d8d47df28dbb&quot;}}"/>
          <p:cNvPicPr>
            <a:picLocks noChangeAspect="1"/>
          </p:cNvPicPr>
          <p:nvPr/>
        </p:nvPicPr>
        <p:blipFill>
          <a:blip r:embed="rId3"/>
          <a:stretch>
            <a:fillRect/>
          </a:stretch>
        </p:blipFill>
        <p:spPr>
          <a:xfrm>
            <a:off x="288006" y="360000"/>
            <a:ext cx="727192" cy="360000"/>
          </a:xfrm>
          <a:prstGeom prst="rect">
            <a:avLst/>
          </a:prstGeom>
        </p:spPr>
      </p:pic>
      <p:sp>
        <p:nvSpPr>
          <p:cNvPr id="7" name="Classification-Dynamic" descr="{&quot;templafy&quot;:{&quot;id&quot;:&quot;ae7c7b96-b70f-4e7a-b733-583422dd9c67&quot;}}">
            <a:extLst>
              <a:ext uri="{FF2B5EF4-FFF2-40B4-BE49-F238E27FC236}">
                <a16:creationId xmlns:a16="http://schemas.microsoft.com/office/drawing/2014/main" id="{1D05DC80-84C9-9ECA-3B84-3577D8D81659}"/>
              </a:ext>
            </a:extLst>
          </p:cNvPr>
          <p:cNvSpPr txBox="1"/>
          <p:nvPr userDrawn="1"/>
        </p:nvSpPr>
        <p:spPr>
          <a:xfrm>
            <a:off x="282575" y="5080814"/>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solidFill>
                  <a:schemeClr val="bg1"/>
                </a:solidFill>
                <a:latin typeface="72 Brand" panose="020B0504030603020204" pitchFamily="34" charset="0"/>
                <a:ea typeface="Arial Unicode MS" pitchFamily="34" charset="-128"/>
                <a:cs typeface="Arial Unicode MS" pitchFamily="34" charset="-128"/>
              </a:rPr>
              <a:t>INTERNAL – SAP and Partners Only</a:t>
            </a:r>
          </a:p>
        </p:txBody>
      </p:sp>
    </p:spTree>
    <p:extLst>
      <p:ext uri="{BB962C8B-B14F-4D97-AF65-F5344CB8AC3E}">
        <p14:creationId xmlns:p14="http://schemas.microsoft.com/office/powerpoint/2010/main" val="2667257257"/>
      </p:ext>
    </p:extLst>
  </p:cSld>
  <p:clrMapOvr>
    <a:masterClrMapping/>
  </p:clrMapOvr>
  <p:extLst>
    <p:ext uri="{DCECCB84-F9BA-43D5-87BE-67443E8EF086}">
      <p15:sldGuideLst xmlns:p15="http://schemas.microsoft.com/office/powerpoint/2012/main">
        <p15:guide id="1" pos="181" userDrawn="1">
          <p15:clr>
            <a:srgbClr val="FBAE40"/>
          </p15:clr>
        </p15:guide>
        <p15:guide id="2" orient="horz" pos="1704" userDrawn="1">
          <p15:clr>
            <a:srgbClr val="FBAE40"/>
          </p15:clr>
        </p15:guide>
        <p15:guide id="3" orient="horz" pos="2688" userDrawn="1">
          <p15:clr>
            <a:srgbClr val="FBAE40"/>
          </p15:clr>
        </p15:guide>
        <p15:guide id="4" orient="horz" pos="2334" userDrawn="1">
          <p15:clr>
            <a:srgbClr val="FBAE40"/>
          </p15:clr>
        </p15:guide>
        <p15:guide id="5" orient="horz" pos="2960" userDrawn="1">
          <p15:clr>
            <a:srgbClr val="FBAE40"/>
          </p15:clr>
        </p15:guide>
        <p15:guide id="7" orient="horz" pos="4144"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 Columns - Text and Images">
    <p:spTree>
      <p:nvGrpSpPr>
        <p:cNvPr id="1" name=""/>
        <p:cNvGrpSpPr/>
        <p:nvPr/>
      </p:nvGrpSpPr>
      <p:grpSpPr>
        <a:xfrm>
          <a:off x="0" y="0"/>
          <a:ext cx="0" cy="0"/>
          <a:chOff x="0" y="0"/>
          <a:chExt cx="0" cy="0"/>
        </a:xfrm>
      </p:grpSpPr>
      <p:sp>
        <p:nvSpPr>
          <p:cNvPr id="17" name="Text placeholder 2"/>
          <p:cNvSpPr>
            <a:spLocks noGrp="1"/>
          </p:cNvSpPr>
          <p:nvPr>
            <p:ph type="body" sz="quarter" idx="13" hasCustomPrompt="1"/>
          </p:nvPr>
        </p:nvSpPr>
        <p:spPr>
          <a:xfrm>
            <a:off x="6362477" y="4770000"/>
            <a:ext cx="5328000" cy="1575238"/>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8" name="Picture Placeholder 2"/>
          <p:cNvSpPr>
            <a:spLocks noGrp="1"/>
          </p:cNvSpPr>
          <p:nvPr>
            <p:ph type="pic" sz="quarter" idx="14" hasCustomPrompt="1"/>
          </p:nvPr>
        </p:nvSpPr>
        <p:spPr bwMode="gray">
          <a:xfrm>
            <a:off x="6362477" y="1557337"/>
            <a:ext cx="5328000" cy="2792593"/>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i="0" kern="1200" dirty="0">
                <a:solidFill>
                  <a:schemeClr val="tx1"/>
                </a:solidFill>
                <a:latin typeface="Arial" panose="020B0604020202020204" pitchFamily="34" charset="0"/>
                <a:ea typeface="+mn-ea"/>
                <a:cs typeface="+mn-cs"/>
              </a:defRPr>
            </a:lvl1pPr>
          </a:lstStyle>
          <a:p>
            <a:r>
              <a:rPr lang="en-US"/>
              <a:t>Click icon to add image or pictogram</a:t>
            </a:r>
            <a:endParaRPr lang="de-DE"/>
          </a:p>
        </p:txBody>
      </p:sp>
      <p:sp>
        <p:nvSpPr>
          <p:cNvPr id="3" name="Text placeholder 1"/>
          <p:cNvSpPr>
            <a:spLocks noGrp="1"/>
          </p:cNvSpPr>
          <p:nvPr>
            <p:ph type="body" sz="quarter" idx="10" hasCustomPrompt="1"/>
          </p:nvPr>
        </p:nvSpPr>
        <p:spPr>
          <a:xfrm>
            <a:off x="504000" y="4770000"/>
            <a:ext cx="5328000" cy="1575238"/>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5" name="Picture Placeholder 1"/>
          <p:cNvSpPr>
            <a:spLocks noGrp="1"/>
          </p:cNvSpPr>
          <p:nvPr>
            <p:ph type="pic" sz="quarter" idx="12" hasCustomPrompt="1"/>
          </p:nvPr>
        </p:nvSpPr>
        <p:spPr bwMode="gray">
          <a:xfrm>
            <a:off x="504000" y="1557337"/>
            <a:ext cx="5328000" cy="2792593"/>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i="0" kern="1200" dirty="0">
                <a:solidFill>
                  <a:schemeClr val="tx1"/>
                </a:solidFill>
                <a:latin typeface="Arial" panose="020B0604020202020204" pitchFamily="34" charset="0"/>
                <a:ea typeface="+mn-ea"/>
                <a:cs typeface="+mn-cs"/>
              </a:defRPr>
            </a:lvl1pPr>
          </a:lstStyle>
          <a:p>
            <a:r>
              <a:rPr lang="en-US"/>
              <a:t>Click icon to add image or pictogram</a:t>
            </a:r>
            <a:endParaRPr lang="de-DE"/>
          </a:p>
        </p:txBody>
      </p:sp>
      <p:sp>
        <p:nvSpPr>
          <p:cNvPr id="2"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2504941297"/>
      </p:ext>
    </p:extLst>
  </p:cSld>
  <p:clrMapOvr>
    <a:masterClrMapping/>
  </p:clrMapOvr>
  <p:extLst>
    <p:ext uri="{DCECCB84-F9BA-43D5-87BE-67443E8EF086}">
      <p15:sldGuideLst xmlns:p15="http://schemas.microsoft.com/office/powerpoint/2012/main">
        <p15:guide id="1" pos="317" userDrawn="1">
          <p15:clr>
            <a:srgbClr val="FBAE40"/>
          </p15:clr>
        </p15:guide>
        <p15:guide id="2" orient="horz" pos="317" userDrawn="1">
          <p15:clr>
            <a:srgbClr val="FBAE40"/>
          </p15:clr>
        </p15:guide>
        <p15:guide id="3" orient="horz" pos="551" userDrawn="1">
          <p15:clr>
            <a:srgbClr val="FBAE40"/>
          </p15:clr>
        </p15:guide>
        <p15:guide id="4" orient="horz" pos="981" userDrawn="1">
          <p15:clr>
            <a:srgbClr val="FBAE40"/>
          </p15:clr>
        </p15:guide>
        <p15:guide id="5" orient="horz" pos="2750" userDrawn="1">
          <p15:clr>
            <a:srgbClr val="FBAE40"/>
          </p15:clr>
        </p15:guide>
        <p15:guide id="6" orient="horz" pos="3004" userDrawn="1">
          <p15:clr>
            <a:srgbClr val="FBAE40"/>
          </p15:clr>
        </p15:guide>
        <p15:guide id="7" orient="horz" pos="3997" userDrawn="1">
          <p15:clr>
            <a:srgbClr val="FBAE40"/>
          </p15:clr>
        </p15:guide>
        <p15:guide id="8" pos="3682" userDrawn="1">
          <p15:clr>
            <a:srgbClr val="FBAE40"/>
          </p15:clr>
        </p15:guide>
        <p15:guide id="9" pos="4000" userDrawn="1">
          <p15:clr>
            <a:srgbClr val="FBAE40"/>
          </p15:clr>
        </p15:guide>
        <p15:guide id="10" pos="7364" userDrawn="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3 Columns - Text and Images">
    <p:spTree>
      <p:nvGrpSpPr>
        <p:cNvPr id="1" name=""/>
        <p:cNvGrpSpPr/>
        <p:nvPr/>
      </p:nvGrpSpPr>
      <p:grpSpPr>
        <a:xfrm>
          <a:off x="0" y="0"/>
          <a:ext cx="0" cy="0"/>
          <a:chOff x="0" y="0"/>
          <a:chExt cx="0" cy="0"/>
        </a:xfrm>
      </p:grpSpPr>
      <p:sp>
        <p:nvSpPr>
          <p:cNvPr id="17" name="Text placeholder 3"/>
          <p:cNvSpPr>
            <a:spLocks noGrp="1"/>
          </p:cNvSpPr>
          <p:nvPr>
            <p:ph type="body" sz="quarter" idx="13" hasCustomPrompt="1"/>
          </p:nvPr>
        </p:nvSpPr>
        <p:spPr>
          <a:xfrm>
            <a:off x="8299277" y="4354921"/>
            <a:ext cx="3391200" cy="1981079"/>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8" name="Picture placeholder 3"/>
          <p:cNvSpPr>
            <a:spLocks noGrp="1"/>
          </p:cNvSpPr>
          <p:nvPr>
            <p:ph type="pic" sz="quarter" idx="14" hasCustomPrompt="1"/>
          </p:nvPr>
        </p:nvSpPr>
        <p:spPr bwMode="gray">
          <a:xfrm>
            <a:off x="8299277" y="1557338"/>
            <a:ext cx="3391200" cy="2294662"/>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i="0" kern="1200" dirty="0">
                <a:solidFill>
                  <a:schemeClr val="tx1"/>
                </a:solidFill>
                <a:latin typeface="Arial" panose="020B0604020202020204" pitchFamily="34" charset="0"/>
                <a:ea typeface="+mn-ea"/>
                <a:cs typeface="+mn-cs"/>
              </a:defRPr>
            </a:lvl1pPr>
          </a:lstStyle>
          <a:p>
            <a:r>
              <a:rPr lang="en-US"/>
              <a:t>Click icon to add image or pictogram</a:t>
            </a:r>
            <a:endParaRPr lang="de-DE"/>
          </a:p>
        </p:txBody>
      </p:sp>
      <p:sp>
        <p:nvSpPr>
          <p:cNvPr id="9" name="Text placeholder 2"/>
          <p:cNvSpPr>
            <a:spLocks noGrp="1"/>
          </p:cNvSpPr>
          <p:nvPr>
            <p:ph type="body" sz="quarter" idx="15" hasCustomPrompt="1"/>
          </p:nvPr>
        </p:nvSpPr>
        <p:spPr>
          <a:xfrm>
            <a:off x="4401639" y="4354921"/>
            <a:ext cx="3391200" cy="1981079"/>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0" name="Picture placeholder 2"/>
          <p:cNvSpPr>
            <a:spLocks noGrp="1"/>
          </p:cNvSpPr>
          <p:nvPr>
            <p:ph type="pic" sz="quarter" idx="16" hasCustomPrompt="1"/>
          </p:nvPr>
        </p:nvSpPr>
        <p:spPr bwMode="gray">
          <a:xfrm>
            <a:off x="4401639" y="1557338"/>
            <a:ext cx="3391200" cy="2294662"/>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i="0" kern="1200" dirty="0">
                <a:solidFill>
                  <a:schemeClr val="tx1"/>
                </a:solidFill>
                <a:latin typeface="Arial" panose="020B0604020202020204" pitchFamily="34" charset="0"/>
                <a:ea typeface="+mn-ea"/>
                <a:cs typeface="+mn-cs"/>
              </a:defRPr>
            </a:lvl1pPr>
          </a:lstStyle>
          <a:p>
            <a:r>
              <a:rPr lang="en-US"/>
              <a:t>Click icon to add image or pictogram</a:t>
            </a:r>
            <a:endParaRPr lang="de-DE"/>
          </a:p>
        </p:txBody>
      </p:sp>
      <p:sp>
        <p:nvSpPr>
          <p:cNvPr id="3" name="Text placeholder 1"/>
          <p:cNvSpPr>
            <a:spLocks noGrp="1"/>
          </p:cNvSpPr>
          <p:nvPr>
            <p:ph type="body" sz="quarter" idx="10" hasCustomPrompt="1"/>
          </p:nvPr>
        </p:nvSpPr>
        <p:spPr>
          <a:xfrm>
            <a:off x="504000" y="4354921"/>
            <a:ext cx="3391200" cy="1981079"/>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5" name="Picture placeholder 1"/>
          <p:cNvSpPr>
            <a:spLocks noGrp="1"/>
          </p:cNvSpPr>
          <p:nvPr>
            <p:ph type="pic" sz="quarter" idx="12" hasCustomPrompt="1"/>
          </p:nvPr>
        </p:nvSpPr>
        <p:spPr bwMode="gray">
          <a:xfrm>
            <a:off x="504000" y="1557338"/>
            <a:ext cx="3391200" cy="2294662"/>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i="0" kern="1200" dirty="0">
                <a:solidFill>
                  <a:schemeClr val="tx1"/>
                </a:solidFill>
                <a:latin typeface="Arial" panose="020B0604020202020204" pitchFamily="34" charset="0"/>
                <a:ea typeface="+mn-ea"/>
                <a:cs typeface="+mn-cs"/>
              </a:defRPr>
            </a:lvl1pPr>
          </a:lstStyle>
          <a:p>
            <a:r>
              <a:rPr lang="en-US"/>
              <a:t>Click icon to add image or pictogram</a:t>
            </a:r>
            <a:endParaRPr lang="de-DE"/>
          </a:p>
        </p:txBody>
      </p:sp>
      <p:sp>
        <p:nvSpPr>
          <p:cNvPr id="2"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727667599"/>
      </p:ext>
    </p:extLst>
  </p:cSld>
  <p:clrMapOvr>
    <a:masterClrMapping/>
  </p:clrMapOvr>
  <p:extLst>
    <p:ext uri="{DCECCB84-F9BA-43D5-87BE-67443E8EF086}">
      <p15:sldGuideLst xmlns:p15="http://schemas.microsoft.com/office/powerpoint/2012/main">
        <p15:guide id="1" pos="317" userDrawn="1">
          <p15:clr>
            <a:srgbClr val="FBAE40"/>
          </p15:clr>
        </p15:guide>
        <p15:guide id="2" orient="horz" pos="317" userDrawn="1">
          <p15:clr>
            <a:srgbClr val="FBAE40"/>
          </p15:clr>
        </p15:guide>
        <p15:guide id="3" pos="2455" userDrawn="1">
          <p15:clr>
            <a:srgbClr val="FBAE40"/>
          </p15:clr>
        </p15:guide>
        <p15:guide id="4" pos="2773" userDrawn="1">
          <p15:clr>
            <a:srgbClr val="FBAE40"/>
          </p15:clr>
        </p15:guide>
        <p15:guide id="5" pos="4910" userDrawn="1">
          <p15:clr>
            <a:srgbClr val="FBAE40"/>
          </p15:clr>
        </p15:guide>
        <p15:guide id="6" pos="5227" userDrawn="1">
          <p15:clr>
            <a:srgbClr val="FBAE40"/>
          </p15:clr>
        </p15:guide>
        <p15:guide id="7" pos="7364" userDrawn="1">
          <p15:clr>
            <a:srgbClr val="FBAE40"/>
          </p15:clr>
        </p15:guide>
        <p15:guide id="8" orient="horz" pos="551" userDrawn="1">
          <p15:clr>
            <a:srgbClr val="FBAE40"/>
          </p15:clr>
        </p15:guide>
        <p15:guide id="9" orient="horz" pos="981" userDrawn="1">
          <p15:clr>
            <a:srgbClr val="FBAE40"/>
          </p15:clr>
        </p15:guide>
        <p15:guide id="10" orient="horz" pos="2428" userDrawn="1">
          <p15:clr>
            <a:srgbClr val="FBAE40"/>
          </p15:clr>
        </p15:guide>
        <p15:guide id="11" orient="horz" pos="2743" userDrawn="1">
          <p15:clr>
            <a:srgbClr val="FBAE40"/>
          </p15:clr>
        </p15:guide>
        <p15:guide id="12" orient="horz" pos="3997" userDrawn="1">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4 Columns - Text and Images">
    <p:spTree>
      <p:nvGrpSpPr>
        <p:cNvPr id="1" name=""/>
        <p:cNvGrpSpPr/>
        <p:nvPr/>
      </p:nvGrpSpPr>
      <p:grpSpPr>
        <a:xfrm>
          <a:off x="0" y="0"/>
          <a:ext cx="0" cy="0"/>
          <a:chOff x="0" y="0"/>
          <a:chExt cx="0" cy="0"/>
        </a:xfrm>
      </p:grpSpPr>
      <p:sp>
        <p:nvSpPr>
          <p:cNvPr id="17" name="Text placeholder - column 2"/>
          <p:cNvSpPr>
            <a:spLocks noGrp="1"/>
          </p:cNvSpPr>
          <p:nvPr>
            <p:ph type="body" sz="quarter" idx="13" hasCustomPrompt="1"/>
          </p:nvPr>
        </p:nvSpPr>
        <p:spPr>
          <a:xfrm>
            <a:off x="9274877" y="3878221"/>
            <a:ext cx="2415600" cy="2457780"/>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8" name="Picture Placeholder 4"/>
          <p:cNvSpPr>
            <a:spLocks noGrp="1"/>
          </p:cNvSpPr>
          <p:nvPr>
            <p:ph type="pic" sz="quarter" idx="14" hasCustomPrompt="1"/>
          </p:nvPr>
        </p:nvSpPr>
        <p:spPr bwMode="gray">
          <a:xfrm>
            <a:off x="9274877" y="1557337"/>
            <a:ext cx="2415600" cy="1871663"/>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i="0" kern="1200" dirty="0">
                <a:solidFill>
                  <a:schemeClr val="tx1"/>
                </a:solidFill>
                <a:latin typeface="Arial" panose="020B0604020202020204" pitchFamily="34" charset="0"/>
                <a:ea typeface="+mn-ea"/>
                <a:cs typeface="+mn-cs"/>
              </a:defRPr>
            </a:lvl1pPr>
          </a:lstStyle>
          <a:p>
            <a:r>
              <a:rPr lang="en-US"/>
              <a:t>Click icon to add image or pictogram</a:t>
            </a:r>
            <a:endParaRPr lang="de-DE"/>
          </a:p>
        </p:txBody>
      </p:sp>
      <p:sp>
        <p:nvSpPr>
          <p:cNvPr id="13" name="Text placeholder - column 2"/>
          <p:cNvSpPr>
            <a:spLocks noGrp="1"/>
          </p:cNvSpPr>
          <p:nvPr>
            <p:ph type="body" sz="quarter" idx="17" hasCustomPrompt="1"/>
          </p:nvPr>
        </p:nvSpPr>
        <p:spPr>
          <a:xfrm>
            <a:off x="6351252" y="3878221"/>
            <a:ext cx="2415600" cy="2457780"/>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4" name="Picture Placeholder 4"/>
          <p:cNvSpPr>
            <a:spLocks noGrp="1"/>
          </p:cNvSpPr>
          <p:nvPr>
            <p:ph type="pic" sz="quarter" idx="18" hasCustomPrompt="1"/>
          </p:nvPr>
        </p:nvSpPr>
        <p:spPr bwMode="gray">
          <a:xfrm>
            <a:off x="6351252" y="1557337"/>
            <a:ext cx="2415600" cy="1871663"/>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i="0" kern="1200" dirty="0">
                <a:solidFill>
                  <a:schemeClr val="tx1"/>
                </a:solidFill>
                <a:latin typeface="Arial" panose="020B0604020202020204" pitchFamily="34" charset="0"/>
                <a:ea typeface="+mn-ea"/>
                <a:cs typeface="+mn-cs"/>
              </a:defRPr>
            </a:lvl1pPr>
          </a:lstStyle>
          <a:p>
            <a:r>
              <a:rPr lang="en-US"/>
              <a:t>Click icon to add image or pictogram</a:t>
            </a:r>
            <a:endParaRPr lang="de-DE"/>
          </a:p>
        </p:txBody>
      </p:sp>
      <p:sp>
        <p:nvSpPr>
          <p:cNvPr id="9" name="Text placeholder - column 2"/>
          <p:cNvSpPr>
            <a:spLocks noGrp="1"/>
          </p:cNvSpPr>
          <p:nvPr>
            <p:ph type="body" sz="quarter" idx="15" hasCustomPrompt="1"/>
          </p:nvPr>
        </p:nvSpPr>
        <p:spPr>
          <a:xfrm>
            <a:off x="3427626" y="3878221"/>
            <a:ext cx="2415600" cy="2457780"/>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0" name="Picture Placeholder 4"/>
          <p:cNvSpPr>
            <a:spLocks noGrp="1"/>
          </p:cNvSpPr>
          <p:nvPr>
            <p:ph type="pic" sz="quarter" idx="16" hasCustomPrompt="1"/>
          </p:nvPr>
        </p:nvSpPr>
        <p:spPr bwMode="gray">
          <a:xfrm>
            <a:off x="3427626" y="1557337"/>
            <a:ext cx="2415600" cy="1871663"/>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i="0" kern="1200" dirty="0">
                <a:solidFill>
                  <a:schemeClr val="tx1"/>
                </a:solidFill>
                <a:latin typeface="Arial" panose="020B0604020202020204" pitchFamily="34" charset="0"/>
                <a:ea typeface="+mn-ea"/>
                <a:cs typeface="+mn-cs"/>
              </a:defRPr>
            </a:lvl1pPr>
          </a:lstStyle>
          <a:p>
            <a:r>
              <a:rPr lang="en-US"/>
              <a:t>Click icon to add image or pictogram</a:t>
            </a:r>
            <a:endParaRPr lang="de-DE"/>
          </a:p>
        </p:txBody>
      </p:sp>
      <p:sp>
        <p:nvSpPr>
          <p:cNvPr id="3" name="Text placeholder - column 2"/>
          <p:cNvSpPr>
            <a:spLocks noGrp="1"/>
          </p:cNvSpPr>
          <p:nvPr>
            <p:ph type="body" sz="quarter" idx="10" hasCustomPrompt="1"/>
          </p:nvPr>
        </p:nvSpPr>
        <p:spPr>
          <a:xfrm>
            <a:off x="504000" y="3878220"/>
            <a:ext cx="2415600" cy="2457780"/>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5" name="Picture Placeholder 4"/>
          <p:cNvSpPr>
            <a:spLocks noGrp="1"/>
          </p:cNvSpPr>
          <p:nvPr>
            <p:ph type="pic" sz="quarter" idx="12" hasCustomPrompt="1"/>
          </p:nvPr>
        </p:nvSpPr>
        <p:spPr bwMode="gray">
          <a:xfrm>
            <a:off x="504000" y="1557337"/>
            <a:ext cx="2415600" cy="1871663"/>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i="0" kern="1200" dirty="0">
                <a:solidFill>
                  <a:schemeClr val="tx1"/>
                </a:solidFill>
                <a:latin typeface="Arial" panose="020B0604020202020204" pitchFamily="34" charset="0"/>
                <a:ea typeface="+mn-ea"/>
                <a:cs typeface="+mn-cs"/>
              </a:defRPr>
            </a:lvl1pPr>
          </a:lstStyle>
          <a:p>
            <a:r>
              <a:rPr lang="en-US"/>
              <a:t>Click icon to add image or pictogram</a:t>
            </a:r>
            <a:endParaRPr lang="de-DE"/>
          </a:p>
        </p:txBody>
      </p:sp>
      <p:sp>
        <p:nvSpPr>
          <p:cNvPr id="2"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2680594478"/>
      </p:ext>
    </p:extLst>
  </p:cSld>
  <p:clrMapOvr>
    <a:masterClrMapping/>
  </p:clrMapOvr>
  <p:extLst>
    <p:ext uri="{DCECCB84-F9BA-43D5-87BE-67443E8EF086}">
      <p15:sldGuideLst xmlns:p15="http://schemas.microsoft.com/office/powerpoint/2012/main">
        <p15:guide id="1" pos="317" userDrawn="1">
          <p15:clr>
            <a:srgbClr val="FBAE40"/>
          </p15:clr>
        </p15:guide>
        <p15:guide id="2" orient="horz" pos="317" userDrawn="1">
          <p15:clr>
            <a:srgbClr val="FBAE40"/>
          </p15:clr>
        </p15:guide>
        <p15:guide id="3" orient="horz" pos="551" userDrawn="1">
          <p15:clr>
            <a:srgbClr val="FBAE40"/>
          </p15:clr>
        </p15:guide>
        <p15:guide id="4" orient="horz" pos="981" userDrawn="1">
          <p15:clr>
            <a:srgbClr val="FBAE40"/>
          </p15:clr>
        </p15:guide>
        <p15:guide id="5" orient="horz" pos="2160" userDrawn="1">
          <p15:clr>
            <a:srgbClr val="FBAE40"/>
          </p15:clr>
        </p15:guide>
        <p15:guide id="6" orient="horz" pos="2442" userDrawn="1">
          <p15:clr>
            <a:srgbClr val="FBAE40"/>
          </p15:clr>
        </p15:guide>
        <p15:guide id="7" orient="horz" pos="3990" userDrawn="1">
          <p15:clr>
            <a:srgbClr val="FBAE40"/>
          </p15:clr>
        </p15:guide>
        <p15:guide id="8" pos="1840" userDrawn="1">
          <p15:clr>
            <a:srgbClr val="FBAE40"/>
          </p15:clr>
        </p15:guide>
        <p15:guide id="9" pos="2159" userDrawn="1">
          <p15:clr>
            <a:srgbClr val="FBAE40"/>
          </p15:clr>
        </p15:guide>
        <p15:guide id="10" pos="3683" userDrawn="1">
          <p15:clr>
            <a:srgbClr val="FBAE40"/>
          </p15:clr>
        </p15:guide>
        <p15:guide id="11" pos="4000" userDrawn="1">
          <p15:clr>
            <a:srgbClr val="FBAE40"/>
          </p15:clr>
        </p15:guide>
        <p15:guide id="12" pos="5525" userDrawn="1">
          <p15:clr>
            <a:srgbClr val="FBAE40"/>
          </p15:clr>
        </p15:guide>
        <p15:guide id="13" pos="5842" userDrawn="1">
          <p15:clr>
            <a:srgbClr val="FBAE40"/>
          </p15:clr>
        </p15:guide>
        <p15:guide id="14" pos="7364" userDrawn="1">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5" name="Quote placeholder"/>
          <p:cNvSpPr>
            <a:spLocks noGrp="1"/>
          </p:cNvSpPr>
          <p:nvPr>
            <p:ph type="body" sz="quarter" idx="10" hasCustomPrompt="1"/>
          </p:nvPr>
        </p:nvSpPr>
        <p:spPr>
          <a:xfrm>
            <a:off x="504000" y="1800000"/>
            <a:ext cx="11185200" cy="3285032"/>
          </a:xfrm>
        </p:spPr>
        <p:txBody>
          <a:bodyPr/>
          <a:lstStyle>
            <a:lvl1pPr marL="395921" indent="-395921">
              <a:lnSpc>
                <a:spcPct val="90000"/>
              </a:lnSpc>
              <a:spcBef>
                <a:spcPts val="600"/>
              </a:spcBef>
              <a:defRPr sz="5999" b="0" i="0">
                <a:latin typeface="72 Brand Medium" panose="020B0504030603020204" pitchFamily="34" charset="0"/>
              </a:defRPr>
            </a:lvl1pPr>
            <a:lvl2pPr marL="395921" indent="0">
              <a:buNone/>
              <a:defRPr sz="1600"/>
            </a:lvl2pPr>
          </a:lstStyle>
          <a:p>
            <a:pPr lvl="0"/>
            <a:r>
              <a:rPr lang="en-US" noProof="0"/>
              <a:t>“Quote goes here </a:t>
            </a:r>
            <a:br>
              <a:rPr lang="en-US" noProof="0"/>
            </a:br>
            <a:r>
              <a:rPr lang="en-US" noProof="0"/>
              <a:t>and here.”</a:t>
            </a:r>
          </a:p>
          <a:p>
            <a:pPr lvl="1"/>
            <a:r>
              <a:rPr lang="en-US" noProof="0"/>
              <a:t>Source</a:t>
            </a:r>
          </a:p>
        </p:txBody>
      </p:sp>
    </p:spTree>
    <p:extLst>
      <p:ext uri="{BB962C8B-B14F-4D97-AF65-F5344CB8AC3E}">
        <p14:creationId xmlns:p14="http://schemas.microsoft.com/office/powerpoint/2010/main" val="932785900"/>
      </p:ext>
    </p:extLst>
  </p:cSld>
  <p:clrMapOvr>
    <a:masterClrMapping/>
  </p:clrMapOvr>
  <p:extLst>
    <p:ext uri="{DCECCB84-F9BA-43D5-87BE-67443E8EF086}">
      <p15:sldGuideLst xmlns:p15="http://schemas.microsoft.com/office/powerpoint/2012/main">
        <p15:guide id="1" pos="317" userDrawn="1">
          <p15:clr>
            <a:srgbClr val="FBAE40"/>
          </p15:clr>
        </p15:guide>
        <p15:guide id="4" orient="horz" pos="1133" userDrawn="1">
          <p15:clr>
            <a:srgbClr val="FBAE40"/>
          </p15:clr>
        </p15:guide>
        <p15:guide id="5" orient="horz" pos="3204" userDrawn="1">
          <p15:clr>
            <a:srgbClr val="FBAE40"/>
          </p15:clr>
        </p15:guide>
        <p15:guide id="6" pos="7363" userDrawn="1">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and Text with Image 1/3">
    <p:spTree>
      <p:nvGrpSpPr>
        <p:cNvPr id="1" name=""/>
        <p:cNvGrpSpPr/>
        <p:nvPr/>
      </p:nvGrpSpPr>
      <p:grpSpPr>
        <a:xfrm>
          <a:off x="0" y="0"/>
          <a:ext cx="0" cy="0"/>
          <a:chOff x="0" y="0"/>
          <a:chExt cx="0" cy="0"/>
        </a:xfrm>
      </p:grpSpPr>
      <p:sp>
        <p:nvSpPr>
          <p:cNvPr id="5" name="Picture Placeholder 1/3 right"/>
          <p:cNvSpPr>
            <a:spLocks noGrp="1"/>
          </p:cNvSpPr>
          <p:nvPr>
            <p:ph type="pic" sz="quarter" idx="10" hasCustomPrompt="1"/>
          </p:nvPr>
        </p:nvSpPr>
        <p:spPr bwMode="gray">
          <a:xfrm>
            <a:off x="8127175" y="0"/>
            <a:ext cx="4068000" cy="6858000"/>
          </a:xfrm>
          <a:noFill/>
        </p:spPr>
        <p:txBody>
          <a:bodyPr vert="horz" lIns="0" tIns="2448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i="0" kern="1200" dirty="0">
                <a:solidFill>
                  <a:schemeClr val="tx1"/>
                </a:solidFill>
                <a:latin typeface="Arial" panose="020B0604020202020204" pitchFamily="34" charset="0"/>
                <a:ea typeface="+mn-ea"/>
                <a:cs typeface="+mn-cs"/>
              </a:defRPr>
            </a:lvl1pPr>
          </a:lstStyle>
          <a:p>
            <a:r>
              <a:rPr lang="en-US"/>
              <a:t>Click icon to add image</a:t>
            </a:r>
            <a:endParaRPr lang="de-DE"/>
          </a:p>
        </p:txBody>
      </p:sp>
      <p:sp>
        <p:nvSpPr>
          <p:cNvPr id="7" name="Text Placeholder"/>
          <p:cNvSpPr>
            <a:spLocks noGrp="1"/>
          </p:cNvSpPr>
          <p:nvPr>
            <p:ph type="body" sz="quarter" idx="11" hasCustomPrompt="1"/>
          </p:nvPr>
        </p:nvSpPr>
        <p:spPr bwMode="black">
          <a:xfrm>
            <a:off x="503999" y="1557338"/>
            <a:ext cx="7092000" cy="4778662"/>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endParaRPr lang="de-DE"/>
          </a:p>
        </p:txBody>
      </p:sp>
      <p:sp>
        <p:nvSpPr>
          <p:cNvPr id="3" name="Title"/>
          <p:cNvSpPr>
            <a:spLocks noGrp="1"/>
          </p:cNvSpPr>
          <p:nvPr>
            <p:ph type="title" hasCustomPrompt="1"/>
          </p:nvPr>
        </p:nvSpPr>
        <p:spPr>
          <a:xfrm>
            <a:off x="504001" y="504000"/>
            <a:ext cx="7092000"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3425020262"/>
      </p:ext>
    </p:extLst>
  </p:cSld>
  <p:clrMapOvr>
    <a:masterClrMapping/>
  </p:clrMapOvr>
  <p:extLst>
    <p:ext uri="{DCECCB84-F9BA-43D5-87BE-67443E8EF086}">
      <p15:sldGuideLst xmlns:p15="http://schemas.microsoft.com/office/powerpoint/2012/main">
        <p15:guide id="1" pos="317" userDrawn="1">
          <p15:clr>
            <a:srgbClr val="FBAE40"/>
          </p15:clr>
        </p15:guide>
        <p15:guide id="2" orient="horz" pos="3991" userDrawn="1">
          <p15:clr>
            <a:srgbClr val="FBAE40"/>
          </p15:clr>
        </p15:guide>
        <p15:guide id="3" pos="4786" userDrawn="1">
          <p15:clr>
            <a:srgbClr val="FBAE40"/>
          </p15:clr>
        </p15:guide>
        <p15:guide id="4" pos="5111" userDrawn="1">
          <p15:clr>
            <a:srgbClr val="FBAE40"/>
          </p15:clr>
        </p15:guide>
        <p15:guide id="5" orient="horz" pos="317" userDrawn="1">
          <p15:clr>
            <a:srgbClr val="FBAE40"/>
          </p15:clr>
        </p15:guide>
        <p15:guide id="6" orient="horz" pos="551" userDrawn="1">
          <p15:clr>
            <a:srgbClr val="FBAE40"/>
          </p15:clr>
        </p15:guide>
        <p15:guide id="7" orient="horz" pos="981" userDrawn="1">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Full Bleed Image ">
    <p:spTree>
      <p:nvGrpSpPr>
        <p:cNvPr id="1" name=""/>
        <p:cNvGrpSpPr/>
        <p:nvPr/>
      </p:nvGrpSpPr>
      <p:grpSpPr>
        <a:xfrm>
          <a:off x="0" y="0"/>
          <a:ext cx="0" cy="0"/>
          <a:chOff x="0" y="0"/>
          <a:chExt cx="0" cy="0"/>
        </a:xfrm>
      </p:grpSpPr>
      <p:sp>
        <p:nvSpPr>
          <p:cNvPr id="5" name="Picture Placeholder"/>
          <p:cNvSpPr>
            <a:spLocks noGrp="1"/>
          </p:cNvSpPr>
          <p:nvPr>
            <p:ph type="pic" sz="quarter" idx="10" hasCustomPrompt="1"/>
          </p:nvPr>
        </p:nvSpPr>
        <p:spPr bwMode="gray">
          <a:xfrm>
            <a:off x="1" y="0"/>
            <a:ext cx="12195175" cy="6858000"/>
          </a:xfrm>
          <a:noFill/>
        </p:spPr>
        <p:txBody>
          <a:bodyPr vert="horz" lIns="0" tIns="2448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i="0" kern="1200" dirty="0">
                <a:solidFill>
                  <a:schemeClr val="tx1"/>
                </a:solidFill>
                <a:latin typeface="Arial" panose="020B0604020202020204" pitchFamily="34" charset="0"/>
                <a:ea typeface="+mn-ea"/>
                <a:cs typeface="+mn-cs"/>
              </a:defRPr>
            </a:lvl1pPr>
          </a:lstStyle>
          <a:p>
            <a:r>
              <a:rPr lang="en-US"/>
              <a:t>Click icon to add image</a:t>
            </a:r>
            <a:endParaRPr lang="de-DE"/>
          </a:p>
        </p:txBody>
      </p:sp>
    </p:spTree>
    <p:extLst>
      <p:ext uri="{BB962C8B-B14F-4D97-AF65-F5344CB8AC3E}">
        <p14:creationId xmlns:p14="http://schemas.microsoft.com/office/powerpoint/2010/main" val="413979114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ext and Screenshot">
    <p:spTree>
      <p:nvGrpSpPr>
        <p:cNvPr id="1" name=""/>
        <p:cNvGrpSpPr/>
        <p:nvPr/>
      </p:nvGrpSpPr>
      <p:grpSpPr>
        <a:xfrm>
          <a:off x="0" y="0"/>
          <a:ext cx="0" cy="0"/>
          <a:chOff x="0" y="0"/>
          <a:chExt cx="0" cy="0"/>
        </a:xfrm>
      </p:grpSpPr>
      <p:sp>
        <p:nvSpPr>
          <p:cNvPr id="5" name="Picture Placeholder"/>
          <p:cNvSpPr>
            <a:spLocks noGrp="1"/>
          </p:cNvSpPr>
          <p:nvPr>
            <p:ph type="pic" sz="quarter" idx="13" hasCustomPrompt="1"/>
          </p:nvPr>
        </p:nvSpPr>
        <p:spPr bwMode="gray">
          <a:xfrm>
            <a:off x="6362477" y="1557338"/>
            <a:ext cx="5328000" cy="4778662"/>
          </a:xfrm>
          <a:noFill/>
        </p:spPr>
        <p:txBody>
          <a:bodyPr vert="horz" lIns="0" tIns="1512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i="0" kern="1200" dirty="0">
                <a:solidFill>
                  <a:schemeClr val="tx1"/>
                </a:solidFill>
                <a:latin typeface="Arial" panose="020B0604020202020204" pitchFamily="34" charset="0"/>
                <a:ea typeface="+mn-ea"/>
                <a:cs typeface="+mn-cs"/>
              </a:defRPr>
            </a:lvl1pPr>
          </a:lstStyle>
          <a:p>
            <a:r>
              <a:rPr lang="en-US"/>
              <a:t>Click icon to add screenshot</a:t>
            </a:r>
            <a:endParaRPr lang="de-DE"/>
          </a:p>
        </p:txBody>
      </p:sp>
      <p:sp>
        <p:nvSpPr>
          <p:cNvPr id="4" name="Text Placeholder"/>
          <p:cNvSpPr>
            <a:spLocks noGrp="1"/>
          </p:cNvSpPr>
          <p:nvPr>
            <p:ph type="body" sz="quarter" idx="10" hasCustomPrompt="1"/>
          </p:nvPr>
        </p:nvSpPr>
        <p:spPr>
          <a:xfrm>
            <a:off x="504000" y="1557338"/>
            <a:ext cx="5328000" cy="4778662"/>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1287227243"/>
      </p:ext>
    </p:extLst>
  </p:cSld>
  <p:clrMapOvr>
    <a:masterClrMapping/>
  </p:clrMapOvr>
  <p:extLst>
    <p:ext uri="{DCECCB84-F9BA-43D5-87BE-67443E8EF086}">
      <p15:sldGuideLst xmlns:p15="http://schemas.microsoft.com/office/powerpoint/2012/main">
        <p15:guide id="1" pos="317" userDrawn="1">
          <p15:clr>
            <a:srgbClr val="FBAE40"/>
          </p15:clr>
        </p15:guide>
        <p15:guide id="2" orient="horz" pos="981" userDrawn="1">
          <p15:clr>
            <a:srgbClr val="FBAE40"/>
          </p15:clr>
        </p15:guide>
        <p15:guide id="3" pos="3674" userDrawn="1">
          <p15:clr>
            <a:srgbClr val="FBAE40"/>
          </p15:clr>
        </p15:guide>
        <p15:guide id="4" pos="4008" userDrawn="1">
          <p15:clr>
            <a:srgbClr val="FBAE40"/>
          </p15:clr>
        </p15:guide>
        <p15:guide id="5" pos="7364" userDrawn="1">
          <p15:clr>
            <a:srgbClr val="FBAE40"/>
          </p15:clr>
        </p15:guide>
        <p15:guide id="6" orient="horz" pos="317" userDrawn="1">
          <p15:clr>
            <a:srgbClr val="FBAE40"/>
          </p15:clr>
        </p15:guide>
        <p15:guide id="7" orient="horz" pos="551" userDrawn="1">
          <p15:clr>
            <a:srgbClr val="FBAE40"/>
          </p15:clr>
        </p15:guide>
        <p15:guide id="8" orient="horz" pos="3991" userDrawn="1">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Content Placeholder"/>
          <p:cNvSpPr>
            <a:spLocks noGrp="1"/>
          </p:cNvSpPr>
          <p:nvPr>
            <p:ph idx="1" hasCustomPrompt="1"/>
          </p:nvPr>
        </p:nvSpPr>
        <p:spPr bwMode="gray">
          <a:xfrm>
            <a:off x="504000" y="1557338"/>
            <a:ext cx="11185200" cy="4778662"/>
          </a:xfrm>
          <a:noFill/>
        </p:spPr>
        <p:txBody>
          <a:bodyPr tIns="1368000"/>
          <a:lstStyle>
            <a:lvl1pPr algn="ctr">
              <a:defRPr sz="1400" b="0"/>
            </a:lvl1pPr>
          </a:lstStyle>
          <a:p>
            <a:pPr lvl="0"/>
            <a:r>
              <a:rPr lang="en-US"/>
              <a:t>Click to add content</a:t>
            </a:r>
          </a:p>
        </p:txBody>
      </p:sp>
      <p:sp>
        <p:nvSpPr>
          <p:cNvPr id="2" name="Title"/>
          <p:cNvSpPr>
            <a:spLocks noGrp="1"/>
          </p:cNvSpPr>
          <p:nvPr>
            <p:ph type="title" hasCustomPrompt="1"/>
          </p:nvPr>
        </p:nvSpPr>
        <p:spPr/>
        <p:txBody>
          <a:bodyPr/>
          <a:lstStyle/>
          <a:p>
            <a:r>
              <a:rPr lang="en-US" noProof="0"/>
              <a:t>Insert page title (sentence case)</a:t>
            </a:r>
            <a:endParaRPr lang="en-US"/>
          </a:p>
        </p:txBody>
      </p:sp>
    </p:spTree>
    <p:extLst>
      <p:ext uri="{BB962C8B-B14F-4D97-AF65-F5344CB8AC3E}">
        <p14:creationId xmlns:p14="http://schemas.microsoft.com/office/powerpoint/2010/main" val="4186098743"/>
      </p:ext>
    </p:extLst>
  </p:cSld>
  <p:clrMapOvr>
    <a:masterClrMapping/>
  </p:clrMapOvr>
  <p:extLst>
    <p:ext uri="{DCECCB84-F9BA-43D5-87BE-67443E8EF086}">
      <p15:sldGuideLst xmlns:p15="http://schemas.microsoft.com/office/powerpoint/2012/main">
        <p15:guide id="1" pos="317" userDrawn="1">
          <p15:clr>
            <a:srgbClr val="FBAE40"/>
          </p15:clr>
        </p15:guide>
        <p15:guide id="2" orient="horz" pos="317" userDrawn="1">
          <p15:clr>
            <a:srgbClr val="FBAE40"/>
          </p15:clr>
        </p15:guide>
        <p15:guide id="3" orient="horz" pos="551" userDrawn="1">
          <p15:clr>
            <a:srgbClr val="FBAE40"/>
          </p15:clr>
        </p15:guide>
        <p15:guide id="4" orient="horz" pos="981" userDrawn="1">
          <p15:clr>
            <a:srgbClr val="FBAE40"/>
          </p15:clr>
        </p15:guide>
        <p15:guide id="5" orient="horz" pos="3991" userDrawn="1">
          <p15:clr>
            <a:srgbClr val="FBAE40"/>
          </p15:clr>
        </p15:guide>
        <p15:guide id="6" pos="7364" userDrawn="1">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34218196"/>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1" userDrawn="1">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Thank You, Contact and Copyright">
    <p:spTree>
      <p:nvGrpSpPr>
        <p:cNvPr id="1" name=""/>
        <p:cNvGrpSpPr/>
        <p:nvPr/>
      </p:nvGrpSpPr>
      <p:grpSpPr>
        <a:xfrm>
          <a:off x="0" y="0"/>
          <a:ext cx="0" cy="0"/>
          <a:chOff x="0" y="0"/>
          <a:chExt cx="0" cy="0"/>
        </a:xfrm>
      </p:grpSpPr>
      <p:sp>
        <p:nvSpPr>
          <p:cNvPr id="10" name="TextBox 9">
            <a:extLst>
              <a:ext uri="{FF2B5EF4-FFF2-40B4-BE49-F238E27FC236}">
                <a16:creationId xmlns:a16="http://schemas.microsoft.com/office/drawing/2014/main" id="{433C5639-DDA2-864A-9DC3-7FC80AC852D5}"/>
              </a:ext>
            </a:extLst>
          </p:cNvPr>
          <p:cNvSpPr txBox="1"/>
          <p:nvPr userDrawn="1"/>
        </p:nvSpPr>
        <p:spPr>
          <a:xfrm>
            <a:off x="503238" y="2905125"/>
            <a:ext cx="1837041" cy="246221"/>
          </a:xfrm>
          <a:prstGeom prst="rect">
            <a:avLst/>
          </a:prstGeom>
          <a:noFill/>
        </p:spPr>
        <p:txBody>
          <a:bodyPr wrap="none" lIns="0" tIns="0" rIns="0" bIns="0" rtlCol="0">
            <a:spAutoFit/>
          </a:bodyPr>
          <a:lstStyle/>
          <a:p>
            <a:pPr marL="0" marR="0" lvl="0" indent="0" algn="l" defTabSz="1088776" rtl="0" eaLnBrk="1" fontAlgn="base" latinLnBrk="0" hangingPunct="1">
              <a:lnSpc>
                <a:spcPct val="100000"/>
              </a:lnSpc>
              <a:spcBef>
                <a:spcPct val="50000"/>
              </a:spcBef>
              <a:spcAft>
                <a:spcPct val="0"/>
              </a:spcAft>
              <a:buClr>
                <a:srgbClr val="F0AB00"/>
              </a:buClr>
              <a:buSzPct val="80000"/>
              <a:buFontTx/>
              <a:buNone/>
              <a:tabLst/>
              <a:defRPr/>
            </a:pPr>
            <a:r>
              <a:rPr lang="en-US" sz="1600" b="0" i="0">
                <a:latin typeface="+mn-lt"/>
              </a:rPr>
              <a:t>Contact information:</a:t>
            </a:r>
          </a:p>
        </p:txBody>
      </p:sp>
      <p:sp>
        <p:nvSpPr>
          <p:cNvPr id="9" name="Copyright - Dynamic" descr="{&quot;templafy&quot;:{&quot;id&quot;:&quot;eb9adf6b-a999-43b4-87a5-c81e58f16e94&quot;}}">
            <a:extLst>
              <a:ext uri="{FF2B5EF4-FFF2-40B4-BE49-F238E27FC236}">
                <a16:creationId xmlns:a16="http://schemas.microsoft.com/office/drawing/2014/main" id="{EDAF1AF5-D568-20CC-6052-F655D86F5486}"/>
              </a:ext>
            </a:extLst>
          </p:cNvPr>
          <p:cNvSpPr txBox="1">
            <a:spLocks/>
          </p:cNvSpPr>
          <p:nvPr userDrawn="1"/>
        </p:nvSpPr>
        <p:spPr>
          <a:xfrm>
            <a:off x="504001" y="6536751"/>
            <a:ext cx="10155600" cy="138498"/>
          </a:xfrm>
          <a:prstGeom prst="rect">
            <a:avLst/>
          </a:prstGeom>
        </p:spPr>
        <p:txBody>
          <a:bodyPr lIns="0" tIns="0" rIns="0" bIns="0" anchor="ctr" anchorCtr="0">
            <a:noAutofit/>
          </a:bodyPr>
          <a:lstStyle>
            <a:lvl1pPr marL="0" indent="0" algn="l" defTabSz="1088558" rtl="0" eaLnBrk="1" latinLnBrk="0" hangingPunct="1">
              <a:spcBef>
                <a:spcPts val="1800"/>
              </a:spcBef>
              <a:buClr>
                <a:schemeClr val="accent1"/>
              </a:buClr>
              <a:buSzPct val="80000"/>
              <a:buFontTx/>
              <a:buNone/>
              <a:defRPr sz="6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539892" indent="0" algn="l" defTabSz="1088558" rtl="0" eaLnBrk="1" latinLnBrk="0" hangingPunct="1">
              <a:spcBef>
                <a:spcPts val="100"/>
              </a:spcBef>
              <a:buClr>
                <a:schemeClr val="tx1"/>
              </a:buClr>
              <a:buSzPct val="100000"/>
              <a:buFont typeface="Symbol" panose="05050102010706020507" pitchFamily="18" charset="2"/>
              <a:buNone/>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a:buFont typeface="Arial" panose="020B0604020202020204" pitchFamily="34" charset="0"/>
              <a:buNone/>
            </a:pPr>
            <a:r>
              <a:rPr lang="en-US" sz="600" b="0" i="0">
                <a:latin typeface="+mn-lt"/>
              </a:rPr>
              <a:t>© 2023 SAP SE or an SAP affiliate company. All rights reserved. See Legal Notice on www.sap.com/legal-notice for use terms, disclaimers, disclosures, or restrictions related to this material.</a:t>
            </a:r>
          </a:p>
        </p:txBody>
      </p:sp>
      <p:sp>
        <p:nvSpPr>
          <p:cNvPr id="3" name="Title 2">
            <a:extLst>
              <a:ext uri="{FF2B5EF4-FFF2-40B4-BE49-F238E27FC236}">
                <a16:creationId xmlns:a16="http://schemas.microsoft.com/office/drawing/2014/main" id="{5692DE12-4084-77D2-FD2A-8E63F6FBE7C5}"/>
              </a:ext>
            </a:extLst>
          </p:cNvPr>
          <p:cNvSpPr>
            <a:spLocks noGrp="1"/>
          </p:cNvSpPr>
          <p:nvPr>
            <p:ph type="title" hasCustomPrompt="1"/>
          </p:nvPr>
        </p:nvSpPr>
        <p:spPr>
          <a:xfrm>
            <a:off x="503238" y="1520825"/>
            <a:ext cx="5413477" cy="846386"/>
          </a:xfrm>
        </p:spPr>
        <p:txBody>
          <a:bodyPr/>
          <a:lstStyle>
            <a:lvl1pPr>
              <a:defRPr sz="5500" b="0" i="0">
                <a:latin typeface="72 Brand Medium" panose="020B0504030603020204" pitchFamily="34" charset="0"/>
              </a:defRPr>
            </a:lvl1pPr>
          </a:lstStyle>
          <a:p>
            <a:r>
              <a:rPr lang="en-GB"/>
              <a:t>Thank you.</a:t>
            </a:r>
            <a:endParaRPr lang="en-US"/>
          </a:p>
        </p:txBody>
      </p:sp>
      <p:pic>
        <p:nvPicPr>
          <p:cNvPr id="2" name="Picture 1">
            <a:extLst>
              <a:ext uri="{FF2B5EF4-FFF2-40B4-BE49-F238E27FC236}">
                <a16:creationId xmlns:a16="http://schemas.microsoft.com/office/drawing/2014/main" id="{2A23274F-1EBD-A73A-AC54-963A234E9EB2}"/>
              </a:ext>
            </a:extLst>
          </p:cNvPr>
          <p:cNvPicPr>
            <a:picLocks noChangeAspect="1"/>
          </p:cNvPicPr>
          <p:nvPr userDrawn="1"/>
        </p:nvPicPr>
        <p:blipFill>
          <a:blip r:embed="rId2"/>
          <a:stretch>
            <a:fillRect/>
          </a:stretch>
        </p:blipFill>
        <p:spPr>
          <a:xfrm>
            <a:off x="10963291" y="5990000"/>
            <a:ext cx="727059" cy="360000"/>
          </a:xfrm>
          <a:prstGeom prst="rect">
            <a:avLst/>
          </a:prstGeom>
        </p:spPr>
      </p:pic>
    </p:spTree>
    <p:extLst>
      <p:ext uri="{BB962C8B-B14F-4D97-AF65-F5344CB8AC3E}">
        <p14:creationId xmlns:p14="http://schemas.microsoft.com/office/powerpoint/2010/main" val="781090314"/>
      </p:ext>
    </p:extLst>
  </p:cSld>
  <p:clrMapOvr>
    <a:masterClrMapping/>
  </p:clrMapOvr>
  <p:hf sldNum="0" hdr="0" ftr="0" dt="0"/>
  <p:extLst>
    <p:ext uri="{DCECCB84-F9BA-43D5-87BE-67443E8EF086}">
      <p15:sldGuideLst xmlns:p15="http://schemas.microsoft.com/office/powerpoint/2012/main">
        <p15:guide id="1" pos="7364" userDrawn="1">
          <p15:clr>
            <a:srgbClr val="FBAE40"/>
          </p15:clr>
        </p15:guide>
        <p15:guide id="2" orient="horz" pos="958" userDrawn="1">
          <p15:clr>
            <a:srgbClr val="FBAE40"/>
          </p15:clr>
        </p15:guide>
        <p15:guide id="4" orient="horz" pos="1830" userDrawn="1">
          <p15:clr>
            <a:srgbClr val="FBAE40"/>
          </p15:clr>
        </p15:guide>
        <p15:guide id="5" orient="horz" pos="4000" userDrawn="1">
          <p15:clr>
            <a:srgbClr val="FBAE40"/>
          </p15:clr>
        </p15:guide>
        <p15:guide id="6" pos="317" userDrawn="1">
          <p15:clr>
            <a:srgbClr val="FBAE40"/>
          </p15:clr>
        </p15:guide>
        <p15:guide id="8" pos="3841" userDrawn="1">
          <p15:clr>
            <a:srgbClr val="FBAE40"/>
          </p15:clr>
        </p15:guide>
        <p15:guide id="9" orient="horz" pos="318"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Mango cover with anvil and image">
    <p:bg>
      <p:bgPr>
        <a:solidFill>
          <a:schemeClr val="bg1"/>
        </a:solidFill>
        <a:effectLst/>
      </p:bgPr>
    </p:bg>
    <p:spTree>
      <p:nvGrpSpPr>
        <p:cNvPr id="1" name=""/>
        <p:cNvGrpSpPr/>
        <p:nvPr/>
      </p:nvGrpSpPr>
      <p:grpSpPr>
        <a:xfrm>
          <a:off x="0" y="0"/>
          <a:ext cx="0" cy="0"/>
          <a:chOff x="0" y="0"/>
          <a:chExt cx="0" cy="0"/>
        </a:xfrm>
      </p:grpSpPr>
      <p:sp>
        <p:nvSpPr>
          <p:cNvPr id="149" name="Rectangle 148">
            <a:extLst>
              <a:ext uri="{FF2B5EF4-FFF2-40B4-BE49-F238E27FC236}">
                <a16:creationId xmlns:a16="http://schemas.microsoft.com/office/drawing/2014/main" id="{3F9D113E-DB39-0CF2-578D-9B5D35C92F55}"/>
              </a:ext>
            </a:extLst>
          </p:cNvPr>
          <p:cNvSpPr/>
          <p:nvPr userDrawn="1"/>
        </p:nvSpPr>
        <p:spPr bwMode="gray">
          <a:xfrm>
            <a:off x="7102258" y="0"/>
            <a:ext cx="5092917" cy="6858000"/>
          </a:xfrm>
          <a:prstGeom prst="rect">
            <a:avLst/>
          </a:prstGeom>
          <a:solidFill>
            <a:srgbClr val="FFC932"/>
          </a:solidFill>
          <a:ln w="2540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err="1">
              <a:ln>
                <a:noFill/>
              </a:ln>
              <a:effectLst/>
              <a:uLnTx/>
              <a:uFillTx/>
              <a:ea typeface="Arial Unicode MS" pitchFamily="34" charset="-128"/>
              <a:cs typeface="Arial Unicode MS" pitchFamily="34" charset="-128"/>
            </a:endParaRPr>
          </a:p>
        </p:txBody>
      </p:sp>
      <p:pic>
        <p:nvPicPr>
          <p:cNvPr id="6" name="Graphic 5">
            <a:extLst>
              <a:ext uri="{FF2B5EF4-FFF2-40B4-BE49-F238E27FC236}">
                <a16:creationId xmlns:a16="http://schemas.microsoft.com/office/drawing/2014/main" id="{F9CF98F2-AE93-6F6D-B5F5-C2F74E0787B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467600" y="250521"/>
            <a:ext cx="4538091" cy="6328079"/>
          </a:xfrm>
          <a:prstGeom prst="rect">
            <a:avLst/>
          </a:prstGeom>
        </p:spPr>
      </p:pic>
      <p:sp>
        <p:nvSpPr>
          <p:cNvPr id="2" name="Rectangle 1">
            <a:extLst>
              <a:ext uri="{FF2B5EF4-FFF2-40B4-BE49-F238E27FC236}">
                <a16:creationId xmlns:a16="http://schemas.microsoft.com/office/drawing/2014/main" id="{FDD06AF2-2141-CEFD-4797-A6E50CC267FE}"/>
              </a:ext>
            </a:extLst>
          </p:cNvPr>
          <p:cNvSpPr/>
          <p:nvPr userDrawn="1"/>
        </p:nvSpPr>
        <p:spPr bwMode="gray">
          <a:xfrm>
            <a:off x="1" y="0"/>
            <a:ext cx="7226300" cy="6858000"/>
          </a:xfrm>
          <a:prstGeom prst="rect">
            <a:avLst/>
          </a:prstGeom>
          <a:solidFill>
            <a:schemeClr val="accent1"/>
          </a:solidFill>
          <a:ln w="1342" cap="flat">
            <a:noFill/>
            <a:prstDash val="solid"/>
            <a:miter/>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err="1">
              <a:ln>
                <a:noFill/>
              </a:ln>
              <a:effectLst/>
              <a:uLnTx/>
              <a:uFillTx/>
              <a:ea typeface="Arial Unicode MS" pitchFamily="34" charset="-128"/>
              <a:cs typeface="Arial Unicode MS" pitchFamily="34" charset="-128"/>
            </a:endParaRPr>
          </a:p>
        </p:txBody>
      </p:sp>
      <p:sp>
        <p:nvSpPr>
          <p:cNvPr id="4" name="Title"/>
          <p:cNvSpPr>
            <a:spLocks noGrp="1"/>
          </p:cNvSpPr>
          <p:nvPr>
            <p:ph type="title" hasCustomPrompt="1"/>
          </p:nvPr>
        </p:nvSpPr>
        <p:spPr>
          <a:xfrm>
            <a:off x="288000" y="2706317"/>
            <a:ext cx="6633305" cy="997196"/>
          </a:xfrm>
        </p:spPr>
        <p:txBody>
          <a:bodyPr anchor="b" anchorCtr="0">
            <a:noAutofit/>
          </a:bodyPr>
          <a:lstStyle>
            <a:lvl1pPr>
              <a:lnSpc>
                <a:spcPct val="90000"/>
              </a:lnSpc>
              <a:defRPr sz="3600" b="0" i="0">
                <a:solidFill>
                  <a:schemeClr val="bg1"/>
                </a:solidFill>
                <a:latin typeface="72 Brand Medium" panose="020B0504030603020204" pitchFamily="34" charset="0"/>
                <a:cs typeface="72" panose="020B0503030000000003" pitchFamily="34" charset="0"/>
              </a:defRPr>
            </a:lvl1pPr>
          </a:lstStyle>
          <a:p>
            <a:pPr fontAlgn="base">
              <a:spcBef>
                <a:spcPct val="50000"/>
              </a:spcBef>
              <a:spcAft>
                <a:spcPct val="0"/>
              </a:spcAft>
              <a:buClr>
                <a:srgbClr val="F0AB00"/>
              </a:buClr>
              <a:buSzPct val="80000"/>
            </a:pPr>
            <a:r>
              <a:rPr lang="en-US"/>
              <a:t>Title Goes Here</a:t>
            </a:r>
            <a:br>
              <a:rPr lang="en-US"/>
            </a:br>
            <a:r>
              <a:rPr lang="en-US"/>
              <a:t>and Here and Here</a:t>
            </a:r>
            <a:endParaRPr lang="de-DE" sz="3600" kern="0" err="1">
              <a:ea typeface="Arial Unicode MS" pitchFamily="34" charset="-128"/>
              <a:cs typeface="Arial Unicode MS" pitchFamily="34" charset="-128"/>
            </a:endParaRPr>
          </a:p>
        </p:txBody>
      </p:sp>
      <p:pic>
        <p:nvPicPr>
          <p:cNvPr id="432919900" name="LogoWhite-Dynamic" descr="{&quot;templafy&quot;:{&quot;id&quot;:&quot;2fc7f057-0369-4ed6-8a09-948d28d95ffb&quot;}}"/>
          <p:cNvPicPr>
            <a:picLocks noChangeAspect="1"/>
          </p:cNvPicPr>
          <p:nvPr/>
        </p:nvPicPr>
        <p:blipFill>
          <a:blip r:embed="rId4"/>
          <a:stretch>
            <a:fillRect/>
          </a:stretch>
        </p:blipFill>
        <p:spPr>
          <a:xfrm>
            <a:off x="288006" y="360000"/>
            <a:ext cx="727192" cy="360000"/>
          </a:xfrm>
          <a:prstGeom prst="rect">
            <a:avLst/>
          </a:prstGeom>
        </p:spPr>
      </p:pic>
      <p:sp>
        <p:nvSpPr>
          <p:cNvPr id="8" name="Classification-Dynamic" descr="{&quot;templafy&quot;:{&quot;id&quot;:&quot;9c26c798-5a7f-4e71-a771-0737e45e4efe&quot;}}">
            <a:extLst>
              <a:ext uri="{FF2B5EF4-FFF2-40B4-BE49-F238E27FC236}">
                <a16:creationId xmlns:a16="http://schemas.microsoft.com/office/drawing/2014/main" id="{F1333C1B-AD40-D53A-5A1E-EFB8C6390D49}"/>
              </a:ext>
            </a:extLst>
          </p:cNvPr>
          <p:cNvSpPr txBox="1"/>
          <p:nvPr userDrawn="1"/>
        </p:nvSpPr>
        <p:spPr>
          <a:xfrm>
            <a:off x="282575" y="5080814"/>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solidFill>
                  <a:schemeClr val="bg1"/>
                </a:solidFill>
                <a:latin typeface="72 Brand" panose="020B0504030603020204" pitchFamily="34" charset="0"/>
                <a:ea typeface="Arial Unicode MS" pitchFamily="34" charset="-128"/>
                <a:cs typeface="Arial Unicode MS" pitchFamily="34" charset="-128"/>
              </a:rPr>
              <a:t>INTERNAL – SAP and Partners Only</a:t>
            </a:r>
          </a:p>
        </p:txBody>
      </p:sp>
    </p:spTree>
    <p:extLst>
      <p:ext uri="{BB962C8B-B14F-4D97-AF65-F5344CB8AC3E}">
        <p14:creationId xmlns:p14="http://schemas.microsoft.com/office/powerpoint/2010/main" val="277845837"/>
      </p:ext>
    </p:extLst>
  </p:cSld>
  <p:clrMapOvr>
    <a:masterClrMapping/>
  </p:clrMapOvr>
  <p:extLst>
    <p:ext uri="{DCECCB84-F9BA-43D5-87BE-67443E8EF086}">
      <p15:sldGuideLst xmlns:p15="http://schemas.microsoft.com/office/powerpoint/2012/main">
        <p15:guide id="1" pos="181" userDrawn="1">
          <p15:clr>
            <a:srgbClr val="FBAE40"/>
          </p15:clr>
        </p15:guide>
        <p15:guide id="2" orient="horz" pos="1704" userDrawn="1">
          <p15:clr>
            <a:srgbClr val="FBAE40"/>
          </p15:clr>
        </p15:guide>
        <p15:guide id="3" orient="horz" pos="2688" userDrawn="1">
          <p15:clr>
            <a:srgbClr val="FBAE40"/>
          </p15:clr>
        </p15:guide>
        <p15:guide id="4" orient="horz" pos="2341" userDrawn="1">
          <p15:clr>
            <a:srgbClr val="FBAE40"/>
          </p15:clr>
        </p15:guide>
        <p15:guide id="5" orient="horz" pos="2960" userDrawn="1">
          <p15:clr>
            <a:srgbClr val="FBAE40"/>
          </p15:clr>
        </p15:guide>
        <p15:guide id="7" orient="horz" pos="4144"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Titel und Inhalt">
    <p:spTree>
      <p:nvGrpSpPr>
        <p:cNvPr id="1" name=""/>
        <p:cNvGrpSpPr/>
        <p:nvPr/>
      </p:nvGrpSpPr>
      <p:grpSpPr>
        <a:xfrm>
          <a:off x="0" y="0"/>
          <a:ext cx="0" cy="0"/>
          <a:chOff x="0" y="0"/>
          <a:chExt cx="0" cy="0"/>
        </a:xfrm>
      </p:grpSpPr>
      <p:sp>
        <p:nvSpPr>
          <p:cNvPr id="7" name="Content Placeholder"/>
          <p:cNvSpPr>
            <a:spLocks noGrp="1"/>
          </p:cNvSpPr>
          <p:nvPr>
            <p:ph idx="1" hasCustomPrompt="1"/>
          </p:nvPr>
        </p:nvSpPr>
        <p:spPr bwMode="gray">
          <a:xfrm>
            <a:off x="504000" y="1557338"/>
            <a:ext cx="11185200" cy="4778662"/>
          </a:xfrm>
          <a:noFill/>
        </p:spPr>
        <p:txBody>
          <a:bodyPr tIns="1368000"/>
          <a:lstStyle>
            <a:lvl1pPr algn="ctr">
              <a:defRPr sz="1400" b="0"/>
            </a:lvl1pPr>
          </a:lstStyle>
          <a:p>
            <a:pPr lvl="0"/>
            <a:r>
              <a:rPr lang="en-US"/>
              <a:t>Click to add content</a:t>
            </a:r>
          </a:p>
        </p:txBody>
      </p:sp>
      <p:sp>
        <p:nvSpPr>
          <p:cNvPr id="2" name="Title"/>
          <p:cNvSpPr>
            <a:spLocks noGrp="1"/>
          </p:cNvSpPr>
          <p:nvPr>
            <p:ph type="title" hasCustomPrompt="1"/>
          </p:nvPr>
        </p:nvSpPr>
        <p:spPr/>
        <p:txBody>
          <a:bodyPr/>
          <a:lstStyle/>
          <a:p>
            <a:r>
              <a:rPr lang="en-US" noProof="0"/>
              <a:t>Insert page title (sentence case)</a:t>
            </a:r>
            <a:endParaRPr lang="en-US"/>
          </a:p>
        </p:txBody>
      </p:sp>
    </p:spTree>
    <p:extLst>
      <p:ext uri="{BB962C8B-B14F-4D97-AF65-F5344CB8AC3E}">
        <p14:creationId xmlns:p14="http://schemas.microsoft.com/office/powerpoint/2010/main" val="3110860446"/>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orient="horz" pos="551">
          <p15:clr>
            <a:srgbClr val="FBAE40"/>
          </p15:clr>
        </p15:guide>
        <p15:guide id="4" orient="horz" pos="981">
          <p15:clr>
            <a:srgbClr val="FBAE40"/>
          </p15:clr>
        </p15:guide>
        <p15:guide id="5" orient="horz" pos="3991">
          <p15:clr>
            <a:srgbClr val="FBAE40"/>
          </p15:clr>
        </p15:guide>
        <p15:guide id="6" pos="7364">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type="tx">
  <p:cSld name="1_Title Only">
    <p:spTree>
      <p:nvGrpSpPr>
        <p:cNvPr id="1" name=""/>
        <p:cNvGrpSpPr/>
        <p:nvPr/>
      </p:nvGrpSpPr>
      <p:grpSpPr>
        <a:xfrm>
          <a:off x="0" y="0"/>
          <a:ext cx="0" cy="0"/>
          <a:chOff x="0" y="0"/>
          <a:chExt cx="0" cy="0"/>
        </a:xfrm>
      </p:grpSpPr>
      <p:sp>
        <p:nvSpPr>
          <p:cNvPr id="57" name="Title Text"/>
          <p:cNvSpPr txBox="1">
            <a:spLocks noGrp="1"/>
          </p:cNvSpPr>
          <p:nvPr>
            <p:ph type="title"/>
          </p:nvPr>
        </p:nvSpPr>
        <p:spPr>
          <a:prstGeom prst="rect">
            <a:avLst/>
          </a:prstGeom>
        </p:spPr>
        <p:txBody>
          <a:bodyPr/>
          <a:lstStyle/>
          <a:p>
            <a:r>
              <a:t>Title Text</a:t>
            </a:r>
          </a:p>
        </p:txBody>
      </p:sp>
      <p:sp>
        <p:nvSpPr>
          <p:cNvPr id="58"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3290302414"/>
      </p:ext>
    </p:extLst>
  </p:cSld>
  <p:clrMapOvr>
    <a:masterClrMapping/>
  </p:clrMapOvr>
  <p:transition spd="med"/>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Green cover with image in anvil shape">
    <p:bg>
      <p:bgPr>
        <a:solidFill>
          <a:srgbClr val="97DD40"/>
        </a:solidFill>
        <a:effectLst/>
      </p:bgPr>
    </p:bg>
    <p:spTree>
      <p:nvGrpSpPr>
        <p:cNvPr id="1" name=""/>
        <p:cNvGrpSpPr/>
        <p:nvPr/>
      </p:nvGrpSpPr>
      <p:grpSpPr>
        <a:xfrm>
          <a:off x="0" y="0"/>
          <a:ext cx="0" cy="0"/>
          <a:chOff x="0" y="0"/>
          <a:chExt cx="0" cy="0"/>
        </a:xfrm>
      </p:grpSpPr>
      <p:sp>
        <p:nvSpPr>
          <p:cNvPr id="2" name="Background">
            <a:extLst>
              <a:ext uri="{FF2B5EF4-FFF2-40B4-BE49-F238E27FC236}">
                <a16:creationId xmlns:a16="http://schemas.microsoft.com/office/drawing/2014/main" id="{CF15634C-E3A9-CDE6-5F8E-35B41DFE2B5D}"/>
              </a:ext>
            </a:extLst>
          </p:cNvPr>
          <p:cNvSpPr/>
          <p:nvPr userDrawn="1"/>
        </p:nvSpPr>
        <p:spPr bwMode="gray">
          <a:xfrm>
            <a:off x="0" y="0"/>
            <a:ext cx="12195175" cy="6858000"/>
          </a:xfrm>
          <a:prstGeom prst="rect">
            <a:avLst/>
          </a:prstGeom>
          <a:solidFill>
            <a:srgbClr val="97DD40"/>
          </a:solidFill>
          <a:ln w="15238" cap="flat">
            <a:noFill/>
            <a:prstDash val="solid"/>
            <a:miter/>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a:ln>
                <a:noFill/>
              </a:ln>
              <a:effectLst/>
              <a:uLnTx/>
              <a:uFillTx/>
              <a:latin typeface="72 Brand" panose="020B0504030603020204" pitchFamily="34" charset="0"/>
              <a:ea typeface="Arial Unicode MS" pitchFamily="34" charset="-128"/>
              <a:cs typeface="Arial Unicode MS" pitchFamily="34" charset="-128"/>
            </a:endParaRPr>
          </a:p>
        </p:txBody>
      </p:sp>
      <p:sp>
        <p:nvSpPr>
          <p:cNvPr id="6" name="Title">
            <a:extLst>
              <a:ext uri="{FF2B5EF4-FFF2-40B4-BE49-F238E27FC236}">
                <a16:creationId xmlns:a16="http://schemas.microsoft.com/office/drawing/2014/main" id="{729E6C33-847C-5792-E2BD-5963C662ECED}"/>
              </a:ext>
            </a:extLst>
          </p:cNvPr>
          <p:cNvSpPr>
            <a:spLocks noGrp="1"/>
          </p:cNvSpPr>
          <p:nvPr>
            <p:ph type="title" hasCustomPrompt="1"/>
          </p:nvPr>
        </p:nvSpPr>
        <p:spPr>
          <a:xfrm>
            <a:off x="288001" y="2706317"/>
            <a:ext cx="5529704" cy="997196"/>
          </a:xfrm>
        </p:spPr>
        <p:txBody>
          <a:bodyPr anchor="b" anchorCtr="0">
            <a:noAutofit/>
          </a:bodyPr>
          <a:lstStyle>
            <a:lvl1pPr>
              <a:lnSpc>
                <a:spcPct val="90000"/>
              </a:lnSpc>
              <a:defRPr sz="3600" b="0" i="0">
                <a:solidFill>
                  <a:schemeClr val="tx1"/>
                </a:solidFill>
                <a:latin typeface="72 Brand Medium" panose="020B0504030603020204" pitchFamily="34" charset="0"/>
              </a:defRPr>
            </a:lvl1pPr>
          </a:lstStyle>
          <a:p>
            <a:pPr fontAlgn="base">
              <a:spcBef>
                <a:spcPct val="50000"/>
              </a:spcBef>
              <a:spcAft>
                <a:spcPct val="0"/>
              </a:spcAft>
              <a:buClr>
                <a:srgbClr val="F0AB00"/>
              </a:buClr>
              <a:buSzPct val="80000"/>
            </a:pPr>
            <a:r>
              <a:rPr lang="en-US"/>
              <a:t>Title Goes Here</a:t>
            </a:r>
            <a:br>
              <a:rPr lang="en-US"/>
            </a:br>
            <a:r>
              <a:rPr lang="en-US"/>
              <a:t>and Here and Here</a:t>
            </a:r>
            <a:endParaRPr lang="de-DE" sz="3600" kern="0" err="1">
              <a:ea typeface="Arial Unicode MS" pitchFamily="34" charset="-128"/>
              <a:cs typeface="Arial Unicode MS" pitchFamily="34" charset="-128"/>
            </a:endParaRPr>
          </a:p>
        </p:txBody>
      </p:sp>
      <p:sp>
        <p:nvSpPr>
          <p:cNvPr id="14" name="Picture Placeholder 5">
            <a:extLst>
              <a:ext uri="{FF2B5EF4-FFF2-40B4-BE49-F238E27FC236}">
                <a16:creationId xmlns:a16="http://schemas.microsoft.com/office/drawing/2014/main" id="{D2BFABF1-DD81-F2D4-FD65-DBCD6636029A}"/>
              </a:ext>
            </a:extLst>
          </p:cNvPr>
          <p:cNvSpPr>
            <a:spLocks noGrp="1"/>
          </p:cNvSpPr>
          <p:nvPr>
            <p:ph type="pic" sz="quarter" idx="10" hasCustomPrompt="1"/>
          </p:nvPr>
        </p:nvSpPr>
        <p:spPr>
          <a:xfrm>
            <a:off x="6069496" y="2029240"/>
            <a:ext cx="5711687" cy="2828844"/>
          </a:xfrm>
          <a:custGeom>
            <a:avLst/>
            <a:gdLst>
              <a:gd name="connsiteX0" fmla="*/ 0 w 5453062"/>
              <a:gd name="connsiteY0" fmla="*/ 0 h 2700337"/>
              <a:gd name="connsiteX1" fmla="*/ 5453062 w 5453062"/>
              <a:gd name="connsiteY1" fmla="*/ 0 h 2700337"/>
              <a:gd name="connsiteX2" fmla="*/ 5453062 w 5453062"/>
              <a:gd name="connsiteY2" fmla="*/ 2700337 h 2700337"/>
              <a:gd name="connsiteX3" fmla="*/ 0 w 5453062"/>
              <a:gd name="connsiteY3" fmla="*/ 2700337 h 2700337"/>
              <a:gd name="connsiteX4" fmla="*/ 0 w 5453062"/>
              <a:gd name="connsiteY4" fmla="*/ 0 h 2700337"/>
              <a:gd name="connsiteX0" fmla="*/ 0 w 5453062"/>
              <a:gd name="connsiteY0" fmla="*/ 0 h 2758526"/>
              <a:gd name="connsiteX1" fmla="*/ 5453062 w 5453062"/>
              <a:gd name="connsiteY1" fmla="*/ 0 h 2758526"/>
              <a:gd name="connsiteX2" fmla="*/ 2751426 w 5453062"/>
              <a:gd name="connsiteY2" fmla="*/ 2758526 h 2758526"/>
              <a:gd name="connsiteX3" fmla="*/ 0 w 5453062"/>
              <a:gd name="connsiteY3" fmla="*/ 2700337 h 2758526"/>
              <a:gd name="connsiteX4" fmla="*/ 0 w 5453062"/>
              <a:gd name="connsiteY4" fmla="*/ 0 h 2758526"/>
              <a:gd name="connsiteX0" fmla="*/ 0 w 5453062"/>
              <a:gd name="connsiteY0" fmla="*/ 0 h 2700337"/>
              <a:gd name="connsiteX1" fmla="*/ 5453062 w 5453062"/>
              <a:gd name="connsiteY1" fmla="*/ 0 h 2700337"/>
              <a:gd name="connsiteX2" fmla="*/ 2726487 w 5453062"/>
              <a:gd name="connsiteY2" fmla="*/ 2700336 h 2700337"/>
              <a:gd name="connsiteX3" fmla="*/ 0 w 5453062"/>
              <a:gd name="connsiteY3" fmla="*/ 2700337 h 2700337"/>
              <a:gd name="connsiteX4" fmla="*/ 0 w 5453062"/>
              <a:gd name="connsiteY4" fmla="*/ 0 h 27003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53062" h="2700337">
                <a:moveTo>
                  <a:pt x="0" y="0"/>
                </a:moveTo>
                <a:lnTo>
                  <a:pt x="5453062" y="0"/>
                </a:lnTo>
                <a:lnTo>
                  <a:pt x="2726487" y="2700336"/>
                </a:lnTo>
                <a:lnTo>
                  <a:pt x="0" y="2700337"/>
                </a:lnTo>
                <a:lnTo>
                  <a:pt x="0" y="0"/>
                </a:lnTo>
                <a:close/>
              </a:path>
            </a:pathLst>
          </a:custGeom>
        </p:spPr>
        <p:txBody>
          <a:bodyPr anchor="ctr" anchorCtr="0"/>
          <a:lstStyle>
            <a:lvl1pPr algn="l">
              <a:defRPr>
                <a:solidFill>
                  <a:schemeClr val="tx1"/>
                </a:solidFill>
              </a:defRPr>
            </a:lvl1pPr>
          </a:lstStyle>
          <a:p>
            <a:r>
              <a:rPr lang="en-US"/>
              <a:t>         Click to add image</a:t>
            </a:r>
          </a:p>
        </p:txBody>
      </p:sp>
      <p:sp>
        <p:nvSpPr>
          <p:cNvPr id="4" name="Classification-Dynamic" descr="{&quot;templafy&quot;:{&quot;id&quot;:&quot;4fb6f5d1-82cd-4ab1-ae44-7e64d037ef1d&quot;}}">
            <a:extLst>
              <a:ext uri="{FF2B5EF4-FFF2-40B4-BE49-F238E27FC236}">
                <a16:creationId xmlns:a16="http://schemas.microsoft.com/office/drawing/2014/main" id="{13EDB9F6-FBDA-8ED8-A84B-244CC53CFF99}"/>
              </a:ext>
            </a:extLst>
          </p:cNvPr>
          <p:cNvSpPr txBox="1"/>
          <p:nvPr userDrawn="1"/>
        </p:nvSpPr>
        <p:spPr>
          <a:xfrm>
            <a:off x="282575" y="5080814"/>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solidFill>
                  <a:schemeClr val="tx1"/>
                </a:solidFill>
                <a:latin typeface="72 Brand" panose="020B0504030603020204" pitchFamily="34" charset="0"/>
                <a:ea typeface="Arial Unicode MS" pitchFamily="34" charset="-128"/>
                <a:cs typeface="Arial Unicode MS" pitchFamily="34" charset="-128"/>
              </a:rPr>
              <a:t>INTERNAL – SAP and Partners Only</a:t>
            </a:r>
          </a:p>
        </p:txBody>
      </p:sp>
      <p:pic>
        <p:nvPicPr>
          <p:cNvPr id="316767171" name="LogoBlack-Dynamic" descr="{&quot;templafy&quot;:{&quot;id&quot;:&quot;6e8f8d3c-486c-440f-9e89-010c51d1337f&quot;}}"/>
          <p:cNvPicPr>
            <a:picLocks noChangeAspect="1"/>
          </p:cNvPicPr>
          <p:nvPr/>
        </p:nvPicPr>
        <p:blipFill>
          <a:blip r:embed="rId2"/>
          <a:stretch>
            <a:fillRect/>
          </a:stretch>
        </p:blipFill>
        <p:spPr>
          <a:xfrm>
            <a:off x="288006" y="360000"/>
            <a:ext cx="727192" cy="360000"/>
          </a:xfrm>
          <a:prstGeom prst="rect">
            <a:avLst/>
          </a:prstGeom>
        </p:spPr>
      </p:pic>
    </p:spTree>
    <p:extLst>
      <p:ext uri="{BB962C8B-B14F-4D97-AF65-F5344CB8AC3E}">
        <p14:creationId xmlns:p14="http://schemas.microsoft.com/office/powerpoint/2010/main" val="1084997862"/>
      </p:ext>
    </p:extLst>
  </p:cSld>
  <p:clrMapOvr>
    <a:masterClrMapping/>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41">
          <p15:clr>
            <a:srgbClr val="FBAE40"/>
          </p15:clr>
        </p15:guide>
        <p15:guide id="5" orient="horz" pos="2960">
          <p15:clr>
            <a:srgbClr val="FBAE40"/>
          </p15:clr>
        </p15:guide>
        <p15:guide id="7" orient="horz" pos="4144">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Cover with Image or Illustration">
    <p:bg>
      <p:bgRef idx="1001">
        <a:schemeClr val="bg1"/>
      </p:bgRef>
    </p:bg>
    <p:spTree>
      <p:nvGrpSpPr>
        <p:cNvPr id="1" name=""/>
        <p:cNvGrpSpPr/>
        <p:nvPr/>
      </p:nvGrpSpPr>
      <p:grpSpPr>
        <a:xfrm>
          <a:off x="0" y="0"/>
          <a:ext cx="0" cy="0"/>
          <a:chOff x="0" y="0"/>
          <a:chExt cx="0" cy="0"/>
        </a:xfrm>
      </p:grpSpPr>
      <p:sp>
        <p:nvSpPr>
          <p:cNvPr id="4" name="Background">
            <a:extLst>
              <a:ext uri="{FF2B5EF4-FFF2-40B4-BE49-F238E27FC236}">
                <a16:creationId xmlns:a16="http://schemas.microsoft.com/office/drawing/2014/main" id="{F6B4F408-95BC-730E-4114-45641ED46491}"/>
              </a:ext>
            </a:extLst>
          </p:cNvPr>
          <p:cNvSpPr/>
          <p:nvPr userDrawn="1"/>
        </p:nvSpPr>
        <p:spPr bwMode="gray">
          <a:xfrm>
            <a:off x="-1" y="0"/>
            <a:ext cx="12195175" cy="6858000"/>
          </a:xfrm>
          <a:prstGeom prst="rect">
            <a:avLst/>
          </a:prstGeom>
          <a:solidFill>
            <a:schemeClr val="bg1"/>
          </a:solidFill>
          <a:ln w="15238" cap="flat">
            <a:noFill/>
            <a:prstDash val="solid"/>
            <a:miter/>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a:ln>
                <a:noFill/>
              </a:ln>
              <a:effectLst/>
              <a:uLnTx/>
              <a:uFillTx/>
              <a:latin typeface="72 Brand" panose="020B0504030603020204" pitchFamily="34" charset="0"/>
              <a:ea typeface="Arial Unicode MS" pitchFamily="34" charset="-128"/>
              <a:cs typeface="Arial Unicode MS" pitchFamily="34" charset="-128"/>
            </a:endParaRPr>
          </a:p>
        </p:txBody>
      </p:sp>
      <p:sp>
        <p:nvSpPr>
          <p:cNvPr id="3" name="Title"/>
          <p:cNvSpPr>
            <a:spLocks noGrp="1"/>
          </p:cNvSpPr>
          <p:nvPr>
            <p:ph type="title" hasCustomPrompt="1"/>
          </p:nvPr>
        </p:nvSpPr>
        <p:spPr>
          <a:xfrm>
            <a:off x="288000" y="4024430"/>
            <a:ext cx="10899174" cy="997196"/>
          </a:xfrm>
        </p:spPr>
        <p:txBody>
          <a:bodyPr vert="horz" wrap="square" lIns="0" tIns="0" rIns="0" bIns="0" rtlCol="0">
            <a:noAutofit/>
          </a:bodyPr>
          <a:lstStyle>
            <a:lvl1pPr>
              <a:lnSpc>
                <a:spcPct val="90000"/>
              </a:lnSpc>
              <a:defRPr lang="de-DE" sz="3600" b="0" i="0" dirty="0">
                <a:latin typeface="72 Brand Medium" panose="020B0504030603020204" pitchFamily="34" charset="0"/>
                <a:ea typeface="+mn-ea"/>
                <a:cs typeface="+mn-cs"/>
              </a:defRPr>
            </a:lvl1pPr>
          </a:lstStyle>
          <a:p>
            <a:pPr lvl="0"/>
            <a:r>
              <a:rPr lang="en-US"/>
              <a:t>Title Goes Here</a:t>
            </a:r>
            <a:br>
              <a:rPr lang="en-US"/>
            </a:br>
            <a:r>
              <a:rPr lang="en-US"/>
              <a:t>and Here and Here</a:t>
            </a:r>
          </a:p>
        </p:txBody>
      </p:sp>
      <p:sp>
        <p:nvSpPr>
          <p:cNvPr id="7" name="Picture Placeholder 6">
            <a:extLst>
              <a:ext uri="{FF2B5EF4-FFF2-40B4-BE49-F238E27FC236}">
                <a16:creationId xmlns:a16="http://schemas.microsoft.com/office/drawing/2014/main" id="{4FA78832-C268-4EC5-BB82-7F9D7F5B51B2}"/>
              </a:ext>
            </a:extLst>
          </p:cNvPr>
          <p:cNvSpPr>
            <a:spLocks noGrp="1"/>
          </p:cNvSpPr>
          <p:nvPr>
            <p:ph type="pic" sz="quarter" idx="16" hasCustomPrompt="1"/>
          </p:nvPr>
        </p:nvSpPr>
        <p:spPr>
          <a:xfrm>
            <a:off x="0" y="-1"/>
            <a:ext cx="12195175" cy="3430800"/>
          </a:xfrm>
        </p:spPr>
        <p:txBody>
          <a:bodyPr anchor="ctr" anchorCtr="0"/>
          <a:lstStyle>
            <a:lvl1pPr marL="0" marR="0" indent="0" algn="ctr" defTabSz="1088558" rtl="0" eaLnBrk="1" fontAlgn="auto" latinLnBrk="0" hangingPunct="1">
              <a:lnSpc>
                <a:spcPct val="100000"/>
              </a:lnSpc>
              <a:spcBef>
                <a:spcPts val="1800"/>
              </a:spcBef>
              <a:spcAft>
                <a:spcPts val="0"/>
              </a:spcAft>
              <a:buClr>
                <a:schemeClr val="accent1"/>
              </a:buClr>
              <a:buSzPct val="80000"/>
              <a:buFontTx/>
              <a:buNone/>
              <a:tabLst/>
              <a:defRPr/>
            </a:lvl1pPr>
          </a:lstStyle>
          <a:p>
            <a:pPr marL="0" marR="0" lvl="0" indent="0" algn="ctr" defTabSz="1088558" rtl="0" eaLnBrk="1" fontAlgn="auto" latinLnBrk="0" hangingPunct="1">
              <a:lnSpc>
                <a:spcPct val="100000"/>
              </a:lnSpc>
              <a:spcBef>
                <a:spcPts val="1800"/>
              </a:spcBef>
              <a:spcAft>
                <a:spcPts val="0"/>
              </a:spcAft>
              <a:buClr>
                <a:schemeClr val="accent1"/>
              </a:buClr>
              <a:buSzPct val="80000"/>
              <a:buFontTx/>
              <a:buNone/>
              <a:tabLst/>
              <a:defRPr/>
            </a:pPr>
            <a:r>
              <a:rPr lang="en-US"/>
              <a:t>Click to insert picture</a:t>
            </a:r>
          </a:p>
        </p:txBody>
      </p:sp>
      <p:pic>
        <p:nvPicPr>
          <p:cNvPr id="73675286" name="LogoBlue-Dynamic" descr="{&quot;templafy&quot;:{&quot;id&quot;:&quot;f232a519-5ff6-4053-bb5b-b23e1adaee18&quot;}}"/>
          <p:cNvPicPr>
            <a:picLocks noChangeAspect="1"/>
          </p:cNvPicPr>
          <p:nvPr/>
        </p:nvPicPr>
        <p:blipFill>
          <a:blip r:embed="rId2"/>
          <a:stretch>
            <a:fillRect/>
          </a:stretch>
        </p:blipFill>
        <p:spPr>
          <a:xfrm>
            <a:off x="288006" y="6218600"/>
            <a:ext cx="727192" cy="360000"/>
          </a:xfrm>
          <a:prstGeom prst="rect">
            <a:avLst/>
          </a:prstGeom>
        </p:spPr>
      </p:pic>
      <p:sp>
        <p:nvSpPr>
          <p:cNvPr id="9" name="Classification-Dynamic" descr="{&quot;templafy&quot;:{&quot;id&quot;:&quot;27682cf1-0696-470f-9efa-616f4870e8a0&quot;}}">
            <a:extLst>
              <a:ext uri="{FF2B5EF4-FFF2-40B4-BE49-F238E27FC236}">
                <a16:creationId xmlns:a16="http://schemas.microsoft.com/office/drawing/2014/main" id="{CE0C2033-6FDF-7DD6-E25C-C03296FDAD00}"/>
              </a:ext>
            </a:extLst>
          </p:cNvPr>
          <p:cNvSpPr txBox="1"/>
          <p:nvPr userDrawn="1"/>
        </p:nvSpPr>
        <p:spPr>
          <a:xfrm>
            <a:off x="282575" y="5724000"/>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solidFill>
                  <a:schemeClr val="tx1"/>
                </a:solidFill>
                <a:latin typeface="72 Brand" panose="020B0504030603020204" pitchFamily="34" charset="0"/>
                <a:ea typeface="Arial Unicode MS" pitchFamily="34" charset="-128"/>
                <a:cs typeface="Arial Unicode MS" pitchFamily="34" charset="-128"/>
              </a:rPr>
              <a:t>INTERNAL – SAP and Partners Only</a:t>
            </a:r>
          </a:p>
        </p:txBody>
      </p:sp>
    </p:spTree>
    <p:extLst>
      <p:ext uri="{BB962C8B-B14F-4D97-AF65-F5344CB8AC3E}">
        <p14:creationId xmlns:p14="http://schemas.microsoft.com/office/powerpoint/2010/main" val="218385053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7505">
          <p15:clr>
            <a:srgbClr val="FBAE40"/>
          </p15:clr>
        </p15:guide>
        <p15:guide id="2" orient="horz" pos="4144">
          <p15:clr>
            <a:srgbClr val="FBAE40"/>
          </p15:clr>
        </p15:guide>
        <p15:guide id="3" orient="horz" pos="2162">
          <p15:clr>
            <a:srgbClr val="FBAE40"/>
          </p15:clr>
        </p15:guide>
        <p15:guide id="4" pos="181">
          <p15:clr>
            <a:srgbClr val="FBAE40"/>
          </p15:clr>
        </p15:guide>
        <p15:guide id="5" orient="horz" pos="2534">
          <p15:clr>
            <a:srgbClr val="FBAE40"/>
          </p15:clr>
        </p15:guide>
        <p15:guide id="6" orient="horz" pos="3164">
          <p15:clr>
            <a:srgbClr val="FBAE40"/>
          </p15:clr>
        </p15:guide>
        <p15:guide id="7" orient="horz" pos="3232">
          <p15:clr>
            <a:srgbClr val="FBAE40"/>
          </p15:clr>
        </p15:guide>
        <p15:guide id="8" orient="horz" pos="3504">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White cover with green anvil">
    <p:bg>
      <p:bgRef idx="1001">
        <a:schemeClr val="bg1"/>
      </p:bgRef>
    </p:bg>
    <p:spTree>
      <p:nvGrpSpPr>
        <p:cNvPr id="1" name=""/>
        <p:cNvGrpSpPr/>
        <p:nvPr/>
      </p:nvGrpSpPr>
      <p:grpSpPr>
        <a:xfrm>
          <a:off x="0" y="0"/>
          <a:ext cx="0" cy="0"/>
          <a:chOff x="0" y="0"/>
          <a:chExt cx="0" cy="0"/>
        </a:xfrm>
      </p:grpSpPr>
      <p:sp>
        <p:nvSpPr>
          <p:cNvPr id="2" name="Background">
            <a:extLst>
              <a:ext uri="{FF2B5EF4-FFF2-40B4-BE49-F238E27FC236}">
                <a16:creationId xmlns:a16="http://schemas.microsoft.com/office/drawing/2014/main" id="{615A14AB-7A75-B899-CDA1-E311E201A837}"/>
              </a:ext>
            </a:extLst>
          </p:cNvPr>
          <p:cNvSpPr/>
          <p:nvPr userDrawn="1"/>
        </p:nvSpPr>
        <p:spPr bwMode="gray">
          <a:xfrm>
            <a:off x="-1" y="0"/>
            <a:ext cx="12195175" cy="6858000"/>
          </a:xfrm>
          <a:prstGeom prst="rect">
            <a:avLst/>
          </a:prstGeom>
          <a:solidFill>
            <a:schemeClr val="bg1"/>
          </a:solidFill>
          <a:ln w="15238" cap="flat">
            <a:noFill/>
            <a:prstDash val="solid"/>
            <a:miter/>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a:ln>
                <a:noFill/>
              </a:ln>
              <a:effectLst/>
              <a:uLnTx/>
              <a:uFillTx/>
              <a:latin typeface="72 Brand" panose="020B0504030603020204" pitchFamily="34" charset="0"/>
              <a:ea typeface="Arial Unicode MS" pitchFamily="34" charset="-128"/>
              <a:cs typeface="Arial Unicode MS" pitchFamily="34" charset="-128"/>
            </a:endParaRPr>
          </a:p>
        </p:txBody>
      </p:sp>
      <p:sp>
        <p:nvSpPr>
          <p:cNvPr id="3" name="Anvil" descr="preencoded.png">
            <a:extLst>
              <a:ext uri="{FF2B5EF4-FFF2-40B4-BE49-F238E27FC236}">
                <a16:creationId xmlns:a16="http://schemas.microsoft.com/office/drawing/2014/main" id="{CAD3135A-95A0-606F-5A25-35CF890B232D}"/>
              </a:ext>
            </a:extLst>
          </p:cNvPr>
          <p:cNvSpPr/>
          <p:nvPr/>
        </p:nvSpPr>
        <p:spPr>
          <a:xfrm>
            <a:off x="5072441" y="1275473"/>
            <a:ext cx="6069341" cy="2991727"/>
          </a:xfrm>
          <a:custGeom>
            <a:avLst/>
            <a:gdLst>
              <a:gd name="connsiteX0" fmla="*/ 0 w 6069341"/>
              <a:gd name="connsiteY0" fmla="*/ 0 h 2991727"/>
              <a:gd name="connsiteX1" fmla="*/ 0 w 6069341"/>
              <a:gd name="connsiteY1" fmla="*/ 2991727 h 2991727"/>
              <a:gd name="connsiteX2" fmla="*/ 3084421 w 6069341"/>
              <a:gd name="connsiteY2" fmla="*/ 2991727 h 2991727"/>
              <a:gd name="connsiteX3" fmla="*/ 6069341 w 6069341"/>
              <a:gd name="connsiteY3" fmla="*/ 0 h 2991727"/>
              <a:gd name="connsiteX4" fmla="*/ 0 w 6069341"/>
              <a:gd name="connsiteY4" fmla="*/ 0 h 29917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69341" h="2991727">
                <a:moveTo>
                  <a:pt x="0" y="0"/>
                </a:moveTo>
                <a:lnTo>
                  <a:pt x="0" y="2991727"/>
                </a:lnTo>
                <a:lnTo>
                  <a:pt x="3084421" y="2991727"/>
                </a:lnTo>
                <a:lnTo>
                  <a:pt x="6069341" y="0"/>
                </a:lnTo>
                <a:lnTo>
                  <a:pt x="0" y="0"/>
                </a:lnTo>
                <a:close/>
              </a:path>
            </a:pathLst>
          </a:custGeom>
          <a:solidFill>
            <a:srgbClr val="97DD40"/>
          </a:solidFill>
          <a:ln w="7155" cap="flat">
            <a:noFill/>
            <a:prstDash val="solid"/>
            <a:miter/>
          </a:ln>
        </p:spPr>
        <p:txBody>
          <a:bodyPr rtlCol="0" anchor="ctr"/>
          <a:lstStyle/>
          <a:p>
            <a:endParaRPr lang="en-US"/>
          </a:p>
        </p:txBody>
      </p:sp>
      <p:sp>
        <p:nvSpPr>
          <p:cNvPr id="4" name="Title">
            <a:extLst>
              <a:ext uri="{FF2B5EF4-FFF2-40B4-BE49-F238E27FC236}">
                <a16:creationId xmlns:a16="http://schemas.microsoft.com/office/drawing/2014/main" id="{D8805AE3-41BC-E9DB-1A66-ADF41EDBC899}"/>
              </a:ext>
            </a:extLst>
          </p:cNvPr>
          <p:cNvSpPr>
            <a:spLocks noGrp="1"/>
          </p:cNvSpPr>
          <p:nvPr>
            <p:ph type="title" hasCustomPrompt="1"/>
          </p:nvPr>
        </p:nvSpPr>
        <p:spPr>
          <a:xfrm>
            <a:off x="288000" y="2706317"/>
            <a:ext cx="6026739" cy="997196"/>
          </a:xfrm>
        </p:spPr>
        <p:txBody>
          <a:bodyPr>
            <a:noAutofit/>
          </a:bodyPr>
          <a:lstStyle>
            <a:lvl1pPr>
              <a:lnSpc>
                <a:spcPct val="90000"/>
              </a:lnSpc>
              <a:defRPr sz="3600" b="0" i="0">
                <a:latin typeface="72 Brand Medium" panose="020B0504030603020204" pitchFamily="34" charset="0"/>
                <a:cs typeface="72" panose="020B0503030000000003" pitchFamily="34" charset="0"/>
              </a:defRPr>
            </a:lvl1pPr>
          </a:lstStyle>
          <a:p>
            <a:pPr fontAlgn="base">
              <a:spcBef>
                <a:spcPct val="50000"/>
              </a:spcBef>
              <a:spcAft>
                <a:spcPct val="0"/>
              </a:spcAft>
              <a:buClr>
                <a:srgbClr val="F0AB00"/>
              </a:buClr>
              <a:buSzPct val="80000"/>
            </a:pPr>
            <a:r>
              <a:rPr lang="en-US"/>
              <a:t>Title Goes Here</a:t>
            </a:r>
            <a:br>
              <a:rPr lang="en-US"/>
            </a:br>
            <a:r>
              <a:rPr lang="en-US"/>
              <a:t>and Here and Here</a:t>
            </a:r>
            <a:endParaRPr lang="de-DE" sz="3600" kern="0" err="1">
              <a:ea typeface="Arial Unicode MS" pitchFamily="34" charset="-128"/>
              <a:cs typeface="Arial Unicode MS" pitchFamily="34" charset="-128"/>
            </a:endParaRPr>
          </a:p>
        </p:txBody>
      </p:sp>
      <p:pic>
        <p:nvPicPr>
          <p:cNvPr id="945490893" name="LogoBlue-Dynamic" descr="{&quot;templafy&quot;:{&quot;id&quot;:&quot;e60c395f-8fa7-41cf-b146-37c7272e7cfb&quot;}}"/>
          <p:cNvPicPr>
            <a:picLocks noChangeAspect="1"/>
          </p:cNvPicPr>
          <p:nvPr/>
        </p:nvPicPr>
        <p:blipFill>
          <a:blip r:embed="rId2"/>
          <a:stretch>
            <a:fillRect/>
          </a:stretch>
        </p:blipFill>
        <p:spPr>
          <a:xfrm>
            <a:off x="288006" y="360000"/>
            <a:ext cx="727192" cy="360000"/>
          </a:xfrm>
          <a:prstGeom prst="rect">
            <a:avLst/>
          </a:prstGeom>
        </p:spPr>
      </p:pic>
      <p:sp>
        <p:nvSpPr>
          <p:cNvPr id="11" name="Classification-Dynamic" descr="{&quot;templafy&quot;:{&quot;id&quot;:&quot;55d87788-2e60-4526-97e4-cc625eeee8de&quot;}}">
            <a:extLst>
              <a:ext uri="{FF2B5EF4-FFF2-40B4-BE49-F238E27FC236}">
                <a16:creationId xmlns:a16="http://schemas.microsoft.com/office/drawing/2014/main" id="{62D91ACB-BD14-46CB-4B61-F4B072D877C0}"/>
              </a:ext>
            </a:extLst>
          </p:cNvPr>
          <p:cNvSpPr txBox="1"/>
          <p:nvPr userDrawn="1"/>
        </p:nvSpPr>
        <p:spPr>
          <a:xfrm>
            <a:off x="282575" y="5080814"/>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solidFill>
                  <a:schemeClr val="tx1"/>
                </a:solidFill>
                <a:latin typeface="72 Brand" panose="020B0504030603020204" pitchFamily="34" charset="0"/>
                <a:ea typeface="Arial Unicode MS" pitchFamily="34" charset="-128"/>
                <a:cs typeface="Arial Unicode MS" pitchFamily="34" charset="-128"/>
              </a:rPr>
              <a:t>INTERNAL – SAP and Partners Only</a:t>
            </a:r>
          </a:p>
        </p:txBody>
      </p:sp>
    </p:spTree>
    <p:extLst>
      <p:ext uri="{BB962C8B-B14F-4D97-AF65-F5344CB8AC3E}">
        <p14:creationId xmlns:p14="http://schemas.microsoft.com/office/powerpoint/2010/main" val="1554761476"/>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34">
          <p15:clr>
            <a:srgbClr val="FBAE40"/>
          </p15:clr>
        </p15:guide>
        <p15:guide id="5" orient="horz" pos="2960">
          <p15:clr>
            <a:srgbClr val="FBAE40"/>
          </p15:clr>
        </p15:guide>
        <p15:guide id="7" orient="horz" pos="4144">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Light blue cover with anvil">
    <p:bg>
      <p:bgRef idx="1001">
        <a:schemeClr val="bg1"/>
      </p:bgRef>
    </p:bg>
    <p:spTree>
      <p:nvGrpSpPr>
        <p:cNvPr id="1" name=""/>
        <p:cNvGrpSpPr/>
        <p:nvPr/>
      </p:nvGrpSpPr>
      <p:grpSpPr>
        <a:xfrm>
          <a:off x="0" y="0"/>
          <a:ext cx="0" cy="0"/>
          <a:chOff x="0" y="0"/>
          <a:chExt cx="0" cy="0"/>
        </a:xfrm>
      </p:grpSpPr>
      <p:sp>
        <p:nvSpPr>
          <p:cNvPr id="14" name="Background">
            <a:extLst>
              <a:ext uri="{FF2B5EF4-FFF2-40B4-BE49-F238E27FC236}">
                <a16:creationId xmlns:a16="http://schemas.microsoft.com/office/drawing/2014/main" id="{581FAEF7-1ACD-83AC-7B42-761E6A30387F}"/>
              </a:ext>
            </a:extLst>
          </p:cNvPr>
          <p:cNvSpPr/>
          <p:nvPr userDrawn="1"/>
        </p:nvSpPr>
        <p:spPr bwMode="gray">
          <a:xfrm>
            <a:off x="0" y="0"/>
            <a:ext cx="12195175" cy="6858000"/>
          </a:xfrm>
          <a:prstGeom prst="rect">
            <a:avLst/>
          </a:prstGeom>
          <a:solidFill>
            <a:srgbClr val="A6E0FF">
              <a:alpha val="42715"/>
            </a:srgbClr>
          </a:solidFill>
          <a:ln w="15238" cap="flat">
            <a:noFill/>
            <a:prstDash val="solid"/>
            <a:miter/>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a:ln>
                <a:noFill/>
              </a:ln>
              <a:effectLst/>
              <a:uLnTx/>
              <a:uFillTx/>
              <a:latin typeface="72 Brand" panose="020B0504030603020204" pitchFamily="34" charset="0"/>
              <a:ea typeface="Arial Unicode MS" pitchFamily="34" charset="-128"/>
              <a:cs typeface="Arial Unicode MS" pitchFamily="34" charset="-128"/>
            </a:endParaRPr>
          </a:p>
        </p:txBody>
      </p:sp>
      <p:sp>
        <p:nvSpPr>
          <p:cNvPr id="2" name="Anvil" descr="preencoded.png">
            <a:extLst>
              <a:ext uri="{FF2B5EF4-FFF2-40B4-BE49-F238E27FC236}">
                <a16:creationId xmlns:a16="http://schemas.microsoft.com/office/drawing/2014/main" id="{94093846-CC07-3993-CA62-86004F1C03F9}"/>
              </a:ext>
            </a:extLst>
          </p:cNvPr>
          <p:cNvSpPr/>
          <p:nvPr/>
        </p:nvSpPr>
        <p:spPr>
          <a:xfrm>
            <a:off x="2289865" y="1275473"/>
            <a:ext cx="8851917" cy="4363327"/>
          </a:xfrm>
          <a:custGeom>
            <a:avLst/>
            <a:gdLst>
              <a:gd name="connsiteX0" fmla="*/ 0 w 8851917"/>
              <a:gd name="connsiteY0" fmla="*/ 0 h 4363327"/>
              <a:gd name="connsiteX1" fmla="*/ 0 w 8851917"/>
              <a:gd name="connsiteY1" fmla="*/ 4363327 h 4363327"/>
              <a:gd name="connsiteX2" fmla="*/ 4498517 w 8851917"/>
              <a:gd name="connsiteY2" fmla="*/ 4363327 h 4363327"/>
              <a:gd name="connsiteX3" fmla="*/ 8851917 w 8851917"/>
              <a:gd name="connsiteY3" fmla="*/ 0 h 4363327"/>
              <a:gd name="connsiteX4" fmla="*/ 0 w 8851917"/>
              <a:gd name="connsiteY4" fmla="*/ 0 h 43633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1917" h="4363327">
                <a:moveTo>
                  <a:pt x="0" y="0"/>
                </a:moveTo>
                <a:lnTo>
                  <a:pt x="0" y="4363327"/>
                </a:lnTo>
                <a:lnTo>
                  <a:pt x="4498517" y="4363327"/>
                </a:lnTo>
                <a:lnTo>
                  <a:pt x="8851917" y="0"/>
                </a:lnTo>
                <a:lnTo>
                  <a:pt x="0" y="0"/>
                </a:lnTo>
                <a:close/>
              </a:path>
            </a:pathLst>
          </a:custGeom>
          <a:solidFill>
            <a:srgbClr val="A6E0FF"/>
          </a:solidFill>
          <a:ln w="15238" cap="flat">
            <a:noFill/>
            <a:prstDash val="solid"/>
            <a:miter/>
          </a:ln>
        </p:spPr>
        <p:txBody>
          <a:bodyPr rtlCol="0" anchor="ctr"/>
          <a:lstStyle/>
          <a:p>
            <a:endParaRPr lang="en-US"/>
          </a:p>
        </p:txBody>
      </p:sp>
      <p:sp>
        <p:nvSpPr>
          <p:cNvPr id="8" name="Title">
            <a:extLst>
              <a:ext uri="{FF2B5EF4-FFF2-40B4-BE49-F238E27FC236}">
                <a16:creationId xmlns:a16="http://schemas.microsoft.com/office/drawing/2014/main" id="{1098B98B-8FDE-5B19-2FC7-97058A6B53FD}"/>
              </a:ext>
            </a:extLst>
          </p:cNvPr>
          <p:cNvSpPr>
            <a:spLocks noGrp="1"/>
          </p:cNvSpPr>
          <p:nvPr>
            <p:ph type="title" hasCustomPrompt="1"/>
          </p:nvPr>
        </p:nvSpPr>
        <p:spPr>
          <a:xfrm>
            <a:off x="288000" y="2706317"/>
            <a:ext cx="5929920" cy="997196"/>
          </a:xfrm>
        </p:spPr>
        <p:txBody>
          <a:bodyPr>
            <a:noAutofit/>
          </a:bodyPr>
          <a:lstStyle>
            <a:lvl1pPr>
              <a:lnSpc>
                <a:spcPct val="90000"/>
              </a:lnSpc>
              <a:defRPr sz="3600" b="0" i="0">
                <a:latin typeface="72 Brand Medium" panose="020B0504030603020204" pitchFamily="34" charset="0"/>
                <a:cs typeface="72" panose="020B0503030000000003" pitchFamily="34" charset="0"/>
              </a:defRPr>
            </a:lvl1pPr>
          </a:lstStyle>
          <a:p>
            <a:pPr fontAlgn="base">
              <a:spcBef>
                <a:spcPct val="50000"/>
              </a:spcBef>
              <a:spcAft>
                <a:spcPct val="0"/>
              </a:spcAft>
              <a:buClr>
                <a:srgbClr val="F0AB00"/>
              </a:buClr>
              <a:buSzPct val="80000"/>
            </a:pPr>
            <a:r>
              <a:rPr lang="en-US"/>
              <a:t>Title Goes Here</a:t>
            </a:r>
            <a:br>
              <a:rPr lang="en-US"/>
            </a:br>
            <a:r>
              <a:rPr lang="en-US"/>
              <a:t>and Here and Here</a:t>
            </a:r>
            <a:endParaRPr lang="de-DE" sz="3600" kern="0" err="1">
              <a:ea typeface="Arial Unicode MS" pitchFamily="34" charset="-128"/>
              <a:cs typeface="Arial Unicode MS" pitchFamily="34" charset="-128"/>
            </a:endParaRPr>
          </a:p>
        </p:txBody>
      </p:sp>
      <p:pic>
        <p:nvPicPr>
          <p:cNvPr id="1082763596" name="LogoBlack-Dynamic" descr="{&quot;templafy&quot;:{&quot;id&quot;:&quot;e1ce98cc-b5e7-4d57-bbf2-b85890640f17&quot;}}"/>
          <p:cNvPicPr>
            <a:picLocks noChangeAspect="1"/>
          </p:cNvPicPr>
          <p:nvPr/>
        </p:nvPicPr>
        <p:blipFill>
          <a:blip r:embed="rId2"/>
          <a:stretch>
            <a:fillRect/>
          </a:stretch>
        </p:blipFill>
        <p:spPr>
          <a:xfrm>
            <a:off x="288006" y="360000"/>
            <a:ext cx="727192" cy="360000"/>
          </a:xfrm>
          <a:prstGeom prst="rect">
            <a:avLst/>
          </a:prstGeom>
        </p:spPr>
      </p:pic>
      <p:sp>
        <p:nvSpPr>
          <p:cNvPr id="3" name="Classification-Dynamic" descr="{&quot;templafy&quot;:{&quot;id&quot;:&quot;e21c6111-be2c-44a0-a2aa-df88facd3edb&quot;}}">
            <a:extLst>
              <a:ext uri="{FF2B5EF4-FFF2-40B4-BE49-F238E27FC236}">
                <a16:creationId xmlns:a16="http://schemas.microsoft.com/office/drawing/2014/main" id="{D417CEF6-1FCD-75B6-FA13-C583ECCE7BE5}"/>
              </a:ext>
            </a:extLst>
          </p:cNvPr>
          <p:cNvSpPr txBox="1"/>
          <p:nvPr userDrawn="1"/>
        </p:nvSpPr>
        <p:spPr>
          <a:xfrm>
            <a:off x="282575" y="5080814"/>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solidFill>
                  <a:schemeClr val="tx1"/>
                </a:solidFill>
                <a:latin typeface="72 Brand" panose="020B0504030603020204" pitchFamily="34" charset="0"/>
                <a:ea typeface="Arial Unicode MS" pitchFamily="34" charset="-128"/>
                <a:cs typeface="Arial Unicode MS" pitchFamily="34" charset="-128"/>
              </a:rPr>
              <a:t>INTERNAL – SAP and Partners Only</a:t>
            </a:r>
          </a:p>
        </p:txBody>
      </p:sp>
    </p:spTree>
    <p:extLst>
      <p:ext uri="{BB962C8B-B14F-4D97-AF65-F5344CB8AC3E}">
        <p14:creationId xmlns:p14="http://schemas.microsoft.com/office/powerpoint/2010/main" val="131597554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34">
          <p15:clr>
            <a:srgbClr val="FBAE40"/>
          </p15:clr>
        </p15:guide>
        <p15:guide id="5" orient="horz" pos="2960">
          <p15:clr>
            <a:srgbClr val="FBAE40"/>
          </p15:clr>
        </p15:guide>
        <p15:guide id="7" orient="horz" pos="4144">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Blue cover with anvil">
    <p:bg>
      <p:bgRef idx="1001">
        <a:schemeClr val="bg1"/>
      </p:bgRef>
    </p:bg>
    <p:spTree>
      <p:nvGrpSpPr>
        <p:cNvPr id="1" name=""/>
        <p:cNvGrpSpPr/>
        <p:nvPr/>
      </p:nvGrpSpPr>
      <p:grpSpPr>
        <a:xfrm>
          <a:off x="0" y="0"/>
          <a:ext cx="0" cy="0"/>
          <a:chOff x="0" y="0"/>
          <a:chExt cx="0" cy="0"/>
        </a:xfrm>
      </p:grpSpPr>
      <p:sp>
        <p:nvSpPr>
          <p:cNvPr id="7" name="background" descr="preencoded.png">
            <a:extLst>
              <a:ext uri="{FF2B5EF4-FFF2-40B4-BE49-F238E27FC236}">
                <a16:creationId xmlns:a16="http://schemas.microsoft.com/office/drawing/2014/main" id="{5F3BB899-74C3-EBF7-C191-EC2863B8F536}"/>
              </a:ext>
            </a:extLst>
          </p:cNvPr>
          <p:cNvSpPr/>
          <p:nvPr/>
        </p:nvSpPr>
        <p:spPr>
          <a:xfrm>
            <a:off x="0" y="0"/>
            <a:ext cx="12195175" cy="6858000"/>
          </a:xfrm>
          <a:custGeom>
            <a:avLst/>
            <a:gdLst>
              <a:gd name="connsiteX0" fmla="*/ 0 w 12195175"/>
              <a:gd name="connsiteY0" fmla="*/ 0 h 6858000"/>
              <a:gd name="connsiteX1" fmla="*/ 12195175 w 12195175"/>
              <a:gd name="connsiteY1" fmla="*/ 0 h 6858000"/>
              <a:gd name="connsiteX2" fmla="*/ 12195175 w 12195175"/>
              <a:gd name="connsiteY2" fmla="*/ 6858000 h 6858000"/>
              <a:gd name="connsiteX3" fmla="*/ 0 w 12195175"/>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5175" h="6858000">
                <a:moveTo>
                  <a:pt x="0" y="0"/>
                </a:moveTo>
                <a:lnTo>
                  <a:pt x="12195175" y="0"/>
                </a:lnTo>
                <a:lnTo>
                  <a:pt x="12195175" y="6858000"/>
                </a:lnTo>
                <a:lnTo>
                  <a:pt x="0" y="6858000"/>
                </a:lnTo>
                <a:close/>
              </a:path>
            </a:pathLst>
          </a:custGeom>
          <a:solidFill>
            <a:srgbClr val="1B90FF"/>
          </a:solidFill>
          <a:ln w="11289" cap="flat">
            <a:noFill/>
            <a:prstDash val="solid"/>
            <a:miter/>
          </a:ln>
        </p:spPr>
        <p:txBody>
          <a:bodyPr rtlCol="0" anchor="ctr"/>
          <a:lstStyle/>
          <a:p>
            <a:endParaRPr lang="en-US"/>
          </a:p>
        </p:txBody>
      </p:sp>
      <p:sp>
        <p:nvSpPr>
          <p:cNvPr id="8" name="Anvil" descr="preencoded.png">
            <a:extLst>
              <a:ext uri="{FF2B5EF4-FFF2-40B4-BE49-F238E27FC236}">
                <a16:creationId xmlns:a16="http://schemas.microsoft.com/office/drawing/2014/main" id="{39A9B643-3B5A-F0D7-C3BF-3A81DE80FEB6}"/>
              </a:ext>
            </a:extLst>
          </p:cNvPr>
          <p:cNvSpPr/>
          <p:nvPr/>
        </p:nvSpPr>
        <p:spPr>
          <a:xfrm>
            <a:off x="287339" y="935666"/>
            <a:ext cx="6762048" cy="3333180"/>
          </a:xfrm>
          <a:custGeom>
            <a:avLst/>
            <a:gdLst>
              <a:gd name="connsiteX0" fmla="*/ 0 w 6762048"/>
              <a:gd name="connsiteY0" fmla="*/ 0 h 3333180"/>
              <a:gd name="connsiteX1" fmla="*/ 0 w 6762048"/>
              <a:gd name="connsiteY1" fmla="*/ 3333180 h 3333180"/>
              <a:gd name="connsiteX2" fmla="*/ 3436452 w 6762048"/>
              <a:gd name="connsiteY2" fmla="*/ 3333180 h 3333180"/>
              <a:gd name="connsiteX3" fmla="*/ 6762048 w 6762048"/>
              <a:gd name="connsiteY3" fmla="*/ 0 h 3333180"/>
              <a:gd name="connsiteX4" fmla="*/ 0 w 6762048"/>
              <a:gd name="connsiteY4" fmla="*/ 0 h 33331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62048" h="3333180">
                <a:moveTo>
                  <a:pt x="0" y="0"/>
                </a:moveTo>
                <a:lnTo>
                  <a:pt x="0" y="3333180"/>
                </a:lnTo>
                <a:lnTo>
                  <a:pt x="3436452" y="3333180"/>
                </a:lnTo>
                <a:lnTo>
                  <a:pt x="6762048" y="0"/>
                </a:lnTo>
                <a:lnTo>
                  <a:pt x="0" y="0"/>
                </a:lnTo>
                <a:close/>
              </a:path>
            </a:pathLst>
          </a:custGeom>
          <a:solidFill>
            <a:srgbClr val="002A86"/>
          </a:solidFill>
          <a:ln w="9264" cap="flat">
            <a:noFill/>
            <a:prstDash val="solid"/>
            <a:miter/>
          </a:ln>
        </p:spPr>
        <p:txBody>
          <a:bodyPr rtlCol="0" anchor="ctr"/>
          <a:lstStyle/>
          <a:p>
            <a:endParaRPr lang="en-US"/>
          </a:p>
        </p:txBody>
      </p:sp>
      <p:sp>
        <p:nvSpPr>
          <p:cNvPr id="4" name="Title">
            <a:extLst>
              <a:ext uri="{FF2B5EF4-FFF2-40B4-BE49-F238E27FC236}">
                <a16:creationId xmlns:a16="http://schemas.microsoft.com/office/drawing/2014/main" id="{709C0759-3773-C728-D6A6-855D822107FE}"/>
              </a:ext>
            </a:extLst>
          </p:cNvPr>
          <p:cNvSpPr>
            <a:spLocks noGrp="1"/>
          </p:cNvSpPr>
          <p:nvPr>
            <p:ph type="title" hasCustomPrompt="1"/>
          </p:nvPr>
        </p:nvSpPr>
        <p:spPr>
          <a:xfrm>
            <a:off x="288000" y="2706317"/>
            <a:ext cx="6876593" cy="997196"/>
          </a:xfrm>
        </p:spPr>
        <p:txBody>
          <a:bodyPr>
            <a:noAutofit/>
          </a:bodyPr>
          <a:lstStyle>
            <a:lvl1pPr>
              <a:lnSpc>
                <a:spcPct val="90000"/>
              </a:lnSpc>
              <a:defRPr sz="3600" b="0" i="0">
                <a:solidFill>
                  <a:schemeClr val="bg1"/>
                </a:solidFill>
                <a:latin typeface="72 Brand Medium" panose="020B0504030603020204" pitchFamily="34" charset="0"/>
                <a:cs typeface="72" panose="020B0503030000000003" pitchFamily="34" charset="0"/>
              </a:defRPr>
            </a:lvl1pPr>
          </a:lstStyle>
          <a:p>
            <a:pPr fontAlgn="base">
              <a:spcBef>
                <a:spcPct val="50000"/>
              </a:spcBef>
              <a:spcAft>
                <a:spcPct val="0"/>
              </a:spcAft>
              <a:buClr>
                <a:srgbClr val="F0AB00"/>
              </a:buClr>
              <a:buSzPct val="80000"/>
            </a:pPr>
            <a:r>
              <a:rPr lang="en-US"/>
              <a:t>Title Goes Here</a:t>
            </a:r>
            <a:br>
              <a:rPr lang="en-US"/>
            </a:br>
            <a:r>
              <a:rPr lang="en-US"/>
              <a:t>and Here and Here</a:t>
            </a:r>
            <a:endParaRPr lang="de-DE" sz="3600" kern="0" err="1">
              <a:ea typeface="Arial Unicode MS" pitchFamily="34" charset="-128"/>
              <a:cs typeface="Arial Unicode MS" pitchFamily="34" charset="-128"/>
            </a:endParaRPr>
          </a:p>
        </p:txBody>
      </p:sp>
      <p:pic>
        <p:nvPicPr>
          <p:cNvPr id="1482374887" name="LogoWhite-Dynamic" descr="{&quot;templafy&quot;:{&quot;id&quot;:&quot;1c29bb78-5811-4cd4-811f-7882c0a69982&quot;}}"/>
          <p:cNvPicPr>
            <a:picLocks noChangeAspect="1"/>
          </p:cNvPicPr>
          <p:nvPr/>
        </p:nvPicPr>
        <p:blipFill>
          <a:blip r:embed="rId2"/>
          <a:stretch>
            <a:fillRect/>
          </a:stretch>
        </p:blipFill>
        <p:spPr>
          <a:xfrm>
            <a:off x="288006" y="360000"/>
            <a:ext cx="727192" cy="360000"/>
          </a:xfrm>
          <a:prstGeom prst="rect">
            <a:avLst/>
          </a:prstGeom>
        </p:spPr>
      </p:pic>
      <p:sp>
        <p:nvSpPr>
          <p:cNvPr id="3" name="Classification-Dynamic" descr="{&quot;templafy&quot;:{&quot;id&quot;:&quot;58f345ad-7bdb-419e-8713-85ce06a158f4&quot;}}">
            <a:extLst>
              <a:ext uri="{FF2B5EF4-FFF2-40B4-BE49-F238E27FC236}">
                <a16:creationId xmlns:a16="http://schemas.microsoft.com/office/drawing/2014/main" id="{D67AB148-356D-F356-4E6C-9664D9EB9DF3}"/>
              </a:ext>
            </a:extLst>
          </p:cNvPr>
          <p:cNvSpPr txBox="1"/>
          <p:nvPr userDrawn="1"/>
        </p:nvSpPr>
        <p:spPr>
          <a:xfrm>
            <a:off x="282575" y="5080814"/>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solidFill>
                  <a:schemeClr val="bg1"/>
                </a:solidFill>
                <a:latin typeface="72 Brand" panose="020B0504030603020204" pitchFamily="34" charset="0"/>
                <a:ea typeface="Arial Unicode MS" pitchFamily="34" charset="-128"/>
                <a:cs typeface="Arial Unicode MS" pitchFamily="34" charset="-128"/>
              </a:rPr>
              <a:t>INTERNAL – SAP and Partners Only</a:t>
            </a:r>
          </a:p>
        </p:txBody>
      </p:sp>
    </p:spTree>
    <p:extLst>
      <p:ext uri="{BB962C8B-B14F-4D97-AF65-F5344CB8AC3E}">
        <p14:creationId xmlns:p14="http://schemas.microsoft.com/office/powerpoint/2010/main" val="429328212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34">
          <p15:clr>
            <a:srgbClr val="FBAE40"/>
          </p15:clr>
        </p15:guide>
        <p15:guide id="5" orient="horz" pos="2960">
          <p15:clr>
            <a:srgbClr val="FBAE40"/>
          </p15:clr>
        </p15:guide>
        <p15:guide id="7" orient="horz" pos="4144">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eal cover with anvil ">
    <p:bg>
      <p:bgRef idx="1001">
        <a:schemeClr val="bg1"/>
      </p:bgRef>
    </p:bg>
    <p:spTree>
      <p:nvGrpSpPr>
        <p:cNvPr id="1" name=""/>
        <p:cNvGrpSpPr/>
        <p:nvPr/>
      </p:nvGrpSpPr>
      <p:grpSpPr>
        <a:xfrm>
          <a:off x="0" y="0"/>
          <a:ext cx="0" cy="0"/>
          <a:chOff x="0" y="0"/>
          <a:chExt cx="0" cy="0"/>
        </a:xfrm>
      </p:grpSpPr>
      <p:sp>
        <p:nvSpPr>
          <p:cNvPr id="5" name="Background" descr="preencoded.png">
            <a:extLst>
              <a:ext uri="{FF2B5EF4-FFF2-40B4-BE49-F238E27FC236}">
                <a16:creationId xmlns:a16="http://schemas.microsoft.com/office/drawing/2014/main" id="{5F3BB899-74C3-EBF7-C191-EC2863B8F536}"/>
              </a:ext>
            </a:extLst>
          </p:cNvPr>
          <p:cNvSpPr/>
          <p:nvPr/>
        </p:nvSpPr>
        <p:spPr>
          <a:xfrm>
            <a:off x="0" y="0"/>
            <a:ext cx="12195175" cy="6858000"/>
          </a:xfrm>
          <a:custGeom>
            <a:avLst/>
            <a:gdLst>
              <a:gd name="connsiteX0" fmla="*/ 0 w 12195175"/>
              <a:gd name="connsiteY0" fmla="*/ 0 h 6858000"/>
              <a:gd name="connsiteX1" fmla="*/ 12195175 w 12195175"/>
              <a:gd name="connsiteY1" fmla="*/ 0 h 6858000"/>
              <a:gd name="connsiteX2" fmla="*/ 12195175 w 12195175"/>
              <a:gd name="connsiteY2" fmla="*/ 6858000 h 6858000"/>
              <a:gd name="connsiteX3" fmla="*/ 0 w 12195175"/>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5175" h="6858000">
                <a:moveTo>
                  <a:pt x="0" y="0"/>
                </a:moveTo>
                <a:lnTo>
                  <a:pt x="12195175" y="0"/>
                </a:lnTo>
                <a:lnTo>
                  <a:pt x="12195175" y="6858000"/>
                </a:lnTo>
                <a:lnTo>
                  <a:pt x="0" y="6858000"/>
                </a:lnTo>
                <a:close/>
              </a:path>
            </a:pathLst>
          </a:custGeom>
          <a:solidFill>
            <a:srgbClr val="00CEAC"/>
          </a:solidFill>
          <a:ln w="11289" cap="flat">
            <a:noFill/>
            <a:prstDash val="solid"/>
            <a:miter/>
          </a:ln>
        </p:spPr>
        <p:txBody>
          <a:bodyPr rtlCol="0" anchor="ctr"/>
          <a:lstStyle/>
          <a:p>
            <a:endParaRPr lang="en-US"/>
          </a:p>
        </p:txBody>
      </p:sp>
      <p:sp>
        <p:nvSpPr>
          <p:cNvPr id="6" name="Anvil" descr="preencoded.png">
            <a:extLst>
              <a:ext uri="{FF2B5EF4-FFF2-40B4-BE49-F238E27FC236}">
                <a16:creationId xmlns:a16="http://schemas.microsoft.com/office/drawing/2014/main" id="{F36DF1A0-33EF-D4BF-029F-2435A3EF8C01}"/>
              </a:ext>
            </a:extLst>
          </p:cNvPr>
          <p:cNvSpPr/>
          <p:nvPr/>
        </p:nvSpPr>
        <p:spPr>
          <a:xfrm>
            <a:off x="870433" y="989322"/>
            <a:ext cx="9187967" cy="4528975"/>
          </a:xfrm>
          <a:custGeom>
            <a:avLst/>
            <a:gdLst>
              <a:gd name="connsiteX0" fmla="*/ 0 w 9187967"/>
              <a:gd name="connsiteY0" fmla="*/ 0 h 4528975"/>
              <a:gd name="connsiteX1" fmla="*/ 0 w 9187967"/>
              <a:gd name="connsiteY1" fmla="*/ 4528975 h 4528975"/>
              <a:gd name="connsiteX2" fmla="*/ 4669297 w 9187967"/>
              <a:gd name="connsiteY2" fmla="*/ 4528975 h 4528975"/>
              <a:gd name="connsiteX3" fmla="*/ 9187967 w 9187967"/>
              <a:gd name="connsiteY3" fmla="*/ 0 h 4528975"/>
              <a:gd name="connsiteX4" fmla="*/ 0 w 9187967"/>
              <a:gd name="connsiteY4" fmla="*/ 0 h 4528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87967" h="4528975">
                <a:moveTo>
                  <a:pt x="0" y="0"/>
                </a:moveTo>
                <a:lnTo>
                  <a:pt x="0" y="4528975"/>
                </a:lnTo>
                <a:lnTo>
                  <a:pt x="4669297" y="4528975"/>
                </a:lnTo>
                <a:lnTo>
                  <a:pt x="9187967" y="0"/>
                </a:lnTo>
                <a:lnTo>
                  <a:pt x="0" y="0"/>
                </a:lnTo>
                <a:close/>
              </a:path>
            </a:pathLst>
          </a:custGeom>
          <a:solidFill>
            <a:srgbClr val="63EDD4"/>
          </a:solidFill>
          <a:ln w="12596" cap="flat">
            <a:noFill/>
            <a:prstDash val="solid"/>
            <a:miter/>
          </a:ln>
        </p:spPr>
        <p:txBody>
          <a:bodyPr rtlCol="0" anchor="ctr"/>
          <a:lstStyle/>
          <a:p>
            <a:endParaRPr lang="en-US"/>
          </a:p>
        </p:txBody>
      </p:sp>
      <p:sp>
        <p:nvSpPr>
          <p:cNvPr id="9" name="Title">
            <a:extLst>
              <a:ext uri="{FF2B5EF4-FFF2-40B4-BE49-F238E27FC236}">
                <a16:creationId xmlns:a16="http://schemas.microsoft.com/office/drawing/2014/main" id="{5515F5CA-E76C-CC3B-68A7-37E88873AB4B}"/>
              </a:ext>
            </a:extLst>
          </p:cNvPr>
          <p:cNvSpPr>
            <a:spLocks noGrp="1"/>
          </p:cNvSpPr>
          <p:nvPr>
            <p:ph type="title" hasCustomPrompt="1"/>
          </p:nvPr>
        </p:nvSpPr>
        <p:spPr>
          <a:xfrm>
            <a:off x="288000" y="2706317"/>
            <a:ext cx="5929920" cy="997196"/>
          </a:xfrm>
        </p:spPr>
        <p:txBody>
          <a:bodyPr>
            <a:noAutofit/>
          </a:bodyPr>
          <a:lstStyle>
            <a:lvl1pPr>
              <a:lnSpc>
                <a:spcPct val="90000"/>
              </a:lnSpc>
              <a:defRPr sz="3600" b="0" i="0">
                <a:latin typeface="72 Brand Medium" panose="020B0504030603020204" pitchFamily="34" charset="0"/>
                <a:cs typeface="72" panose="020B0503030000000003" pitchFamily="34" charset="0"/>
              </a:defRPr>
            </a:lvl1pPr>
          </a:lstStyle>
          <a:p>
            <a:pPr fontAlgn="base">
              <a:spcBef>
                <a:spcPct val="50000"/>
              </a:spcBef>
              <a:spcAft>
                <a:spcPct val="0"/>
              </a:spcAft>
              <a:buClr>
                <a:srgbClr val="F0AB00"/>
              </a:buClr>
              <a:buSzPct val="80000"/>
            </a:pPr>
            <a:r>
              <a:rPr lang="en-US"/>
              <a:t>Title Goes Here</a:t>
            </a:r>
            <a:br>
              <a:rPr lang="en-US"/>
            </a:br>
            <a:r>
              <a:rPr lang="en-US"/>
              <a:t>and Here and Here</a:t>
            </a:r>
            <a:endParaRPr lang="de-DE" sz="3600" kern="0" err="1">
              <a:ea typeface="Arial Unicode MS" pitchFamily="34" charset="-128"/>
              <a:cs typeface="Arial Unicode MS" pitchFamily="34" charset="-128"/>
            </a:endParaRPr>
          </a:p>
        </p:txBody>
      </p:sp>
      <p:pic>
        <p:nvPicPr>
          <p:cNvPr id="900788501" name="LogoBlack-Dynamic" descr="{&quot;templafy&quot;:{&quot;id&quot;:&quot;c1eb01f2-9e1f-430d-b8b5-2c5ca45c20b6&quot;}}"/>
          <p:cNvPicPr>
            <a:picLocks noChangeAspect="1"/>
          </p:cNvPicPr>
          <p:nvPr/>
        </p:nvPicPr>
        <p:blipFill>
          <a:blip r:embed="rId2"/>
          <a:stretch>
            <a:fillRect/>
          </a:stretch>
        </p:blipFill>
        <p:spPr>
          <a:xfrm>
            <a:off x="288006" y="360000"/>
            <a:ext cx="727192" cy="360000"/>
          </a:xfrm>
          <a:prstGeom prst="rect">
            <a:avLst/>
          </a:prstGeom>
        </p:spPr>
      </p:pic>
      <p:sp>
        <p:nvSpPr>
          <p:cNvPr id="3" name="Classification-Dynamic" descr="{&quot;templafy&quot;:{&quot;id&quot;:&quot;790acb4e-ca71-45a1-a6aa-15bb3a352e16&quot;}}">
            <a:extLst>
              <a:ext uri="{FF2B5EF4-FFF2-40B4-BE49-F238E27FC236}">
                <a16:creationId xmlns:a16="http://schemas.microsoft.com/office/drawing/2014/main" id="{BBFBBDC3-D031-6041-465D-9F7147F423CF}"/>
              </a:ext>
            </a:extLst>
          </p:cNvPr>
          <p:cNvSpPr txBox="1"/>
          <p:nvPr userDrawn="1"/>
        </p:nvSpPr>
        <p:spPr>
          <a:xfrm>
            <a:off x="282575" y="5080814"/>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solidFill>
                  <a:schemeClr val="tx1"/>
                </a:solidFill>
                <a:latin typeface="72 Brand" panose="020B0504030603020204" pitchFamily="34" charset="0"/>
                <a:ea typeface="Arial Unicode MS" pitchFamily="34" charset="-128"/>
                <a:cs typeface="Arial Unicode MS" pitchFamily="34" charset="-128"/>
              </a:rPr>
              <a:t>INTERNAL – SAP and Partners Only</a:t>
            </a:r>
          </a:p>
        </p:txBody>
      </p:sp>
    </p:spTree>
    <p:extLst>
      <p:ext uri="{BB962C8B-B14F-4D97-AF65-F5344CB8AC3E}">
        <p14:creationId xmlns:p14="http://schemas.microsoft.com/office/powerpoint/2010/main" val="291022001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34">
          <p15:clr>
            <a:srgbClr val="FBAE40"/>
          </p15:clr>
        </p15:guide>
        <p15:guide id="5" orient="horz" pos="2960">
          <p15:clr>
            <a:srgbClr val="FBAE40"/>
          </p15:clr>
        </p15:guide>
        <p15:guide id="7" orient="horz" pos="4144">
          <p15:clr>
            <a:srgbClr val="FBAE40"/>
          </p15:clr>
        </p15:guide>
      </p15:sldGuideLst>
    </p:ext>
  </p:extLst>
</p:sldLayout>
</file>

<file path=ppt/slideMasters/_rels/slideMaster1.xml.rels><?xml version="1.0" encoding="UTF-8" standalone="yes"?>
<Relationships xmlns="http://schemas.openxmlformats.org/package/2006/relationships"><Relationship Id="rId117" Type="http://schemas.openxmlformats.org/officeDocument/2006/relationships/tags" Target="../tags/tag86.xml"/><Relationship Id="rId21" Type="http://schemas.openxmlformats.org/officeDocument/2006/relationships/slideLayout" Target="../slideLayouts/slideLayout21.xml"/><Relationship Id="rId42" Type="http://schemas.openxmlformats.org/officeDocument/2006/relationships/tags" Target="../tags/tag11.xml"/><Relationship Id="rId63" Type="http://schemas.openxmlformats.org/officeDocument/2006/relationships/tags" Target="../tags/tag32.xml"/><Relationship Id="rId84" Type="http://schemas.openxmlformats.org/officeDocument/2006/relationships/tags" Target="../tags/tag53.xml"/><Relationship Id="rId138" Type="http://schemas.openxmlformats.org/officeDocument/2006/relationships/tags" Target="../tags/tag107.xml"/><Relationship Id="rId107" Type="http://schemas.openxmlformats.org/officeDocument/2006/relationships/tags" Target="../tags/tag76.xml"/><Relationship Id="rId11" Type="http://schemas.openxmlformats.org/officeDocument/2006/relationships/slideLayout" Target="../slideLayouts/slideLayout11.xml"/><Relationship Id="rId32" Type="http://schemas.openxmlformats.org/officeDocument/2006/relationships/theme" Target="../theme/theme1.xml"/><Relationship Id="rId53" Type="http://schemas.openxmlformats.org/officeDocument/2006/relationships/tags" Target="../tags/tag22.xml"/><Relationship Id="rId74" Type="http://schemas.openxmlformats.org/officeDocument/2006/relationships/tags" Target="../tags/tag43.xml"/><Relationship Id="rId128" Type="http://schemas.openxmlformats.org/officeDocument/2006/relationships/tags" Target="../tags/tag97.xml"/><Relationship Id="rId149" Type="http://schemas.openxmlformats.org/officeDocument/2006/relationships/tags" Target="../tags/tag118.xml"/><Relationship Id="rId5" Type="http://schemas.openxmlformats.org/officeDocument/2006/relationships/slideLayout" Target="../slideLayouts/slideLayout5.xml"/><Relationship Id="rId95" Type="http://schemas.openxmlformats.org/officeDocument/2006/relationships/tags" Target="../tags/tag6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43" Type="http://schemas.openxmlformats.org/officeDocument/2006/relationships/tags" Target="../tags/tag12.xml"/><Relationship Id="rId48" Type="http://schemas.openxmlformats.org/officeDocument/2006/relationships/tags" Target="../tags/tag17.xml"/><Relationship Id="rId64" Type="http://schemas.openxmlformats.org/officeDocument/2006/relationships/tags" Target="../tags/tag33.xml"/><Relationship Id="rId69" Type="http://schemas.openxmlformats.org/officeDocument/2006/relationships/tags" Target="../tags/tag38.xml"/><Relationship Id="rId113" Type="http://schemas.openxmlformats.org/officeDocument/2006/relationships/tags" Target="../tags/tag82.xml"/><Relationship Id="rId118" Type="http://schemas.openxmlformats.org/officeDocument/2006/relationships/tags" Target="../tags/tag87.xml"/><Relationship Id="rId134" Type="http://schemas.openxmlformats.org/officeDocument/2006/relationships/tags" Target="../tags/tag103.xml"/><Relationship Id="rId139" Type="http://schemas.openxmlformats.org/officeDocument/2006/relationships/tags" Target="../tags/tag108.xml"/><Relationship Id="rId80" Type="http://schemas.openxmlformats.org/officeDocument/2006/relationships/tags" Target="../tags/tag49.xml"/><Relationship Id="rId85" Type="http://schemas.openxmlformats.org/officeDocument/2006/relationships/tags" Target="../tags/tag54.xml"/><Relationship Id="rId150" Type="http://schemas.openxmlformats.org/officeDocument/2006/relationships/tags" Target="../tags/tag119.xml"/><Relationship Id="rId155" Type="http://schemas.openxmlformats.org/officeDocument/2006/relationships/tags" Target="../tags/tag124.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33" Type="http://schemas.openxmlformats.org/officeDocument/2006/relationships/tags" Target="../tags/tag2.xml"/><Relationship Id="rId38" Type="http://schemas.openxmlformats.org/officeDocument/2006/relationships/tags" Target="../tags/tag7.xml"/><Relationship Id="rId59" Type="http://schemas.openxmlformats.org/officeDocument/2006/relationships/tags" Target="../tags/tag28.xml"/><Relationship Id="rId103" Type="http://schemas.openxmlformats.org/officeDocument/2006/relationships/tags" Target="../tags/tag72.xml"/><Relationship Id="rId108" Type="http://schemas.openxmlformats.org/officeDocument/2006/relationships/tags" Target="../tags/tag77.xml"/><Relationship Id="rId124" Type="http://schemas.openxmlformats.org/officeDocument/2006/relationships/tags" Target="../tags/tag93.xml"/><Relationship Id="rId129" Type="http://schemas.openxmlformats.org/officeDocument/2006/relationships/tags" Target="../tags/tag98.xml"/><Relationship Id="rId54" Type="http://schemas.openxmlformats.org/officeDocument/2006/relationships/tags" Target="../tags/tag23.xml"/><Relationship Id="rId70" Type="http://schemas.openxmlformats.org/officeDocument/2006/relationships/tags" Target="../tags/tag39.xml"/><Relationship Id="rId75" Type="http://schemas.openxmlformats.org/officeDocument/2006/relationships/tags" Target="../tags/tag44.xml"/><Relationship Id="rId91" Type="http://schemas.openxmlformats.org/officeDocument/2006/relationships/tags" Target="../tags/tag60.xml"/><Relationship Id="rId96" Type="http://schemas.openxmlformats.org/officeDocument/2006/relationships/tags" Target="../tags/tag65.xml"/><Relationship Id="rId140" Type="http://schemas.openxmlformats.org/officeDocument/2006/relationships/tags" Target="../tags/tag109.xml"/><Relationship Id="rId145" Type="http://schemas.openxmlformats.org/officeDocument/2006/relationships/tags" Target="../tags/tag114.xml"/><Relationship Id="rId1" Type="http://schemas.openxmlformats.org/officeDocument/2006/relationships/slideLayout" Target="../slideLayouts/slideLayout1.xml"/><Relationship Id="rId6" Type="http://schemas.openxmlformats.org/officeDocument/2006/relationships/slideLayout" Target="../slideLayouts/slideLayout6.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49" Type="http://schemas.openxmlformats.org/officeDocument/2006/relationships/tags" Target="../tags/tag18.xml"/><Relationship Id="rId114" Type="http://schemas.openxmlformats.org/officeDocument/2006/relationships/tags" Target="../tags/tag83.xml"/><Relationship Id="rId119" Type="http://schemas.openxmlformats.org/officeDocument/2006/relationships/tags" Target="../tags/tag88.xml"/><Relationship Id="rId44" Type="http://schemas.openxmlformats.org/officeDocument/2006/relationships/tags" Target="../tags/tag13.xml"/><Relationship Id="rId60" Type="http://schemas.openxmlformats.org/officeDocument/2006/relationships/tags" Target="../tags/tag29.xml"/><Relationship Id="rId65" Type="http://schemas.openxmlformats.org/officeDocument/2006/relationships/tags" Target="../tags/tag34.xml"/><Relationship Id="rId81" Type="http://schemas.openxmlformats.org/officeDocument/2006/relationships/tags" Target="../tags/tag50.xml"/><Relationship Id="rId86" Type="http://schemas.openxmlformats.org/officeDocument/2006/relationships/tags" Target="../tags/tag55.xml"/><Relationship Id="rId130" Type="http://schemas.openxmlformats.org/officeDocument/2006/relationships/tags" Target="../tags/tag99.xml"/><Relationship Id="rId135" Type="http://schemas.openxmlformats.org/officeDocument/2006/relationships/tags" Target="../tags/tag104.xml"/><Relationship Id="rId151" Type="http://schemas.openxmlformats.org/officeDocument/2006/relationships/tags" Target="../tags/tag120.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tags" Target="../tags/tag8.xml"/><Relationship Id="rId109" Type="http://schemas.openxmlformats.org/officeDocument/2006/relationships/tags" Target="../tags/tag78.xml"/><Relationship Id="rId34" Type="http://schemas.openxmlformats.org/officeDocument/2006/relationships/tags" Target="../tags/tag3.xml"/><Relationship Id="rId50" Type="http://schemas.openxmlformats.org/officeDocument/2006/relationships/tags" Target="../tags/tag19.xml"/><Relationship Id="rId55" Type="http://schemas.openxmlformats.org/officeDocument/2006/relationships/tags" Target="../tags/tag24.xml"/><Relationship Id="rId76" Type="http://schemas.openxmlformats.org/officeDocument/2006/relationships/tags" Target="../tags/tag45.xml"/><Relationship Id="rId97" Type="http://schemas.openxmlformats.org/officeDocument/2006/relationships/tags" Target="../tags/tag66.xml"/><Relationship Id="rId104" Type="http://schemas.openxmlformats.org/officeDocument/2006/relationships/tags" Target="../tags/tag73.xml"/><Relationship Id="rId120" Type="http://schemas.openxmlformats.org/officeDocument/2006/relationships/tags" Target="../tags/tag89.xml"/><Relationship Id="rId125" Type="http://schemas.openxmlformats.org/officeDocument/2006/relationships/tags" Target="../tags/tag94.xml"/><Relationship Id="rId141" Type="http://schemas.openxmlformats.org/officeDocument/2006/relationships/tags" Target="../tags/tag110.xml"/><Relationship Id="rId146" Type="http://schemas.openxmlformats.org/officeDocument/2006/relationships/tags" Target="../tags/tag115.xml"/><Relationship Id="rId7" Type="http://schemas.openxmlformats.org/officeDocument/2006/relationships/slideLayout" Target="../slideLayouts/slideLayout7.xml"/><Relationship Id="rId71" Type="http://schemas.openxmlformats.org/officeDocument/2006/relationships/tags" Target="../tags/tag40.xml"/><Relationship Id="rId92" Type="http://schemas.openxmlformats.org/officeDocument/2006/relationships/tags" Target="../tags/tag61.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tags" Target="../tags/tag9.xml"/><Relationship Id="rId45" Type="http://schemas.openxmlformats.org/officeDocument/2006/relationships/tags" Target="../tags/tag14.xml"/><Relationship Id="rId66" Type="http://schemas.openxmlformats.org/officeDocument/2006/relationships/tags" Target="../tags/tag35.xml"/><Relationship Id="rId87" Type="http://schemas.openxmlformats.org/officeDocument/2006/relationships/tags" Target="../tags/tag56.xml"/><Relationship Id="rId110" Type="http://schemas.openxmlformats.org/officeDocument/2006/relationships/tags" Target="../tags/tag79.xml"/><Relationship Id="rId115" Type="http://schemas.openxmlformats.org/officeDocument/2006/relationships/tags" Target="../tags/tag84.xml"/><Relationship Id="rId131" Type="http://schemas.openxmlformats.org/officeDocument/2006/relationships/tags" Target="../tags/tag100.xml"/><Relationship Id="rId136" Type="http://schemas.openxmlformats.org/officeDocument/2006/relationships/tags" Target="../tags/tag105.xml"/><Relationship Id="rId61" Type="http://schemas.openxmlformats.org/officeDocument/2006/relationships/tags" Target="../tags/tag30.xml"/><Relationship Id="rId82" Type="http://schemas.openxmlformats.org/officeDocument/2006/relationships/tags" Target="../tags/tag51.xml"/><Relationship Id="rId152" Type="http://schemas.openxmlformats.org/officeDocument/2006/relationships/tags" Target="../tags/tag12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30" Type="http://schemas.openxmlformats.org/officeDocument/2006/relationships/slideLayout" Target="../slideLayouts/slideLayout30.xml"/><Relationship Id="rId35" Type="http://schemas.openxmlformats.org/officeDocument/2006/relationships/tags" Target="../tags/tag4.xml"/><Relationship Id="rId56" Type="http://schemas.openxmlformats.org/officeDocument/2006/relationships/tags" Target="../tags/tag25.xml"/><Relationship Id="rId77" Type="http://schemas.openxmlformats.org/officeDocument/2006/relationships/tags" Target="../tags/tag46.xml"/><Relationship Id="rId100" Type="http://schemas.openxmlformats.org/officeDocument/2006/relationships/tags" Target="../tags/tag69.xml"/><Relationship Id="rId105" Type="http://schemas.openxmlformats.org/officeDocument/2006/relationships/tags" Target="../tags/tag74.xml"/><Relationship Id="rId126" Type="http://schemas.openxmlformats.org/officeDocument/2006/relationships/tags" Target="../tags/tag95.xml"/><Relationship Id="rId147" Type="http://schemas.openxmlformats.org/officeDocument/2006/relationships/tags" Target="../tags/tag116.xml"/><Relationship Id="rId8" Type="http://schemas.openxmlformats.org/officeDocument/2006/relationships/slideLayout" Target="../slideLayouts/slideLayout8.xml"/><Relationship Id="rId51" Type="http://schemas.openxmlformats.org/officeDocument/2006/relationships/tags" Target="../tags/tag20.xml"/><Relationship Id="rId72" Type="http://schemas.openxmlformats.org/officeDocument/2006/relationships/tags" Target="../tags/tag41.xml"/><Relationship Id="rId93" Type="http://schemas.openxmlformats.org/officeDocument/2006/relationships/tags" Target="../tags/tag62.xml"/><Relationship Id="rId98" Type="http://schemas.openxmlformats.org/officeDocument/2006/relationships/tags" Target="../tags/tag67.xml"/><Relationship Id="rId121" Type="http://schemas.openxmlformats.org/officeDocument/2006/relationships/tags" Target="../tags/tag90.xml"/><Relationship Id="rId142" Type="http://schemas.openxmlformats.org/officeDocument/2006/relationships/tags" Target="../tags/tag111.xml"/><Relationship Id="rId3" Type="http://schemas.openxmlformats.org/officeDocument/2006/relationships/slideLayout" Target="../slideLayouts/slideLayout3.xml"/><Relationship Id="rId25" Type="http://schemas.openxmlformats.org/officeDocument/2006/relationships/slideLayout" Target="../slideLayouts/slideLayout25.xml"/><Relationship Id="rId46" Type="http://schemas.openxmlformats.org/officeDocument/2006/relationships/tags" Target="../tags/tag15.xml"/><Relationship Id="rId67" Type="http://schemas.openxmlformats.org/officeDocument/2006/relationships/tags" Target="../tags/tag36.xml"/><Relationship Id="rId116" Type="http://schemas.openxmlformats.org/officeDocument/2006/relationships/tags" Target="../tags/tag85.xml"/><Relationship Id="rId137" Type="http://schemas.openxmlformats.org/officeDocument/2006/relationships/tags" Target="../tags/tag106.xml"/><Relationship Id="rId20" Type="http://schemas.openxmlformats.org/officeDocument/2006/relationships/slideLayout" Target="../slideLayouts/slideLayout20.xml"/><Relationship Id="rId41" Type="http://schemas.openxmlformats.org/officeDocument/2006/relationships/tags" Target="../tags/tag10.xml"/><Relationship Id="rId62" Type="http://schemas.openxmlformats.org/officeDocument/2006/relationships/tags" Target="../tags/tag31.xml"/><Relationship Id="rId83" Type="http://schemas.openxmlformats.org/officeDocument/2006/relationships/tags" Target="../tags/tag52.xml"/><Relationship Id="rId88" Type="http://schemas.openxmlformats.org/officeDocument/2006/relationships/tags" Target="../tags/tag57.xml"/><Relationship Id="rId111" Type="http://schemas.openxmlformats.org/officeDocument/2006/relationships/tags" Target="../tags/tag80.xml"/><Relationship Id="rId132" Type="http://schemas.openxmlformats.org/officeDocument/2006/relationships/tags" Target="../tags/tag101.xml"/><Relationship Id="rId153" Type="http://schemas.openxmlformats.org/officeDocument/2006/relationships/tags" Target="../tags/tag122.xml"/><Relationship Id="rId15" Type="http://schemas.openxmlformats.org/officeDocument/2006/relationships/slideLayout" Target="../slideLayouts/slideLayout15.xml"/><Relationship Id="rId36" Type="http://schemas.openxmlformats.org/officeDocument/2006/relationships/tags" Target="../tags/tag5.xml"/><Relationship Id="rId57" Type="http://schemas.openxmlformats.org/officeDocument/2006/relationships/tags" Target="../tags/tag26.xml"/><Relationship Id="rId106" Type="http://schemas.openxmlformats.org/officeDocument/2006/relationships/tags" Target="../tags/tag75.xml"/><Relationship Id="rId127" Type="http://schemas.openxmlformats.org/officeDocument/2006/relationships/tags" Target="../tags/tag96.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52" Type="http://schemas.openxmlformats.org/officeDocument/2006/relationships/tags" Target="../tags/tag21.xml"/><Relationship Id="rId73" Type="http://schemas.openxmlformats.org/officeDocument/2006/relationships/tags" Target="../tags/tag42.xml"/><Relationship Id="rId78" Type="http://schemas.openxmlformats.org/officeDocument/2006/relationships/tags" Target="../tags/tag47.xml"/><Relationship Id="rId94" Type="http://schemas.openxmlformats.org/officeDocument/2006/relationships/tags" Target="../tags/tag63.xml"/><Relationship Id="rId99" Type="http://schemas.openxmlformats.org/officeDocument/2006/relationships/tags" Target="../tags/tag68.xml"/><Relationship Id="rId101" Type="http://schemas.openxmlformats.org/officeDocument/2006/relationships/tags" Target="../tags/tag70.xml"/><Relationship Id="rId122" Type="http://schemas.openxmlformats.org/officeDocument/2006/relationships/tags" Target="../tags/tag91.xml"/><Relationship Id="rId143" Type="http://schemas.openxmlformats.org/officeDocument/2006/relationships/tags" Target="../tags/tag112.xml"/><Relationship Id="rId148" Type="http://schemas.openxmlformats.org/officeDocument/2006/relationships/tags" Target="../tags/tag117.xml"/><Relationship Id="rId4" Type="http://schemas.openxmlformats.org/officeDocument/2006/relationships/slideLayout" Target="../slideLayouts/slideLayout4.xml"/><Relationship Id="rId9" Type="http://schemas.openxmlformats.org/officeDocument/2006/relationships/slideLayout" Target="../slideLayouts/slideLayout9.xml"/><Relationship Id="rId26" Type="http://schemas.openxmlformats.org/officeDocument/2006/relationships/slideLayout" Target="../slideLayouts/slideLayout26.xml"/><Relationship Id="rId47" Type="http://schemas.openxmlformats.org/officeDocument/2006/relationships/tags" Target="../tags/tag16.xml"/><Relationship Id="rId68" Type="http://schemas.openxmlformats.org/officeDocument/2006/relationships/tags" Target="../tags/tag37.xml"/><Relationship Id="rId89" Type="http://schemas.openxmlformats.org/officeDocument/2006/relationships/tags" Target="../tags/tag58.xml"/><Relationship Id="rId112" Type="http://schemas.openxmlformats.org/officeDocument/2006/relationships/tags" Target="../tags/tag81.xml"/><Relationship Id="rId133" Type="http://schemas.openxmlformats.org/officeDocument/2006/relationships/tags" Target="../tags/tag102.xml"/><Relationship Id="rId154" Type="http://schemas.openxmlformats.org/officeDocument/2006/relationships/tags" Target="../tags/tag123.xml"/><Relationship Id="rId16" Type="http://schemas.openxmlformats.org/officeDocument/2006/relationships/slideLayout" Target="../slideLayouts/slideLayout16.xml"/><Relationship Id="rId37" Type="http://schemas.openxmlformats.org/officeDocument/2006/relationships/tags" Target="../tags/tag6.xml"/><Relationship Id="rId58" Type="http://schemas.openxmlformats.org/officeDocument/2006/relationships/tags" Target="../tags/tag27.xml"/><Relationship Id="rId79" Type="http://schemas.openxmlformats.org/officeDocument/2006/relationships/tags" Target="../tags/tag48.xml"/><Relationship Id="rId102" Type="http://schemas.openxmlformats.org/officeDocument/2006/relationships/tags" Target="../tags/tag71.xml"/><Relationship Id="rId123" Type="http://schemas.openxmlformats.org/officeDocument/2006/relationships/tags" Target="../tags/tag92.xml"/><Relationship Id="rId144" Type="http://schemas.openxmlformats.org/officeDocument/2006/relationships/tags" Target="../tags/tag113.xml"/><Relationship Id="rId90" Type="http://schemas.openxmlformats.org/officeDocument/2006/relationships/tags" Target="../tags/tag5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Background">
            <a:extLst>
              <a:ext uri="{FF2B5EF4-FFF2-40B4-BE49-F238E27FC236}">
                <a16:creationId xmlns:a16="http://schemas.microsoft.com/office/drawing/2014/main" id="{57293E41-954C-9E9C-7DE2-32FEDBD5A1C6}"/>
              </a:ext>
            </a:extLst>
          </p:cNvPr>
          <p:cNvSpPr/>
          <p:nvPr userDrawn="1"/>
        </p:nvSpPr>
        <p:spPr bwMode="gray">
          <a:xfrm>
            <a:off x="-1" y="0"/>
            <a:ext cx="12195175" cy="6858000"/>
          </a:xfrm>
          <a:prstGeom prst="rect">
            <a:avLst/>
          </a:prstGeom>
          <a:solidFill>
            <a:schemeClr val="bg1"/>
          </a:solidFill>
          <a:ln w="15238" cap="flat">
            <a:noFill/>
            <a:prstDash val="solid"/>
            <a:miter/>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a:ln>
                <a:noFill/>
              </a:ln>
              <a:effectLst/>
              <a:uLnTx/>
              <a:uFillTx/>
              <a:latin typeface="72 Brand" panose="020B0504030603020204" pitchFamily="34" charset="0"/>
              <a:ea typeface="Arial Unicode MS" pitchFamily="34" charset="-128"/>
              <a:cs typeface="Arial Unicode MS" pitchFamily="34" charset="-128"/>
            </a:endParaRPr>
          </a:p>
        </p:txBody>
      </p:sp>
      <p:sp>
        <p:nvSpPr>
          <p:cNvPr id="34" name="Slide number"/>
          <p:cNvSpPr txBox="1"/>
          <p:nvPr userDrawn="1"/>
        </p:nvSpPr>
        <p:spPr bwMode="black">
          <a:xfrm>
            <a:off x="11546207" y="6536751"/>
            <a:ext cx="144270" cy="138499"/>
          </a:xfrm>
          <a:prstGeom prst="rect">
            <a:avLst/>
          </a:prstGeom>
          <a:noFill/>
        </p:spPr>
        <p:txBody>
          <a:bodyPr wrap="none" lIns="0" tIns="0" rIns="0" bIns="0" rtlCol="0">
            <a:spAutoFit/>
          </a:bodyPr>
          <a:lstStyle>
            <a:defPPr>
              <a:defRPr lang="de-DE"/>
            </a:defPPr>
            <a:lvl1pPr marL="84138" indent="-84138">
              <a:buClr>
                <a:schemeClr val="tx1"/>
              </a:buClr>
              <a:buFont typeface="Arial" pitchFamily="34" charset="0"/>
              <a:buChar char="©"/>
              <a:tabLst/>
              <a:defRPr sz="600"/>
            </a:lvl1pPr>
          </a:lstStyle>
          <a:p>
            <a:pPr marL="0" lvl="0" indent="0" algn="r">
              <a:buNone/>
            </a:pPr>
            <a:fld id="{0BDC132A-5C91-4078-9777-31DA19A62E0A}" type="slidenum">
              <a:rPr lang="en-US" sz="900" b="0" i="0" noProof="0" smtClean="0">
                <a:latin typeface="+mn-lt"/>
              </a:rPr>
              <a:pPr marL="0" lvl="0" indent="0" algn="r">
                <a:buNone/>
              </a:pPr>
              <a:t>‹#›</a:t>
            </a:fld>
            <a:endParaRPr lang="en-US" sz="900" b="0" i="0" noProof="0">
              <a:latin typeface="+mn-lt"/>
            </a:endParaRPr>
          </a:p>
        </p:txBody>
      </p:sp>
      <p:sp>
        <p:nvSpPr>
          <p:cNvPr id="12" name="Copyright Placeholder" descr="{&quot;templafy&quot;:{&quot;id&quot;:&quot;1df0b5c3-c399-4d80-afa5-baa0f5e07b52&quot;}}">
            <a:extLst>
              <a:ext uri="{FF2B5EF4-FFF2-40B4-BE49-F238E27FC236}">
                <a16:creationId xmlns:a16="http://schemas.microsoft.com/office/drawing/2014/main" id="{539D88F9-B48F-F143-B90F-EDFB85A350E8}"/>
              </a:ext>
            </a:extLst>
          </p:cNvPr>
          <p:cNvSpPr txBox="1">
            <a:spLocks/>
          </p:cNvSpPr>
          <p:nvPr userDrawn="1"/>
        </p:nvSpPr>
        <p:spPr>
          <a:xfrm>
            <a:off x="504001" y="6536751"/>
            <a:ext cx="10155600" cy="138498"/>
          </a:xfrm>
          <a:prstGeom prst="rect">
            <a:avLst/>
          </a:prstGeom>
        </p:spPr>
        <p:txBody>
          <a:bodyPr lIns="0" tIns="0" rIns="0" bIns="0" anchor="ctr" anchorCtr="0">
            <a:noAutofit/>
          </a:bodyPr>
          <a:lstStyle>
            <a:lvl1pPr marL="0" indent="0" algn="l" defTabSz="1088558" rtl="0" eaLnBrk="1" latinLnBrk="0" hangingPunct="1">
              <a:spcBef>
                <a:spcPts val="1800"/>
              </a:spcBef>
              <a:buClr>
                <a:schemeClr val="accent1"/>
              </a:buClr>
              <a:buSzPct val="80000"/>
              <a:buFontTx/>
              <a:buNone/>
              <a:defRPr sz="6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539892" indent="0" algn="l" defTabSz="1088558" rtl="0" eaLnBrk="1" latinLnBrk="0" hangingPunct="1">
              <a:spcBef>
                <a:spcPts val="100"/>
              </a:spcBef>
              <a:buClr>
                <a:schemeClr val="tx1"/>
              </a:buClr>
              <a:buSzPct val="100000"/>
              <a:buFont typeface="Symbol" panose="05050102010706020507" pitchFamily="18" charset="2"/>
              <a:buNone/>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a:buFont typeface="Arial" panose="020B0604020202020204" pitchFamily="34" charset="0"/>
              <a:buNone/>
            </a:pPr>
            <a:r>
              <a:rPr lang="en-US" sz="600" b="0" i="0">
                <a:latin typeface="Arial" panose="020B0604020202020204" pitchFamily="34" charset="0"/>
              </a:rPr>
              <a:t>Customer &amp; SAP Only</a:t>
            </a:r>
          </a:p>
        </p:txBody>
      </p:sp>
      <p:sp>
        <p:nvSpPr>
          <p:cNvPr id="3" name="Text Placeholder"/>
          <p:cNvSpPr>
            <a:spLocks noGrp="1"/>
          </p:cNvSpPr>
          <p:nvPr userDrawn="1">
            <p:ph type="body" idx="1"/>
          </p:nvPr>
        </p:nvSpPr>
        <p:spPr bwMode="black">
          <a:xfrm>
            <a:off x="504001" y="1548560"/>
            <a:ext cx="11186476" cy="4716000"/>
          </a:xfrm>
          <a:prstGeom prst="rect">
            <a:avLst/>
          </a:prstGeom>
        </p:spPr>
        <p:txBody>
          <a:bodyPr vert="horz" lIns="0" tIns="0" rIns="0" bIns="0" rtlCol="0">
            <a:normAutofit/>
          </a:bodyPr>
          <a:lstStyle/>
          <a:p>
            <a:pPr lvl="0"/>
            <a:r>
              <a:rPr lang="en-US" noProof="0"/>
              <a:t>First level</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Title Placeholder"/>
          <p:cNvSpPr>
            <a:spLocks noGrp="1"/>
          </p:cNvSpPr>
          <p:nvPr userDrawn="1">
            <p:ph type="title"/>
          </p:nvPr>
        </p:nvSpPr>
        <p:spPr bwMode="black">
          <a:xfrm>
            <a:off x="504001" y="504000"/>
            <a:ext cx="11186476" cy="369332"/>
          </a:xfrm>
          <a:prstGeom prst="rect">
            <a:avLst/>
          </a:prstGeom>
        </p:spPr>
        <p:txBody>
          <a:bodyPr vert="horz" wrap="square" lIns="0" tIns="0" rIns="0" bIns="0" rtlCol="0" anchor="t" anchorCtr="0">
            <a:spAutoFit/>
          </a:bodyPr>
          <a:lstStyle/>
          <a:p>
            <a:r>
              <a:rPr lang="en-US" noProof="0"/>
              <a:t>Insert page title (sentence case)</a:t>
            </a:r>
          </a:p>
        </p:txBody>
      </p:sp>
      <p:grpSp>
        <p:nvGrpSpPr>
          <p:cNvPr id="6" name="Harvey 3" hidden="1">
            <a:extLst>
              <a:ext uri="{FF2B5EF4-FFF2-40B4-BE49-F238E27FC236}">
                <a16:creationId xmlns:a16="http://schemas.microsoft.com/office/drawing/2014/main" id="{B3E7C216-6801-4AB8-8D95-E7D60F39B210}"/>
              </a:ext>
            </a:extLst>
          </p:cNvPr>
          <p:cNvGrpSpPr>
            <a:grpSpLocks/>
          </p:cNvGrpSpPr>
          <p:nvPr userDrawn="1">
            <p:custDataLst>
              <p:tags r:id="rId33"/>
            </p:custDataLst>
          </p:nvPr>
        </p:nvGrpSpPr>
        <p:grpSpPr>
          <a:xfrm>
            <a:off x="3938798" y="3978000"/>
            <a:ext cx="1024878" cy="1024878"/>
            <a:chOff x="0" y="0"/>
            <a:chExt cx="914400" cy="914400"/>
          </a:xfrm>
          <a:solidFill>
            <a:schemeClr val="accent1"/>
          </a:solidFill>
        </p:grpSpPr>
        <p:sp>
          <p:nvSpPr>
            <p:cNvPr id="7" name="Harvey 0/3 [0]">
              <a:extLst>
                <a:ext uri="{FF2B5EF4-FFF2-40B4-BE49-F238E27FC236}">
                  <a16:creationId xmlns:a16="http://schemas.microsoft.com/office/drawing/2014/main" id="{FC8CECD5-A3FB-4DD5-A846-DC09FDB6EB04}"/>
                </a:ext>
              </a:extLst>
            </p:cNvPr>
            <p:cNvSpPr>
              <a:spLocks noChangeAspect="1"/>
            </p:cNvSpPr>
            <p:nvPr>
              <p:custDataLst>
                <p:tags r:id="rId152"/>
              </p:custDataLst>
            </p:nvPr>
          </p:nvSpPr>
          <p:spPr>
            <a:xfrm>
              <a:off x="0" y="0"/>
              <a:ext cx="914400" cy="914400"/>
            </a:xfrm>
            <a:custGeom>
              <a:avLst/>
              <a:gdLst/>
              <a:ahLst/>
              <a:cxnLst/>
              <a:rect l="l" t="t" r="r" b="b"/>
              <a:pathLst>
                <a:path w="635000" h="635000" fill="none">
                  <a:moveTo>
                    <a:pt x="317500" y="0"/>
                  </a:moveTo>
                  <a:arcTo wR="317500" hR="317500" stAng="-5400000" swAng="216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Arial" panose="020B0604020202020204" pitchFamily="34" charset="0"/>
              </a:endParaRPr>
            </a:p>
          </p:txBody>
        </p:sp>
        <p:sp>
          <p:nvSpPr>
            <p:cNvPr id="8" name="Harvey 1/3 [1]">
              <a:extLst>
                <a:ext uri="{FF2B5EF4-FFF2-40B4-BE49-F238E27FC236}">
                  <a16:creationId xmlns:a16="http://schemas.microsoft.com/office/drawing/2014/main" id="{750B853B-8389-4427-AFB9-1CE880FE9BEE}"/>
                </a:ext>
              </a:extLst>
            </p:cNvPr>
            <p:cNvSpPr>
              <a:spLocks noChangeAspect="1"/>
            </p:cNvSpPr>
            <p:nvPr>
              <p:custDataLst>
                <p:tags r:id="rId153"/>
              </p:custDataLst>
            </p:nvPr>
          </p:nvSpPr>
          <p:spPr>
            <a:xfrm>
              <a:off x="0" y="0"/>
              <a:ext cx="914400" cy="914400"/>
            </a:xfrm>
            <a:custGeom>
              <a:avLst/>
              <a:gdLst/>
              <a:ahLst/>
              <a:cxnLst/>
              <a:rect l="l" t="t" r="r" b="b"/>
              <a:pathLst>
                <a:path w="635000" h="635000">
                  <a:moveTo>
                    <a:pt x="317500" y="0"/>
                  </a:moveTo>
                  <a:arcTo wR="317500" hR="317500" stAng="16200000" swAng="7200000"/>
                  <a:lnTo>
                    <a:pt x="317500" y="317500"/>
                  </a:lnTo>
                  <a:close/>
                </a:path>
                <a:path w="635000" h="635000" fill="none">
                  <a:moveTo>
                    <a:pt x="592463" y="476249"/>
                  </a:moveTo>
                  <a:arcTo wR="317500" hR="317500" stAng="1800000" swAng="144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Arial" panose="020B0604020202020204" pitchFamily="34" charset="0"/>
              </a:endParaRPr>
            </a:p>
          </p:txBody>
        </p:sp>
        <p:sp>
          <p:nvSpPr>
            <p:cNvPr id="9" name="Harvey 2/3 [2]">
              <a:extLst>
                <a:ext uri="{FF2B5EF4-FFF2-40B4-BE49-F238E27FC236}">
                  <a16:creationId xmlns:a16="http://schemas.microsoft.com/office/drawing/2014/main" id="{0CA9A207-7055-4A72-8ED2-D82605C3D0C8}"/>
                </a:ext>
              </a:extLst>
            </p:cNvPr>
            <p:cNvSpPr>
              <a:spLocks noChangeAspect="1"/>
            </p:cNvSpPr>
            <p:nvPr>
              <p:custDataLst>
                <p:tags r:id="rId154"/>
              </p:custDataLst>
            </p:nvPr>
          </p:nvSpPr>
          <p:spPr>
            <a:xfrm>
              <a:off x="0" y="0"/>
              <a:ext cx="914400" cy="914400"/>
            </a:xfrm>
            <a:custGeom>
              <a:avLst/>
              <a:gdLst/>
              <a:ahLst/>
              <a:cxnLst/>
              <a:rect l="l" t="t" r="r" b="b"/>
              <a:pathLst>
                <a:path w="635000" h="635000">
                  <a:moveTo>
                    <a:pt x="317500" y="0"/>
                  </a:moveTo>
                  <a:arcTo wR="317500" hR="317500" stAng="16200000" swAng="14400000"/>
                  <a:lnTo>
                    <a:pt x="317500" y="317500"/>
                  </a:lnTo>
                  <a:close/>
                </a:path>
                <a:path w="635000" h="635000" fill="none">
                  <a:moveTo>
                    <a:pt x="42536" y="476250"/>
                  </a:moveTo>
                  <a:arcTo wR="317500" hR="317500" stAng="9000000" swAng="72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Arial" panose="020B0604020202020204" pitchFamily="34" charset="0"/>
              </a:endParaRPr>
            </a:p>
          </p:txBody>
        </p:sp>
        <p:sp>
          <p:nvSpPr>
            <p:cNvPr id="10" name="Harvey 3/3 [3]">
              <a:extLst>
                <a:ext uri="{FF2B5EF4-FFF2-40B4-BE49-F238E27FC236}">
                  <a16:creationId xmlns:a16="http://schemas.microsoft.com/office/drawing/2014/main" id="{4422C816-875A-41F5-9DC0-8DBAE4C5C6CB}"/>
                </a:ext>
              </a:extLst>
            </p:cNvPr>
            <p:cNvSpPr>
              <a:spLocks noChangeAspect="1"/>
            </p:cNvSpPr>
            <p:nvPr>
              <p:custDataLst>
                <p:tags r:id="rId155"/>
              </p:custDataLst>
            </p:nvPr>
          </p:nvSpPr>
          <p:spPr>
            <a:xfrm>
              <a:off x="0" y="0"/>
              <a:ext cx="914400" cy="914400"/>
            </a:xfrm>
            <a:custGeom>
              <a:avLst/>
              <a:gdLst/>
              <a:ahLst/>
              <a:cxnLst/>
              <a:rect l="l" t="t" r="r" b="b"/>
              <a:pathLst>
                <a:path w="635000" h="635000">
                  <a:moveTo>
                    <a:pt x="317500" y="0"/>
                  </a:moveTo>
                  <a:arcTo wR="317500" hR="317500" stAng="16200000" swAng="21600000"/>
                  <a:close/>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Arial" panose="020B0604020202020204" pitchFamily="34" charset="0"/>
              </a:endParaRPr>
            </a:p>
          </p:txBody>
        </p:sp>
      </p:grpSp>
      <p:grpSp>
        <p:nvGrpSpPr>
          <p:cNvPr id="11" name="Harvey 4" hidden="1">
            <a:extLst>
              <a:ext uri="{FF2B5EF4-FFF2-40B4-BE49-F238E27FC236}">
                <a16:creationId xmlns:a16="http://schemas.microsoft.com/office/drawing/2014/main" id="{DDC5C333-7028-4F79-8940-98DC17723588}"/>
              </a:ext>
            </a:extLst>
          </p:cNvPr>
          <p:cNvGrpSpPr>
            <a:grpSpLocks/>
          </p:cNvGrpSpPr>
          <p:nvPr userDrawn="1">
            <p:custDataLst>
              <p:tags r:id="rId34"/>
            </p:custDataLst>
          </p:nvPr>
        </p:nvGrpSpPr>
        <p:grpSpPr>
          <a:xfrm>
            <a:off x="5391506" y="3978000"/>
            <a:ext cx="1024878" cy="1024878"/>
            <a:chOff x="0" y="0"/>
            <a:chExt cx="914400" cy="914400"/>
          </a:xfrm>
          <a:solidFill>
            <a:schemeClr val="accent1"/>
          </a:solidFill>
        </p:grpSpPr>
        <p:sp>
          <p:nvSpPr>
            <p:cNvPr id="13" name="Harvey 0/4 [0]">
              <a:extLst>
                <a:ext uri="{FF2B5EF4-FFF2-40B4-BE49-F238E27FC236}">
                  <a16:creationId xmlns:a16="http://schemas.microsoft.com/office/drawing/2014/main" id="{70B331E2-39A8-4BAF-8DDD-C631B51EB56E}"/>
                </a:ext>
              </a:extLst>
            </p:cNvPr>
            <p:cNvSpPr>
              <a:spLocks noChangeAspect="1"/>
            </p:cNvSpPr>
            <p:nvPr>
              <p:custDataLst>
                <p:tags r:id="rId147"/>
              </p:custDataLst>
            </p:nvPr>
          </p:nvSpPr>
          <p:spPr>
            <a:xfrm>
              <a:off x="0" y="0"/>
              <a:ext cx="914400" cy="914400"/>
            </a:xfrm>
            <a:custGeom>
              <a:avLst/>
              <a:gdLst/>
              <a:ahLst/>
              <a:cxnLst/>
              <a:rect l="l" t="t" r="r" b="b"/>
              <a:pathLst>
                <a:path w="635000" h="635000" fill="none">
                  <a:moveTo>
                    <a:pt x="317500" y="0"/>
                  </a:moveTo>
                  <a:arcTo wR="317500" hR="317500" stAng="-5400000" swAng="216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Arial" panose="020B0604020202020204" pitchFamily="34" charset="0"/>
              </a:endParaRPr>
            </a:p>
          </p:txBody>
        </p:sp>
        <p:sp>
          <p:nvSpPr>
            <p:cNvPr id="14" name="Harvey 1/4 [1]">
              <a:extLst>
                <a:ext uri="{FF2B5EF4-FFF2-40B4-BE49-F238E27FC236}">
                  <a16:creationId xmlns:a16="http://schemas.microsoft.com/office/drawing/2014/main" id="{47F66FBA-2801-4875-BD13-0BF512FC3C6A}"/>
                </a:ext>
              </a:extLst>
            </p:cNvPr>
            <p:cNvSpPr>
              <a:spLocks noChangeAspect="1"/>
            </p:cNvSpPr>
            <p:nvPr>
              <p:custDataLst>
                <p:tags r:id="rId148"/>
              </p:custDataLst>
            </p:nvPr>
          </p:nvSpPr>
          <p:spPr>
            <a:xfrm>
              <a:off x="0" y="0"/>
              <a:ext cx="914400" cy="914400"/>
            </a:xfrm>
            <a:custGeom>
              <a:avLst/>
              <a:gdLst/>
              <a:ahLst/>
              <a:cxnLst/>
              <a:rect l="l" t="t" r="r" b="b"/>
              <a:pathLst>
                <a:path w="635000" h="635000">
                  <a:moveTo>
                    <a:pt x="317500" y="0"/>
                  </a:moveTo>
                  <a:arcTo wR="317500" hR="317500" stAng="16200000" swAng="5400000"/>
                  <a:lnTo>
                    <a:pt x="317500" y="317500"/>
                  </a:lnTo>
                  <a:close/>
                </a:path>
                <a:path w="635000" h="635000" fill="none">
                  <a:moveTo>
                    <a:pt x="635000" y="317500"/>
                  </a:moveTo>
                  <a:arcTo wR="317500" hR="317500" stAng="0" swAng="162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Arial" panose="020B0604020202020204" pitchFamily="34" charset="0"/>
              </a:endParaRPr>
            </a:p>
          </p:txBody>
        </p:sp>
        <p:sp>
          <p:nvSpPr>
            <p:cNvPr id="15" name="Harvey 2/4 [2]">
              <a:extLst>
                <a:ext uri="{FF2B5EF4-FFF2-40B4-BE49-F238E27FC236}">
                  <a16:creationId xmlns:a16="http://schemas.microsoft.com/office/drawing/2014/main" id="{99673DAB-5272-45DC-B222-CA8CAA9FD2BB}"/>
                </a:ext>
              </a:extLst>
            </p:cNvPr>
            <p:cNvSpPr>
              <a:spLocks noChangeAspect="1"/>
            </p:cNvSpPr>
            <p:nvPr>
              <p:custDataLst>
                <p:tags r:id="rId149"/>
              </p:custDataLst>
            </p:nvPr>
          </p:nvSpPr>
          <p:spPr>
            <a:xfrm>
              <a:off x="0" y="0"/>
              <a:ext cx="914400" cy="914400"/>
            </a:xfrm>
            <a:custGeom>
              <a:avLst/>
              <a:gdLst/>
              <a:ahLst/>
              <a:cxnLst/>
              <a:rect l="l" t="t" r="r" b="b"/>
              <a:pathLst>
                <a:path w="635000" h="635000">
                  <a:moveTo>
                    <a:pt x="317500" y="0"/>
                  </a:moveTo>
                  <a:arcTo wR="317500" hR="317500" stAng="16200000" swAng="10800000"/>
                  <a:lnTo>
                    <a:pt x="317500" y="317500"/>
                  </a:lnTo>
                  <a:close/>
                </a:path>
                <a:path w="635000" h="635000" fill="none">
                  <a:moveTo>
                    <a:pt x="317500" y="635000"/>
                  </a:moveTo>
                  <a:arcTo wR="317500" hR="317500" stAng="5400000" swAng="108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Arial" panose="020B0604020202020204" pitchFamily="34" charset="0"/>
              </a:endParaRPr>
            </a:p>
          </p:txBody>
        </p:sp>
        <p:sp>
          <p:nvSpPr>
            <p:cNvPr id="16" name="Harvey 3/4 [3]">
              <a:extLst>
                <a:ext uri="{FF2B5EF4-FFF2-40B4-BE49-F238E27FC236}">
                  <a16:creationId xmlns:a16="http://schemas.microsoft.com/office/drawing/2014/main" id="{F9B9444B-C98D-45FC-BA92-881D06827328}"/>
                </a:ext>
              </a:extLst>
            </p:cNvPr>
            <p:cNvSpPr>
              <a:spLocks noChangeAspect="1"/>
            </p:cNvSpPr>
            <p:nvPr>
              <p:custDataLst>
                <p:tags r:id="rId150"/>
              </p:custDataLst>
            </p:nvPr>
          </p:nvSpPr>
          <p:spPr>
            <a:xfrm>
              <a:off x="0" y="0"/>
              <a:ext cx="914400" cy="914400"/>
            </a:xfrm>
            <a:custGeom>
              <a:avLst/>
              <a:gdLst/>
              <a:ahLst/>
              <a:cxnLst/>
              <a:rect l="l" t="t" r="r" b="b"/>
              <a:pathLst>
                <a:path w="635000" h="635000">
                  <a:moveTo>
                    <a:pt x="317500" y="0"/>
                  </a:moveTo>
                  <a:arcTo wR="317500" hR="317500" stAng="16200000" swAng="16200000"/>
                  <a:lnTo>
                    <a:pt x="317500" y="317500"/>
                  </a:lnTo>
                  <a:close/>
                </a:path>
                <a:path w="635000" h="635000" fill="none">
                  <a:moveTo>
                    <a:pt x="0" y="317500"/>
                  </a:moveTo>
                  <a:arcTo wR="317500" hR="317500" stAng="10800000" swAng="54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Arial" panose="020B0604020202020204" pitchFamily="34" charset="0"/>
              </a:endParaRPr>
            </a:p>
          </p:txBody>
        </p:sp>
        <p:sp>
          <p:nvSpPr>
            <p:cNvPr id="17" name="Harvey 4/4 [4]">
              <a:extLst>
                <a:ext uri="{FF2B5EF4-FFF2-40B4-BE49-F238E27FC236}">
                  <a16:creationId xmlns:a16="http://schemas.microsoft.com/office/drawing/2014/main" id="{5FFB853D-F550-4F16-8269-A070A19E381C}"/>
                </a:ext>
              </a:extLst>
            </p:cNvPr>
            <p:cNvSpPr>
              <a:spLocks noChangeAspect="1"/>
            </p:cNvSpPr>
            <p:nvPr>
              <p:custDataLst>
                <p:tags r:id="rId151"/>
              </p:custDataLst>
            </p:nvPr>
          </p:nvSpPr>
          <p:spPr>
            <a:xfrm>
              <a:off x="0" y="0"/>
              <a:ext cx="914400" cy="914400"/>
            </a:xfrm>
            <a:custGeom>
              <a:avLst/>
              <a:gdLst/>
              <a:ahLst/>
              <a:cxnLst/>
              <a:rect l="l" t="t" r="r" b="b"/>
              <a:pathLst>
                <a:path w="635000" h="635000">
                  <a:moveTo>
                    <a:pt x="317500" y="0"/>
                  </a:moveTo>
                  <a:arcTo wR="317500" hR="317500" stAng="16200000" swAng="21600000"/>
                  <a:close/>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Arial" panose="020B0604020202020204" pitchFamily="34" charset="0"/>
              </a:endParaRPr>
            </a:p>
          </p:txBody>
        </p:sp>
      </p:grpSp>
      <p:grpSp>
        <p:nvGrpSpPr>
          <p:cNvPr id="18" name="Harvey 8" hidden="1">
            <a:extLst>
              <a:ext uri="{FF2B5EF4-FFF2-40B4-BE49-F238E27FC236}">
                <a16:creationId xmlns:a16="http://schemas.microsoft.com/office/drawing/2014/main" id="{0630AB66-7B5F-41CE-A2EB-2EB4C67794AE}"/>
              </a:ext>
            </a:extLst>
          </p:cNvPr>
          <p:cNvGrpSpPr>
            <a:grpSpLocks/>
          </p:cNvGrpSpPr>
          <p:nvPr userDrawn="1">
            <p:custDataLst>
              <p:tags r:id="rId35"/>
            </p:custDataLst>
          </p:nvPr>
        </p:nvGrpSpPr>
        <p:grpSpPr>
          <a:xfrm>
            <a:off x="6844214" y="3978000"/>
            <a:ext cx="1024878" cy="1024878"/>
            <a:chOff x="0" y="0"/>
            <a:chExt cx="914400" cy="914400"/>
          </a:xfrm>
          <a:solidFill>
            <a:schemeClr val="accent1"/>
          </a:solidFill>
        </p:grpSpPr>
        <p:sp>
          <p:nvSpPr>
            <p:cNvPr id="19" name="Harvey 0/8 [0]">
              <a:extLst>
                <a:ext uri="{FF2B5EF4-FFF2-40B4-BE49-F238E27FC236}">
                  <a16:creationId xmlns:a16="http://schemas.microsoft.com/office/drawing/2014/main" id="{051D5678-1EFE-40CF-8563-B5E9EA35A271}"/>
                </a:ext>
              </a:extLst>
            </p:cNvPr>
            <p:cNvSpPr>
              <a:spLocks noChangeAspect="1"/>
            </p:cNvSpPr>
            <p:nvPr>
              <p:custDataLst>
                <p:tags r:id="rId138"/>
              </p:custDataLst>
            </p:nvPr>
          </p:nvSpPr>
          <p:spPr>
            <a:xfrm>
              <a:off x="0" y="0"/>
              <a:ext cx="914400" cy="914400"/>
            </a:xfrm>
            <a:custGeom>
              <a:avLst/>
              <a:gdLst/>
              <a:ahLst/>
              <a:cxnLst/>
              <a:rect l="l" t="t" r="r" b="b"/>
              <a:pathLst>
                <a:path w="635000" h="635000" fill="none">
                  <a:moveTo>
                    <a:pt x="317500" y="0"/>
                  </a:moveTo>
                  <a:arcTo wR="317500" hR="317500" stAng="-5400000" swAng="216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Arial" panose="020B0604020202020204" pitchFamily="34" charset="0"/>
              </a:endParaRPr>
            </a:p>
          </p:txBody>
        </p:sp>
        <p:sp>
          <p:nvSpPr>
            <p:cNvPr id="20" name="Harvey 1/8 [1]">
              <a:extLst>
                <a:ext uri="{FF2B5EF4-FFF2-40B4-BE49-F238E27FC236}">
                  <a16:creationId xmlns:a16="http://schemas.microsoft.com/office/drawing/2014/main" id="{E5DDEB4B-B8B3-42DA-AF30-4FD0A1770D91}"/>
                </a:ext>
              </a:extLst>
            </p:cNvPr>
            <p:cNvSpPr>
              <a:spLocks noChangeAspect="1"/>
            </p:cNvSpPr>
            <p:nvPr>
              <p:custDataLst>
                <p:tags r:id="rId139"/>
              </p:custDataLst>
            </p:nvPr>
          </p:nvSpPr>
          <p:spPr>
            <a:xfrm>
              <a:off x="0" y="0"/>
              <a:ext cx="914400" cy="914400"/>
            </a:xfrm>
            <a:custGeom>
              <a:avLst/>
              <a:gdLst/>
              <a:ahLst/>
              <a:cxnLst/>
              <a:rect l="l" t="t" r="r" b="b"/>
              <a:pathLst>
                <a:path w="635000" h="635000">
                  <a:moveTo>
                    <a:pt x="317500" y="0"/>
                  </a:moveTo>
                  <a:arcTo wR="317500" hR="317500" stAng="16200000" swAng="2700000"/>
                  <a:lnTo>
                    <a:pt x="317500" y="317500"/>
                  </a:lnTo>
                  <a:close/>
                </a:path>
                <a:path w="635000" h="635000" fill="none">
                  <a:moveTo>
                    <a:pt x="542006" y="92993"/>
                  </a:moveTo>
                  <a:arcTo wR="317500" hR="317500" stAng="-2700000" swAng="189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Arial" panose="020B0604020202020204" pitchFamily="34" charset="0"/>
              </a:endParaRPr>
            </a:p>
          </p:txBody>
        </p:sp>
        <p:sp>
          <p:nvSpPr>
            <p:cNvPr id="21" name="Harvey 2/8 [2]">
              <a:extLst>
                <a:ext uri="{FF2B5EF4-FFF2-40B4-BE49-F238E27FC236}">
                  <a16:creationId xmlns:a16="http://schemas.microsoft.com/office/drawing/2014/main" id="{FB9200C4-0418-4CEF-BBB8-18F997AD7CA8}"/>
                </a:ext>
              </a:extLst>
            </p:cNvPr>
            <p:cNvSpPr>
              <a:spLocks noChangeAspect="1"/>
            </p:cNvSpPr>
            <p:nvPr>
              <p:custDataLst>
                <p:tags r:id="rId140"/>
              </p:custDataLst>
            </p:nvPr>
          </p:nvSpPr>
          <p:spPr>
            <a:xfrm>
              <a:off x="0" y="0"/>
              <a:ext cx="914400" cy="914400"/>
            </a:xfrm>
            <a:custGeom>
              <a:avLst/>
              <a:gdLst/>
              <a:ahLst/>
              <a:cxnLst/>
              <a:rect l="l" t="t" r="r" b="b"/>
              <a:pathLst>
                <a:path w="635000" h="635000">
                  <a:moveTo>
                    <a:pt x="317500" y="0"/>
                  </a:moveTo>
                  <a:arcTo wR="317500" hR="317500" stAng="16200000" swAng="5400000"/>
                  <a:lnTo>
                    <a:pt x="317500" y="317500"/>
                  </a:lnTo>
                  <a:close/>
                </a:path>
                <a:path w="635000" h="635000" fill="none">
                  <a:moveTo>
                    <a:pt x="635000" y="317500"/>
                  </a:moveTo>
                  <a:arcTo wR="317500" hR="317500" stAng="0" swAng="162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Arial" panose="020B0604020202020204" pitchFamily="34" charset="0"/>
              </a:endParaRPr>
            </a:p>
          </p:txBody>
        </p:sp>
        <p:sp>
          <p:nvSpPr>
            <p:cNvPr id="22" name="Harvey 3/8 [3]">
              <a:extLst>
                <a:ext uri="{FF2B5EF4-FFF2-40B4-BE49-F238E27FC236}">
                  <a16:creationId xmlns:a16="http://schemas.microsoft.com/office/drawing/2014/main" id="{8E4DE7E8-0809-4E2E-BE6A-E989A6AEBF62}"/>
                </a:ext>
              </a:extLst>
            </p:cNvPr>
            <p:cNvSpPr>
              <a:spLocks noChangeAspect="1"/>
            </p:cNvSpPr>
            <p:nvPr>
              <p:custDataLst>
                <p:tags r:id="rId141"/>
              </p:custDataLst>
            </p:nvPr>
          </p:nvSpPr>
          <p:spPr>
            <a:xfrm>
              <a:off x="0" y="0"/>
              <a:ext cx="914400" cy="914400"/>
            </a:xfrm>
            <a:custGeom>
              <a:avLst/>
              <a:gdLst/>
              <a:ahLst/>
              <a:cxnLst/>
              <a:rect l="l" t="t" r="r" b="b"/>
              <a:pathLst>
                <a:path w="635000" h="635000">
                  <a:moveTo>
                    <a:pt x="317500" y="0"/>
                  </a:moveTo>
                  <a:arcTo wR="317500" hR="317500" stAng="16200000" swAng="8100000"/>
                  <a:lnTo>
                    <a:pt x="317500" y="317500"/>
                  </a:lnTo>
                  <a:close/>
                </a:path>
                <a:path w="635000" h="635000" fill="none">
                  <a:moveTo>
                    <a:pt x="542006" y="542006"/>
                  </a:moveTo>
                  <a:arcTo wR="317500" hR="317500" stAng="2700000" swAng="135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Arial" panose="020B0604020202020204" pitchFamily="34" charset="0"/>
              </a:endParaRPr>
            </a:p>
          </p:txBody>
        </p:sp>
        <p:sp>
          <p:nvSpPr>
            <p:cNvPr id="23" name="Harvey 4/8 [4]">
              <a:extLst>
                <a:ext uri="{FF2B5EF4-FFF2-40B4-BE49-F238E27FC236}">
                  <a16:creationId xmlns:a16="http://schemas.microsoft.com/office/drawing/2014/main" id="{F839E6A9-0DED-402B-8F4C-2176769B55CD}"/>
                </a:ext>
              </a:extLst>
            </p:cNvPr>
            <p:cNvSpPr>
              <a:spLocks noChangeAspect="1"/>
            </p:cNvSpPr>
            <p:nvPr>
              <p:custDataLst>
                <p:tags r:id="rId142"/>
              </p:custDataLst>
            </p:nvPr>
          </p:nvSpPr>
          <p:spPr>
            <a:xfrm>
              <a:off x="0" y="0"/>
              <a:ext cx="914400" cy="914400"/>
            </a:xfrm>
            <a:custGeom>
              <a:avLst/>
              <a:gdLst/>
              <a:ahLst/>
              <a:cxnLst/>
              <a:rect l="l" t="t" r="r" b="b"/>
              <a:pathLst>
                <a:path w="635000" h="635000">
                  <a:moveTo>
                    <a:pt x="317500" y="0"/>
                  </a:moveTo>
                  <a:arcTo wR="317500" hR="317500" stAng="16200000" swAng="10800000"/>
                  <a:lnTo>
                    <a:pt x="317500" y="317500"/>
                  </a:lnTo>
                  <a:close/>
                </a:path>
                <a:path w="635000" h="635000" fill="none">
                  <a:moveTo>
                    <a:pt x="317500" y="635000"/>
                  </a:moveTo>
                  <a:arcTo wR="317500" hR="317500" stAng="5400000" swAng="108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Arial" panose="020B0604020202020204" pitchFamily="34" charset="0"/>
              </a:endParaRPr>
            </a:p>
          </p:txBody>
        </p:sp>
        <p:sp>
          <p:nvSpPr>
            <p:cNvPr id="24" name="Harvey 5/8 [5]">
              <a:extLst>
                <a:ext uri="{FF2B5EF4-FFF2-40B4-BE49-F238E27FC236}">
                  <a16:creationId xmlns:a16="http://schemas.microsoft.com/office/drawing/2014/main" id="{C3EE8663-AD08-4237-8344-6543EC4B688C}"/>
                </a:ext>
              </a:extLst>
            </p:cNvPr>
            <p:cNvSpPr>
              <a:spLocks noChangeAspect="1"/>
            </p:cNvSpPr>
            <p:nvPr>
              <p:custDataLst>
                <p:tags r:id="rId143"/>
              </p:custDataLst>
            </p:nvPr>
          </p:nvSpPr>
          <p:spPr>
            <a:xfrm>
              <a:off x="0" y="0"/>
              <a:ext cx="914400" cy="914400"/>
            </a:xfrm>
            <a:custGeom>
              <a:avLst/>
              <a:gdLst/>
              <a:ahLst/>
              <a:cxnLst/>
              <a:rect l="l" t="t" r="r" b="b"/>
              <a:pathLst>
                <a:path w="635000" h="635000">
                  <a:moveTo>
                    <a:pt x="317500" y="0"/>
                  </a:moveTo>
                  <a:arcTo wR="317500" hR="317500" stAng="16200000" swAng="13500000"/>
                  <a:lnTo>
                    <a:pt x="317500" y="317500"/>
                  </a:lnTo>
                  <a:close/>
                </a:path>
                <a:path w="635000" h="635000" fill="none">
                  <a:moveTo>
                    <a:pt x="92993" y="542006"/>
                  </a:moveTo>
                  <a:arcTo wR="317500" hR="317500" stAng="8100000" swAng="81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Arial" panose="020B0604020202020204" pitchFamily="34" charset="0"/>
              </a:endParaRPr>
            </a:p>
          </p:txBody>
        </p:sp>
        <p:sp>
          <p:nvSpPr>
            <p:cNvPr id="25" name="Harvey 6/8 [6]">
              <a:extLst>
                <a:ext uri="{FF2B5EF4-FFF2-40B4-BE49-F238E27FC236}">
                  <a16:creationId xmlns:a16="http://schemas.microsoft.com/office/drawing/2014/main" id="{ADE6F931-D156-4E59-A3ED-0B14B5F0EF7E}"/>
                </a:ext>
              </a:extLst>
            </p:cNvPr>
            <p:cNvSpPr>
              <a:spLocks noChangeAspect="1"/>
            </p:cNvSpPr>
            <p:nvPr>
              <p:custDataLst>
                <p:tags r:id="rId144"/>
              </p:custDataLst>
            </p:nvPr>
          </p:nvSpPr>
          <p:spPr>
            <a:xfrm>
              <a:off x="0" y="0"/>
              <a:ext cx="914400" cy="914400"/>
            </a:xfrm>
            <a:custGeom>
              <a:avLst/>
              <a:gdLst/>
              <a:ahLst/>
              <a:cxnLst/>
              <a:rect l="l" t="t" r="r" b="b"/>
              <a:pathLst>
                <a:path w="635000" h="635000">
                  <a:moveTo>
                    <a:pt x="317500" y="0"/>
                  </a:moveTo>
                  <a:arcTo wR="317500" hR="317500" stAng="16200000" swAng="16200000"/>
                  <a:lnTo>
                    <a:pt x="317500" y="317500"/>
                  </a:lnTo>
                  <a:close/>
                </a:path>
                <a:path w="635000" h="635000" fill="none">
                  <a:moveTo>
                    <a:pt x="0" y="317500"/>
                  </a:moveTo>
                  <a:arcTo wR="317500" hR="317500" stAng="10800000" swAng="54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Arial" panose="020B0604020202020204" pitchFamily="34" charset="0"/>
              </a:endParaRPr>
            </a:p>
          </p:txBody>
        </p:sp>
        <p:sp>
          <p:nvSpPr>
            <p:cNvPr id="26" name="Harvey 7/8 [7]">
              <a:extLst>
                <a:ext uri="{FF2B5EF4-FFF2-40B4-BE49-F238E27FC236}">
                  <a16:creationId xmlns:a16="http://schemas.microsoft.com/office/drawing/2014/main" id="{A36821AE-2FF1-4F6E-AAF3-1BEA6AE153B8}"/>
                </a:ext>
              </a:extLst>
            </p:cNvPr>
            <p:cNvSpPr>
              <a:spLocks noChangeAspect="1"/>
            </p:cNvSpPr>
            <p:nvPr>
              <p:custDataLst>
                <p:tags r:id="rId145"/>
              </p:custDataLst>
            </p:nvPr>
          </p:nvSpPr>
          <p:spPr>
            <a:xfrm>
              <a:off x="0" y="0"/>
              <a:ext cx="914400" cy="914400"/>
            </a:xfrm>
            <a:custGeom>
              <a:avLst/>
              <a:gdLst/>
              <a:ahLst/>
              <a:cxnLst/>
              <a:rect l="l" t="t" r="r" b="b"/>
              <a:pathLst>
                <a:path w="635000" h="635000">
                  <a:moveTo>
                    <a:pt x="317500" y="0"/>
                  </a:moveTo>
                  <a:arcTo wR="317500" hR="317500" stAng="16200000" swAng="18900000"/>
                  <a:lnTo>
                    <a:pt x="317500" y="317500"/>
                  </a:lnTo>
                  <a:close/>
                </a:path>
                <a:path w="635000" h="635000" fill="none">
                  <a:moveTo>
                    <a:pt x="92993" y="92993"/>
                  </a:moveTo>
                  <a:arcTo wR="317500" hR="317500" stAng="13500000" swAng="27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Arial" panose="020B0604020202020204" pitchFamily="34" charset="0"/>
              </a:endParaRPr>
            </a:p>
          </p:txBody>
        </p:sp>
        <p:sp>
          <p:nvSpPr>
            <p:cNvPr id="27" name="Harvey 8/8 [8]">
              <a:extLst>
                <a:ext uri="{FF2B5EF4-FFF2-40B4-BE49-F238E27FC236}">
                  <a16:creationId xmlns:a16="http://schemas.microsoft.com/office/drawing/2014/main" id="{2D277E47-45D5-4503-8443-BED560C6560A}"/>
                </a:ext>
              </a:extLst>
            </p:cNvPr>
            <p:cNvSpPr>
              <a:spLocks noChangeAspect="1"/>
            </p:cNvSpPr>
            <p:nvPr>
              <p:custDataLst>
                <p:tags r:id="rId146"/>
              </p:custDataLst>
            </p:nvPr>
          </p:nvSpPr>
          <p:spPr>
            <a:xfrm>
              <a:off x="0" y="0"/>
              <a:ext cx="914400" cy="914400"/>
            </a:xfrm>
            <a:custGeom>
              <a:avLst/>
              <a:gdLst/>
              <a:ahLst/>
              <a:cxnLst/>
              <a:rect l="l" t="t" r="r" b="b"/>
              <a:pathLst>
                <a:path w="635000" h="635000">
                  <a:moveTo>
                    <a:pt x="317500" y="0"/>
                  </a:moveTo>
                  <a:arcTo wR="317500" hR="317500" stAng="16200000" swAng="21600000"/>
                  <a:close/>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Arial" panose="020B0604020202020204" pitchFamily="34" charset="0"/>
              </a:endParaRPr>
            </a:p>
          </p:txBody>
        </p:sp>
      </p:grpSp>
      <p:grpSp>
        <p:nvGrpSpPr>
          <p:cNvPr id="28" name="Harvey 100" hidden="1">
            <a:extLst>
              <a:ext uri="{FF2B5EF4-FFF2-40B4-BE49-F238E27FC236}">
                <a16:creationId xmlns:a16="http://schemas.microsoft.com/office/drawing/2014/main" id="{6D5D9337-395C-4FE4-97E6-E1CD47A644E9}"/>
              </a:ext>
            </a:extLst>
          </p:cNvPr>
          <p:cNvGrpSpPr/>
          <p:nvPr userDrawn="1">
            <p:custDataLst>
              <p:tags r:id="rId36"/>
            </p:custDataLst>
          </p:nvPr>
        </p:nvGrpSpPr>
        <p:grpSpPr>
          <a:xfrm>
            <a:off x="8296922" y="3978000"/>
            <a:ext cx="1024878" cy="1024878"/>
            <a:chOff x="4334905" y="3282696"/>
            <a:chExt cx="292608" cy="292608"/>
          </a:xfrm>
          <a:solidFill>
            <a:schemeClr val="accent1"/>
          </a:solidFill>
        </p:grpSpPr>
        <p:sp>
          <p:nvSpPr>
            <p:cNvPr id="29" name="Harvey 0/100 [0]">
              <a:extLst>
                <a:ext uri="{FF2B5EF4-FFF2-40B4-BE49-F238E27FC236}">
                  <a16:creationId xmlns:a16="http://schemas.microsoft.com/office/drawing/2014/main" id="{C2D4C837-2D4B-4D6B-81F8-9B001989609B}"/>
                </a:ext>
              </a:extLst>
            </p:cNvPr>
            <p:cNvSpPr>
              <a:spLocks noChangeAspect="1"/>
            </p:cNvSpPr>
            <p:nvPr>
              <p:custDataLst>
                <p:tags r:id="rId37"/>
              </p:custDataLst>
            </p:nvPr>
          </p:nvSpPr>
          <p:spPr>
            <a:xfrm>
              <a:off x="4334905" y="3282696"/>
              <a:ext cx="292608" cy="292608"/>
            </a:xfrm>
            <a:custGeom>
              <a:avLst/>
              <a:gdLst/>
              <a:ahLst/>
              <a:cxnLst/>
              <a:rect l="l" t="t" r="r" b="b"/>
              <a:pathLst>
                <a:path w="635000" h="635000" fill="none">
                  <a:moveTo>
                    <a:pt x="317500" y="0"/>
                  </a:moveTo>
                  <a:arcTo wR="317500" hR="317500" stAng="-5400000" swAng="21600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30" name="Harvey 1/100 [1]">
              <a:extLst>
                <a:ext uri="{FF2B5EF4-FFF2-40B4-BE49-F238E27FC236}">
                  <a16:creationId xmlns:a16="http://schemas.microsoft.com/office/drawing/2014/main" id="{BACD6AAA-4A1C-46BE-B491-9A4A9C7C56F3}"/>
                </a:ext>
              </a:extLst>
            </p:cNvPr>
            <p:cNvSpPr>
              <a:spLocks noChangeAspect="1"/>
            </p:cNvSpPr>
            <p:nvPr>
              <p:custDataLst>
                <p:tags r:id="rId38"/>
              </p:custDataLst>
            </p:nvPr>
          </p:nvSpPr>
          <p:spPr>
            <a:xfrm>
              <a:off x="4334905" y="3282696"/>
              <a:ext cx="292608" cy="292608"/>
            </a:xfrm>
            <a:custGeom>
              <a:avLst/>
              <a:gdLst/>
              <a:ahLst/>
              <a:cxnLst/>
              <a:rect l="l" t="t" r="r" b="b"/>
              <a:pathLst>
                <a:path w="635000" h="635000">
                  <a:moveTo>
                    <a:pt x="317500" y="0"/>
                  </a:moveTo>
                  <a:arcTo wR="317500" hR="317500" stAng="16200000" swAng="216000"/>
                  <a:lnTo>
                    <a:pt x="317500" y="317500"/>
                  </a:lnTo>
                  <a:close/>
                </a:path>
                <a:path w="635000" h="635000" fill="none">
                  <a:moveTo>
                    <a:pt x="337435" y="626"/>
                  </a:moveTo>
                  <a:arcTo wR="317500" hR="317500" stAng="-5184000" swAng="21384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31" name="Harvey 2/100 [2]">
              <a:extLst>
                <a:ext uri="{FF2B5EF4-FFF2-40B4-BE49-F238E27FC236}">
                  <a16:creationId xmlns:a16="http://schemas.microsoft.com/office/drawing/2014/main" id="{701024C3-4DEF-477C-9CFB-100E0303499E}"/>
                </a:ext>
              </a:extLst>
            </p:cNvPr>
            <p:cNvSpPr>
              <a:spLocks noChangeAspect="1"/>
            </p:cNvSpPr>
            <p:nvPr>
              <p:custDataLst>
                <p:tags r:id="rId39"/>
              </p:custDataLst>
            </p:nvPr>
          </p:nvSpPr>
          <p:spPr>
            <a:xfrm>
              <a:off x="4334905" y="3282696"/>
              <a:ext cx="292608" cy="292608"/>
            </a:xfrm>
            <a:custGeom>
              <a:avLst/>
              <a:gdLst/>
              <a:ahLst/>
              <a:cxnLst/>
              <a:rect l="l" t="t" r="r" b="b"/>
              <a:pathLst>
                <a:path w="635000" h="635000">
                  <a:moveTo>
                    <a:pt x="317500" y="0"/>
                  </a:moveTo>
                  <a:arcTo wR="317500" hR="317500" stAng="16200000" swAng="432000"/>
                  <a:lnTo>
                    <a:pt x="317500" y="317500"/>
                  </a:lnTo>
                  <a:close/>
                </a:path>
                <a:path w="635000" h="635000" fill="none">
                  <a:moveTo>
                    <a:pt x="357293" y="2503"/>
                  </a:moveTo>
                  <a:arcTo wR="317500" hR="317500" stAng="-4968000" swAng="21168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32" name="Harvey 3/100 [3]">
              <a:extLst>
                <a:ext uri="{FF2B5EF4-FFF2-40B4-BE49-F238E27FC236}">
                  <a16:creationId xmlns:a16="http://schemas.microsoft.com/office/drawing/2014/main" id="{46A461CD-8D28-4422-AF2A-8267EFA51CAD}"/>
                </a:ext>
              </a:extLst>
            </p:cNvPr>
            <p:cNvSpPr>
              <a:spLocks noChangeAspect="1"/>
            </p:cNvSpPr>
            <p:nvPr>
              <p:custDataLst>
                <p:tags r:id="rId40"/>
              </p:custDataLst>
            </p:nvPr>
          </p:nvSpPr>
          <p:spPr>
            <a:xfrm>
              <a:off x="4334905" y="3282696"/>
              <a:ext cx="292608" cy="292608"/>
            </a:xfrm>
            <a:custGeom>
              <a:avLst/>
              <a:gdLst/>
              <a:ahLst/>
              <a:cxnLst/>
              <a:rect l="l" t="t" r="r" b="b"/>
              <a:pathLst>
                <a:path w="635000" h="635000">
                  <a:moveTo>
                    <a:pt x="317500" y="0"/>
                  </a:moveTo>
                  <a:arcTo wR="317500" hR="317500" stAng="16200000" swAng="647999"/>
                  <a:lnTo>
                    <a:pt x="317500" y="317500"/>
                  </a:lnTo>
                  <a:close/>
                </a:path>
                <a:path w="635000" h="635000" fill="none">
                  <a:moveTo>
                    <a:pt x="376993" y="5623"/>
                  </a:moveTo>
                  <a:arcTo wR="317500" hR="317500" stAng="-4752000" swAng="20952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33" name="Harvey 4/100 [4]">
              <a:extLst>
                <a:ext uri="{FF2B5EF4-FFF2-40B4-BE49-F238E27FC236}">
                  <a16:creationId xmlns:a16="http://schemas.microsoft.com/office/drawing/2014/main" id="{0A337C3A-F021-437D-9E3D-FDE5AF266029}"/>
                </a:ext>
              </a:extLst>
            </p:cNvPr>
            <p:cNvSpPr>
              <a:spLocks noChangeAspect="1"/>
            </p:cNvSpPr>
            <p:nvPr>
              <p:custDataLst>
                <p:tags r:id="rId41"/>
              </p:custDataLst>
            </p:nvPr>
          </p:nvSpPr>
          <p:spPr>
            <a:xfrm>
              <a:off x="4334905" y="3282696"/>
              <a:ext cx="292608" cy="292608"/>
            </a:xfrm>
            <a:custGeom>
              <a:avLst/>
              <a:gdLst/>
              <a:ahLst/>
              <a:cxnLst/>
              <a:rect l="l" t="t" r="r" b="b"/>
              <a:pathLst>
                <a:path w="635000" h="635000">
                  <a:moveTo>
                    <a:pt x="317500" y="0"/>
                  </a:moveTo>
                  <a:arcTo wR="317500" hR="317500" stAng="16200000" swAng="864000"/>
                  <a:lnTo>
                    <a:pt x="317500" y="317500"/>
                  </a:lnTo>
                  <a:close/>
                </a:path>
                <a:path w="635000" h="635000" fill="none">
                  <a:moveTo>
                    <a:pt x="396459" y="9974"/>
                  </a:moveTo>
                  <a:arcTo wR="317500" hR="317500" stAng="-4536000" swAng="20735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35" name="Harvey 5/100 [5]">
              <a:extLst>
                <a:ext uri="{FF2B5EF4-FFF2-40B4-BE49-F238E27FC236}">
                  <a16:creationId xmlns:a16="http://schemas.microsoft.com/office/drawing/2014/main" id="{BDF66AF7-3D75-4118-B7E6-241B2C41B2C9}"/>
                </a:ext>
              </a:extLst>
            </p:cNvPr>
            <p:cNvSpPr>
              <a:spLocks noChangeAspect="1"/>
            </p:cNvSpPr>
            <p:nvPr>
              <p:custDataLst>
                <p:tags r:id="rId42"/>
              </p:custDataLst>
            </p:nvPr>
          </p:nvSpPr>
          <p:spPr>
            <a:xfrm>
              <a:off x="4334905" y="3282696"/>
              <a:ext cx="292608" cy="292608"/>
            </a:xfrm>
            <a:custGeom>
              <a:avLst/>
              <a:gdLst/>
              <a:ahLst/>
              <a:cxnLst/>
              <a:rect l="l" t="t" r="r" b="b"/>
              <a:pathLst>
                <a:path w="635000" h="635000">
                  <a:moveTo>
                    <a:pt x="317500" y="0"/>
                  </a:moveTo>
                  <a:arcTo wR="317500" hR="317500" stAng="16200000" swAng="1080000"/>
                  <a:lnTo>
                    <a:pt x="317500" y="317500"/>
                  </a:lnTo>
                  <a:close/>
                </a:path>
                <a:path w="635000" h="635000" fill="none">
                  <a:moveTo>
                    <a:pt x="415612" y="15539"/>
                  </a:moveTo>
                  <a:arcTo wR="317500" hR="317500" stAng="-4320000" swAng="20520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36" name="Harvey 6/100 [6]">
              <a:extLst>
                <a:ext uri="{FF2B5EF4-FFF2-40B4-BE49-F238E27FC236}">
                  <a16:creationId xmlns:a16="http://schemas.microsoft.com/office/drawing/2014/main" id="{E74E7438-4315-4097-9BA7-F0CE3252AC14}"/>
                </a:ext>
              </a:extLst>
            </p:cNvPr>
            <p:cNvSpPr>
              <a:spLocks noChangeAspect="1"/>
            </p:cNvSpPr>
            <p:nvPr>
              <p:custDataLst>
                <p:tags r:id="rId43"/>
              </p:custDataLst>
            </p:nvPr>
          </p:nvSpPr>
          <p:spPr>
            <a:xfrm>
              <a:off x="4334905" y="3282696"/>
              <a:ext cx="292608" cy="292608"/>
            </a:xfrm>
            <a:custGeom>
              <a:avLst/>
              <a:gdLst/>
              <a:ahLst/>
              <a:cxnLst/>
              <a:rect l="l" t="t" r="r" b="b"/>
              <a:pathLst>
                <a:path w="635000" h="635000">
                  <a:moveTo>
                    <a:pt x="317500" y="0"/>
                  </a:moveTo>
                  <a:arcTo wR="317500" hR="317500" stAng="16200000" swAng="1295999"/>
                  <a:lnTo>
                    <a:pt x="317500" y="317500"/>
                  </a:lnTo>
                  <a:close/>
                </a:path>
                <a:path w="635000" h="635000" fill="none">
                  <a:moveTo>
                    <a:pt x="434379" y="22295"/>
                  </a:moveTo>
                  <a:arcTo wR="317500" hR="317500" stAng="-4104000" swAng="20304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37" name="Harvey 7/100 [7]">
              <a:extLst>
                <a:ext uri="{FF2B5EF4-FFF2-40B4-BE49-F238E27FC236}">
                  <a16:creationId xmlns:a16="http://schemas.microsoft.com/office/drawing/2014/main" id="{FEBA4E91-97BB-4DAC-B193-66FA4828DB26}"/>
                </a:ext>
              </a:extLst>
            </p:cNvPr>
            <p:cNvSpPr>
              <a:spLocks noChangeAspect="1"/>
            </p:cNvSpPr>
            <p:nvPr>
              <p:custDataLst>
                <p:tags r:id="rId44"/>
              </p:custDataLst>
            </p:nvPr>
          </p:nvSpPr>
          <p:spPr>
            <a:xfrm>
              <a:off x="4334905" y="3282696"/>
              <a:ext cx="292608" cy="292608"/>
            </a:xfrm>
            <a:custGeom>
              <a:avLst/>
              <a:gdLst/>
              <a:ahLst/>
              <a:cxnLst/>
              <a:rect l="l" t="t" r="r" b="b"/>
              <a:pathLst>
                <a:path w="635000" h="635000">
                  <a:moveTo>
                    <a:pt x="317500" y="0"/>
                  </a:moveTo>
                  <a:arcTo wR="317500" hR="317500" stAng="16200000" swAng="1512000"/>
                  <a:lnTo>
                    <a:pt x="317500" y="317500"/>
                  </a:lnTo>
                  <a:close/>
                </a:path>
                <a:path w="635000" h="635000" fill="none">
                  <a:moveTo>
                    <a:pt x="452684" y="30217"/>
                  </a:moveTo>
                  <a:arcTo wR="317500" hR="317500" stAng="-3888000" swAng="20087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38" name="Harvey 8/100 [8]">
              <a:extLst>
                <a:ext uri="{FF2B5EF4-FFF2-40B4-BE49-F238E27FC236}">
                  <a16:creationId xmlns:a16="http://schemas.microsoft.com/office/drawing/2014/main" id="{EEB85E02-177B-40CF-B926-A4423CC7C827}"/>
                </a:ext>
              </a:extLst>
            </p:cNvPr>
            <p:cNvSpPr>
              <a:spLocks noChangeAspect="1"/>
            </p:cNvSpPr>
            <p:nvPr>
              <p:custDataLst>
                <p:tags r:id="rId45"/>
              </p:custDataLst>
            </p:nvPr>
          </p:nvSpPr>
          <p:spPr>
            <a:xfrm>
              <a:off x="4334905" y="3282696"/>
              <a:ext cx="292608" cy="292608"/>
            </a:xfrm>
            <a:custGeom>
              <a:avLst/>
              <a:gdLst/>
              <a:ahLst/>
              <a:cxnLst/>
              <a:rect l="l" t="t" r="r" b="b"/>
              <a:pathLst>
                <a:path w="635000" h="635000">
                  <a:moveTo>
                    <a:pt x="317500" y="0"/>
                  </a:moveTo>
                  <a:arcTo wR="317500" hR="317500" stAng="16200000" swAng="1728000"/>
                  <a:lnTo>
                    <a:pt x="317500" y="317500"/>
                  </a:lnTo>
                  <a:close/>
                </a:path>
                <a:path w="635000" h="635000" fill="none">
                  <a:moveTo>
                    <a:pt x="470456" y="39272"/>
                  </a:moveTo>
                  <a:arcTo wR="317500" hR="317500" stAng="-3672000" swAng="19872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39" name="Harvey 9/100 [9]">
              <a:extLst>
                <a:ext uri="{FF2B5EF4-FFF2-40B4-BE49-F238E27FC236}">
                  <a16:creationId xmlns:a16="http://schemas.microsoft.com/office/drawing/2014/main" id="{C133BC7F-B0E3-404F-92D1-BB930C4F3311}"/>
                </a:ext>
              </a:extLst>
            </p:cNvPr>
            <p:cNvSpPr>
              <a:spLocks noChangeAspect="1"/>
            </p:cNvSpPr>
            <p:nvPr>
              <p:custDataLst>
                <p:tags r:id="rId46"/>
              </p:custDataLst>
            </p:nvPr>
          </p:nvSpPr>
          <p:spPr>
            <a:xfrm>
              <a:off x="4334905" y="3282696"/>
              <a:ext cx="292608" cy="292608"/>
            </a:xfrm>
            <a:custGeom>
              <a:avLst/>
              <a:gdLst/>
              <a:ahLst/>
              <a:cxnLst/>
              <a:rect l="l" t="t" r="r" b="b"/>
              <a:pathLst>
                <a:path w="635000" h="635000">
                  <a:moveTo>
                    <a:pt x="317500" y="0"/>
                  </a:moveTo>
                  <a:arcTo wR="317500" hR="317500" stAng="16200000" swAng="1944000"/>
                  <a:lnTo>
                    <a:pt x="317500" y="317500"/>
                  </a:lnTo>
                  <a:close/>
                </a:path>
                <a:path w="635000" h="635000" fill="none">
                  <a:moveTo>
                    <a:pt x="487625" y="49425"/>
                  </a:moveTo>
                  <a:arcTo wR="317500" hR="317500" stAng="-3456000" swAng="19656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40" name="Harvey 10/100 [10]">
              <a:extLst>
                <a:ext uri="{FF2B5EF4-FFF2-40B4-BE49-F238E27FC236}">
                  <a16:creationId xmlns:a16="http://schemas.microsoft.com/office/drawing/2014/main" id="{F2FB72A6-CDF7-48B3-A3B8-5A5FC061802C}"/>
                </a:ext>
              </a:extLst>
            </p:cNvPr>
            <p:cNvSpPr>
              <a:spLocks noChangeAspect="1"/>
            </p:cNvSpPr>
            <p:nvPr>
              <p:custDataLst>
                <p:tags r:id="rId47"/>
              </p:custDataLst>
            </p:nvPr>
          </p:nvSpPr>
          <p:spPr>
            <a:xfrm>
              <a:off x="4334905" y="3282696"/>
              <a:ext cx="292608" cy="292608"/>
            </a:xfrm>
            <a:custGeom>
              <a:avLst/>
              <a:gdLst/>
              <a:ahLst/>
              <a:cxnLst/>
              <a:rect l="l" t="t" r="r" b="b"/>
              <a:pathLst>
                <a:path w="635000" h="635000">
                  <a:moveTo>
                    <a:pt x="317500" y="0"/>
                  </a:moveTo>
                  <a:arcTo wR="317500" hR="317500" stAng="16200000" swAng="2160000"/>
                  <a:lnTo>
                    <a:pt x="317500" y="317500"/>
                  </a:lnTo>
                  <a:close/>
                </a:path>
                <a:path w="635000" h="635000" fill="none">
                  <a:moveTo>
                    <a:pt x="504121" y="60637"/>
                  </a:moveTo>
                  <a:arcTo wR="317500" hR="317500" stAng="-3240000" swAng="19440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41" name="Harvey 11/100 [11]">
              <a:extLst>
                <a:ext uri="{FF2B5EF4-FFF2-40B4-BE49-F238E27FC236}">
                  <a16:creationId xmlns:a16="http://schemas.microsoft.com/office/drawing/2014/main" id="{F3110C8B-1B18-4579-AB3F-0F4A0840CF38}"/>
                </a:ext>
              </a:extLst>
            </p:cNvPr>
            <p:cNvSpPr>
              <a:spLocks noChangeAspect="1"/>
            </p:cNvSpPr>
            <p:nvPr>
              <p:custDataLst>
                <p:tags r:id="rId48"/>
              </p:custDataLst>
            </p:nvPr>
          </p:nvSpPr>
          <p:spPr>
            <a:xfrm>
              <a:off x="4334905" y="3282696"/>
              <a:ext cx="292608" cy="292608"/>
            </a:xfrm>
            <a:custGeom>
              <a:avLst/>
              <a:gdLst/>
              <a:ahLst/>
              <a:cxnLst/>
              <a:rect l="l" t="t" r="r" b="b"/>
              <a:pathLst>
                <a:path w="635000" h="635000">
                  <a:moveTo>
                    <a:pt x="317500" y="0"/>
                  </a:moveTo>
                  <a:arcTo wR="317500" hR="317500" stAng="16200000" swAng="2376000"/>
                  <a:lnTo>
                    <a:pt x="317500" y="317500"/>
                  </a:lnTo>
                  <a:close/>
                </a:path>
                <a:path w="635000" h="635000" fill="none">
                  <a:moveTo>
                    <a:pt x="519882" y="72862"/>
                  </a:moveTo>
                  <a:arcTo wR="317500" hR="317500" stAng="-3024000" swAng="19224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42" name="Harvey 12/100 [12]">
              <a:extLst>
                <a:ext uri="{FF2B5EF4-FFF2-40B4-BE49-F238E27FC236}">
                  <a16:creationId xmlns:a16="http://schemas.microsoft.com/office/drawing/2014/main" id="{84A1B722-E5AC-45F7-9498-7FF502B6FA2B}"/>
                </a:ext>
              </a:extLst>
            </p:cNvPr>
            <p:cNvSpPr>
              <a:spLocks noChangeAspect="1"/>
            </p:cNvSpPr>
            <p:nvPr>
              <p:custDataLst>
                <p:tags r:id="rId49"/>
              </p:custDataLst>
            </p:nvPr>
          </p:nvSpPr>
          <p:spPr>
            <a:xfrm>
              <a:off x="4334905" y="3282696"/>
              <a:ext cx="292608" cy="292608"/>
            </a:xfrm>
            <a:custGeom>
              <a:avLst/>
              <a:gdLst/>
              <a:ahLst/>
              <a:cxnLst/>
              <a:rect l="l" t="t" r="r" b="b"/>
              <a:pathLst>
                <a:path w="635000" h="635000">
                  <a:moveTo>
                    <a:pt x="317500" y="0"/>
                  </a:moveTo>
                  <a:arcTo wR="317500" hR="317500" stAng="16200000" swAng="2591999"/>
                  <a:lnTo>
                    <a:pt x="317500" y="317500"/>
                  </a:lnTo>
                  <a:close/>
                </a:path>
                <a:path w="635000" h="635000" fill="none">
                  <a:moveTo>
                    <a:pt x="534843" y="86052"/>
                  </a:moveTo>
                  <a:arcTo wR="317500" hR="317500" stAng="-2808000" swAng="19008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43" name="Harvey 13/100 [13]">
              <a:extLst>
                <a:ext uri="{FF2B5EF4-FFF2-40B4-BE49-F238E27FC236}">
                  <a16:creationId xmlns:a16="http://schemas.microsoft.com/office/drawing/2014/main" id="{A5599F20-B957-4DF9-8B04-F2B77AAF0BDB}"/>
                </a:ext>
              </a:extLst>
            </p:cNvPr>
            <p:cNvSpPr>
              <a:spLocks noChangeAspect="1"/>
            </p:cNvSpPr>
            <p:nvPr>
              <p:custDataLst>
                <p:tags r:id="rId50"/>
              </p:custDataLst>
            </p:nvPr>
          </p:nvSpPr>
          <p:spPr>
            <a:xfrm>
              <a:off x="4334905" y="3282696"/>
              <a:ext cx="292608" cy="292608"/>
            </a:xfrm>
            <a:custGeom>
              <a:avLst/>
              <a:gdLst/>
              <a:ahLst/>
              <a:cxnLst/>
              <a:rect l="l" t="t" r="r" b="b"/>
              <a:pathLst>
                <a:path w="635000" h="635000">
                  <a:moveTo>
                    <a:pt x="317500" y="0"/>
                  </a:moveTo>
                  <a:arcTo wR="317500" hR="317500" stAng="16200000" swAng="2808000"/>
                  <a:lnTo>
                    <a:pt x="317500" y="317500"/>
                  </a:lnTo>
                  <a:close/>
                </a:path>
                <a:path w="635000" h="635000" fill="none">
                  <a:moveTo>
                    <a:pt x="548947" y="100156"/>
                  </a:moveTo>
                  <a:arcTo wR="317500" hR="317500" stAng="-2591999" swAng="18792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44" name="Harvey 14/100 [14]">
              <a:extLst>
                <a:ext uri="{FF2B5EF4-FFF2-40B4-BE49-F238E27FC236}">
                  <a16:creationId xmlns:a16="http://schemas.microsoft.com/office/drawing/2014/main" id="{F74357FC-EB3D-46C4-B56A-5007C9F4FB84}"/>
                </a:ext>
              </a:extLst>
            </p:cNvPr>
            <p:cNvSpPr>
              <a:spLocks noChangeAspect="1"/>
            </p:cNvSpPr>
            <p:nvPr>
              <p:custDataLst>
                <p:tags r:id="rId51"/>
              </p:custDataLst>
            </p:nvPr>
          </p:nvSpPr>
          <p:spPr>
            <a:xfrm>
              <a:off x="4334905" y="3282696"/>
              <a:ext cx="292608" cy="292608"/>
            </a:xfrm>
            <a:custGeom>
              <a:avLst/>
              <a:gdLst/>
              <a:ahLst/>
              <a:cxnLst/>
              <a:rect l="l" t="t" r="r" b="b"/>
              <a:pathLst>
                <a:path w="635000" h="635000">
                  <a:moveTo>
                    <a:pt x="317500" y="0"/>
                  </a:moveTo>
                  <a:arcTo wR="317500" hR="317500" stAng="16200000" swAng="3024000"/>
                  <a:lnTo>
                    <a:pt x="317500" y="317500"/>
                  </a:lnTo>
                  <a:close/>
                </a:path>
                <a:path w="635000" h="635000" fill="none">
                  <a:moveTo>
                    <a:pt x="562137" y="115117"/>
                  </a:moveTo>
                  <a:arcTo wR="317500" hR="317500" stAng="-2375999" swAng="18576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45" name="Harvey 15/100 [15]">
              <a:extLst>
                <a:ext uri="{FF2B5EF4-FFF2-40B4-BE49-F238E27FC236}">
                  <a16:creationId xmlns:a16="http://schemas.microsoft.com/office/drawing/2014/main" id="{32E8E8F3-9DBC-46F4-9700-CAF071913650}"/>
                </a:ext>
              </a:extLst>
            </p:cNvPr>
            <p:cNvSpPr>
              <a:spLocks noChangeAspect="1"/>
            </p:cNvSpPr>
            <p:nvPr>
              <p:custDataLst>
                <p:tags r:id="rId52"/>
              </p:custDataLst>
            </p:nvPr>
          </p:nvSpPr>
          <p:spPr>
            <a:xfrm>
              <a:off x="4334905" y="3282696"/>
              <a:ext cx="292608" cy="292608"/>
            </a:xfrm>
            <a:custGeom>
              <a:avLst/>
              <a:gdLst/>
              <a:ahLst/>
              <a:cxnLst/>
              <a:rect l="l" t="t" r="r" b="b"/>
              <a:pathLst>
                <a:path w="635000" h="635000">
                  <a:moveTo>
                    <a:pt x="317500" y="0"/>
                  </a:moveTo>
                  <a:arcTo wR="317500" hR="317500" stAng="16200000" swAng="3240000"/>
                  <a:lnTo>
                    <a:pt x="317500" y="317500"/>
                  </a:lnTo>
                  <a:close/>
                </a:path>
                <a:path w="635000" h="635000" fill="none">
                  <a:moveTo>
                    <a:pt x="574362" y="130878"/>
                  </a:moveTo>
                  <a:arcTo wR="317500" hR="317500" stAng="-2160000" swAng="18360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46" name="Harvey 16/100 [16]">
              <a:extLst>
                <a:ext uri="{FF2B5EF4-FFF2-40B4-BE49-F238E27FC236}">
                  <a16:creationId xmlns:a16="http://schemas.microsoft.com/office/drawing/2014/main" id="{71360883-3CF3-4439-9568-E456C60454A8}"/>
                </a:ext>
              </a:extLst>
            </p:cNvPr>
            <p:cNvSpPr>
              <a:spLocks noChangeAspect="1"/>
            </p:cNvSpPr>
            <p:nvPr>
              <p:custDataLst>
                <p:tags r:id="rId53"/>
              </p:custDataLst>
            </p:nvPr>
          </p:nvSpPr>
          <p:spPr>
            <a:xfrm>
              <a:off x="4334905" y="3282696"/>
              <a:ext cx="292608" cy="292608"/>
            </a:xfrm>
            <a:custGeom>
              <a:avLst/>
              <a:gdLst/>
              <a:ahLst/>
              <a:cxnLst/>
              <a:rect l="l" t="t" r="r" b="b"/>
              <a:pathLst>
                <a:path w="635000" h="635000">
                  <a:moveTo>
                    <a:pt x="317500" y="0"/>
                  </a:moveTo>
                  <a:arcTo wR="317500" hR="317500" stAng="16200000" swAng="3456000"/>
                  <a:lnTo>
                    <a:pt x="317500" y="317500"/>
                  </a:lnTo>
                  <a:close/>
                </a:path>
                <a:path w="635000" h="635000" fill="none">
                  <a:moveTo>
                    <a:pt x="585574" y="147374"/>
                  </a:moveTo>
                  <a:arcTo wR="317500" hR="317500" stAng="-1944000" swAng="18144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47" name="Harvey 17/100 [17]">
              <a:extLst>
                <a:ext uri="{FF2B5EF4-FFF2-40B4-BE49-F238E27FC236}">
                  <a16:creationId xmlns:a16="http://schemas.microsoft.com/office/drawing/2014/main" id="{AE88FC9E-FB95-4413-AE3E-B8BF504735B5}"/>
                </a:ext>
              </a:extLst>
            </p:cNvPr>
            <p:cNvSpPr>
              <a:spLocks noChangeAspect="1"/>
            </p:cNvSpPr>
            <p:nvPr>
              <p:custDataLst>
                <p:tags r:id="rId54"/>
              </p:custDataLst>
            </p:nvPr>
          </p:nvSpPr>
          <p:spPr>
            <a:xfrm>
              <a:off x="4334905" y="3282696"/>
              <a:ext cx="292608" cy="292608"/>
            </a:xfrm>
            <a:custGeom>
              <a:avLst/>
              <a:gdLst/>
              <a:ahLst/>
              <a:cxnLst/>
              <a:rect l="l" t="t" r="r" b="b"/>
              <a:pathLst>
                <a:path w="635000" h="635000">
                  <a:moveTo>
                    <a:pt x="317500" y="0"/>
                  </a:moveTo>
                  <a:arcTo wR="317500" hR="317500" stAng="16200000" swAng="3672000"/>
                  <a:lnTo>
                    <a:pt x="317500" y="317500"/>
                  </a:lnTo>
                  <a:close/>
                </a:path>
                <a:path w="635000" h="635000" fill="none">
                  <a:moveTo>
                    <a:pt x="595727" y="164543"/>
                  </a:moveTo>
                  <a:arcTo wR="317500" hR="317500" stAng="-1727999" swAng="17928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48" name="Harvey 18/100 [18]">
              <a:extLst>
                <a:ext uri="{FF2B5EF4-FFF2-40B4-BE49-F238E27FC236}">
                  <a16:creationId xmlns:a16="http://schemas.microsoft.com/office/drawing/2014/main" id="{62593B83-E4BE-4CE8-9B0B-25AF9B7D4254}"/>
                </a:ext>
              </a:extLst>
            </p:cNvPr>
            <p:cNvSpPr>
              <a:spLocks noChangeAspect="1"/>
            </p:cNvSpPr>
            <p:nvPr>
              <p:custDataLst>
                <p:tags r:id="rId55"/>
              </p:custDataLst>
            </p:nvPr>
          </p:nvSpPr>
          <p:spPr>
            <a:xfrm>
              <a:off x="4334905" y="3282696"/>
              <a:ext cx="292608" cy="292608"/>
            </a:xfrm>
            <a:custGeom>
              <a:avLst/>
              <a:gdLst/>
              <a:ahLst/>
              <a:cxnLst/>
              <a:rect l="l" t="t" r="r" b="b"/>
              <a:pathLst>
                <a:path w="635000" h="635000">
                  <a:moveTo>
                    <a:pt x="317500" y="0"/>
                  </a:moveTo>
                  <a:arcTo wR="317500" hR="317500" stAng="16200000" swAng="3888000"/>
                  <a:lnTo>
                    <a:pt x="317500" y="317500"/>
                  </a:lnTo>
                  <a:close/>
                </a:path>
                <a:path w="635000" h="635000" fill="none">
                  <a:moveTo>
                    <a:pt x="604782" y="182315"/>
                  </a:moveTo>
                  <a:arcTo wR="317500" hR="317500" stAng="-1512000" swAng="17712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49" name="Harvey 19/100 [19]">
              <a:extLst>
                <a:ext uri="{FF2B5EF4-FFF2-40B4-BE49-F238E27FC236}">
                  <a16:creationId xmlns:a16="http://schemas.microsoft.com/office/drawing/2014/main" id="{CD41838E-0172-403D-9B68-FD51310F5400}"/>
                </a:ext>
              </a:extLst>
            </p:cNvPr>
            <p:cNvSpPr>
              <a:spLocks noChangeAspect="1"/>
            </p:cNvSpPr>
            <p:nvPr>
              <p:custDataLst>
                <p:tags r:id="rId56"/>
              </p:custDataLst>
            </p:nvPr>
          </p:nvSpPr>
          <p:spPr>
            <a:xfrm>
              <a:off x="4334905" y="3282696"/>
              <a:ext cx="292608" cy="292608"/>
            </a:xfrm>
            <a:custGeom>
              <a:avLst/>
              <a:gdLst/>
              <a:ahLst/>
              <a:cxnLst/>
              <a:rect l="l" t="t" r="r" b="b"/>
              <a:pathLst>
                <a:path w="635000" h="635000">
                  <a:moveTo>
                    <a:pt x="317500" y="0"/>
                  </a:moveTo>
                  <a:arcTo wR="317500" hR="317500" stAng="16200000" swAng="4104000"/>
                  <a:lnTo>
                    <a:pt x="317500" y="317500"/>
                  </a:lnTo>
                  <a:close/>
                </a:path>
                <a:path w="635000" h="635000" fill="none">
                  <a:moveTo>
                    <a:pt x="612704" y="200620"/>
                  </a:moveTo>
                  <a:arcTo wR="317500" hR="317500" stAng="-1295999" swAng="17496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50" name="Harvey 20/100 [20]">
              <a:extLst>
                <a:ext uri="{FF2B5EF4-FFF2-40B4-BE49-F238E27FC236}">
                  <a16:creationId xmlns:a16="http://schemas.microsoft.com/office/drawing/2014/main" id="{EDE3F4CF-CB3E-40C2-B070-AC09F1E8FBD5}"/>
                </a:ext>
              </a:extLst>
            </p:cNvPr>
            <p:cNvSpPr>
              <a:spLocks noChangeAspect="1"/>
            </p:cNvSpPr>
            <p:nvPr>
              <p:custDataLst>
                <p:tags r:id="rId57"/>
              </p:custDataLst>
            </p:nvPr>
          </p:nvSpPr>
          <p:spPr>
            <a:xfrm>
              <a:off x="4334905" y="3282696"/>
              <a:ext cx="292608" cy="292608"/>
            </a:xfrm>
            <a:custGeom>
              <a:avLst/>
              <a:gdLst/>
              <a:ahLst/>
              <a:cxnLst/>
              <a:rect l="l" t="t" r="r" b="b"/>
              <a:pathLst>
                <a:path w="635000" h="635000">
                  <a:moveTo>
                    <a:pt x="317500" y="0"/>
                  </a:moveTo>
                  <a:arcTo wR="317500" hR="317500" stAng="16200000" swAng="4320000"/>
                  <a:lnTo>
                    <a:pt x="317500" y="317500"/>
                  </a:lnTo>
                  <a:close/>
                </a:path>
                <a:path w="635000" h="635000" fill="none">
                  <a:moveTo>
                    <a:pt x="619460" y="219387"/>
                  </a:moveTo>
                  <a:arcTo wR="317500" hR="317500" stAng="-1080000" swAng="17280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51" name="Harvey 21/100 [21]">
              <a:extLst>
                <a:ext uri="{FF2B5EF4-FFF2-40B4-BE49-F238E27FC236}">
                  <a16:creationId xmlns:a16="http://schemas.microsoft.com/office/drawing/2014/main" id="{CD8E25E7-83D2-4F78-92A7-435281704491}"/>
                </a:ext>
              </a:extLst>
            </p:cNvPr>
            <p:cNvSpPr>
              <a:spLocks noChangeAspect="1"/>
            </p:cNvSpPr>
            <p:nvPr>
              <p:custDataLst>
                <p:tags r:id="rId58"/>
              </p:custDataLst>
            </p:nvPr>
          </p:nvSpPr>
          <p:spPr>
            <a:xfrm>
              <a:off x="4334905" y="3282696"/>
              <a:ext cx="292608" cy="292608"/>
            </a:xfrm>
            <a:custGeom>
              <a:avLst/>
              <a:gdLst/>
              <a:ahLst/>
              <a:cxnLst/>
              <a:rect l="l" t="t" r="r" b="b"/>
              <a:pathLst>
                <a:path w="635000" h="635000">
                  <a:moveTo>
                    <a:pt x="317500" y="0"/>
                  </a:moveTo>
                  <a:arcTo wR="317500" hR="317500" stAng="16200000" swAng="4536000"/>
                  <a:lnTo>
                    <a:pt x="317500" y="317500"/>
                  </a:lnTo>
                  <a:close/>
                </a:path>
                <a:path w="635000" h="635000" fill="none">
                  <a:moveTo>
                    <a:pt x="625025" y="238540"/>
                  </a:moveTo>
                  <a:arcTo wR="317500" hR="317500" stAng="-864000" swAng="17064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52" name="Harvey 22/100 [22]">
              <a:extLst>
                <a:ext uri="{FF2B5EF4-FFF2-40B4-BE49-F238E27FC236}">
                  <a16:creationId xmlns:a16="http://schemas.microsoft.com/office/drawing/2014/main" id="{C6A696FB-9EFC-47F6-9860-247C48C1FC3D}"/>
                </a:ext>
              </a:extLst>
            </p:cNvPr>
            <p:cNvSpPr>
              <a:spLocks noChangeAspect="1"/>
            </p:cNvSpPr>
            <p:nvPr>
              <p:custDataLst>
                <p:tags r:id="rId59"/>
              </p:custDataLst>
            </p:nvPr>
          </p:nvSpPr>
          <p:spPr>
            <a:xfrm>
              <a:off x="4334905" y="3282696"/>
              <a:ext cx="292608" cy="292608"/>
            </a:xfrm>
            <a:custGeom>
              <a:avLst/>
              <a:gdLst/>
              <a:ahLst/>
              <a:cxnLst/>
              <a:rect l="l" t="t" r="r" b="b"/>
              <a:pathLst>
                <a:path w="635000" h="635000">
                  <a:moveTo>
                    <a:pt x="317500" y="0"/>
                  </a:moveTo>
                  <a:arcTo wR="317500" hR="317500" stAng="16200000" swAng="4752000"/>
                  <a:lnTo>
                    <a:pt x="317500" y="317500"/>
                  </a:lnTo>
                  <a:close/>
                </a:path>
                <a:path w="635000" h="635000" fill="none">
                  <a:moveTo>
                    <a:pt x="629376" y="258006"/>
                  </a:moveTo>
                  <a:arcTo wR="317500" hR="317500" stAng="-647999" swAng="16848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53" name="Harvey 23/100 [23]">
              <a:extLst>
                <a:ext uri="{FF2B5EF4-FFF2-40B4-BE49-F238E27FC236}">
                  <a16:creationId xmlns:a16="http://schemas.microsoft.com/office/drawing/2014/main" id="{252958D2-EE89-4FBF-BF7B-C8AFAD704413}"/>
                </a:ext>
              </a:extLst>
            </p:cNvPr>
            <p:cNvSpPr>
              <a:spLocks noChangeAspect="1"/>
            </p:cNvSpPr>
            <p:nvPr>
              <p:custDataLst>
                <p:tags r:id="rId60"/>
              </p:custDataLst>
            </p:nvPr>
          </p:nvSpPr>
          <p:spPr>
            <a:xfrm>
              <a:off x="4334905" y="3282696"/>
              <a:ext cx="292608" cy="292608"/>
            </a:xfrm>
            <a:custGeom>
              <a:avLst/>
              <a:gdLst/>
              <a:ahLst/>
              <a:cxnLst/>
              <a:rect l="l" t="t" r="r" b="b"/>
              <a:pathLst>
                <a:path w="635000" h="635000">
                  <a:moveTo>
                    <a:pt x="317500" y="0"/>
                  </a:moveTo>
                  <a:arcTo wR="317500" hR="317500" stAng="16200000" swAng="4968000"/>
                  <a:lnTo>
                    <a:pt x="317500" y="317500"/>
                  </a:lnTo>
                  <a:close/>
                </a:path>
                <a:path w="635000" h="635000" fill="none">
                  <a:moveTo>
                    <a:pt x="632496" y="277706"/>
                  </a:moveTo>
                  <a:arcTo wR="317500" hR="317500" stAng="-432000" swAng="16632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54" name="Harvey 24/100 [24]">
              <a:extLst>
                <a:ext uri="{FF2B5EF4-FFF2-40B4-BE49-F238E27FC236}">
                  <a16:creationId xmlns:a16="http://schemas.microsoft.com/office/drawing/2014/main" id="{314E82DC-04B6-406C-9D65-1115F4D2AA22}"/>
                </a:ext>
              </a:extLst>
            </p:cNvPr>
            <p:cNvSpPr>
              <a:spLocks noChangeAspect="1"/>
            </p:cNvSpPr>
            <p:nvPr>
              <p:custDataLst>
                <p:tags r:id="rId61"/>
              </p:custDataLst>
            </p:nvPr>
          </p:nvSpPr>
          <p:spPr>
            <a:xfrm>
              <a:off x="4334905" y="3282696"/>
              <a:ext cx="292608" cy="292608"/>
            </a:xfrm>
            <a:custGeom>
              <a:avLst/>
              <a:gdLst/>
              <a:ahLst/>
              <a:cxnLst/>
              <a:rect l="l" t="t" r="r" b="b"/>
              <a:pathLst>
                <a:path w="635000" h="635000">
                  <a:moveTo>
                    <a:pt x="317500" y="0"/>
                  </a:moveTo>
                  <a:arcTo wR="317500" hR="317500" stAng="16200000" swAng="5183999"/>
                  <a:lnTo>
                    <a:pt x="317500" y="317500"/>
                  </a:lnTo>
                  <a:close/>
                </a:path>
                <a:path w="635000" h="635000" fill="none">
                  <a:moveTo>
                    <a:pt x="634373" y="297564"/>
                  </a:moveTo>
                  <a:arcTo wR="317500" hR="317500" stAng="-216000" swAng="16416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55" name="Harvey 25/100 [25]">
              <a:extLst>
                <a:ext uri="{FF2B5EF4-FFF2-40B4-BE49-F238E27FC236}">
                  <a16:creationId xmlns:a16="http://schemas.microsoft.com/office/drawing/2014/main" id="{669D1B60-A74F-4296-8610-F3DCDDC15022}"/>
                </a:ext>
              </a:extLst>
            </p:cNvPr>
            <p:cNvSpPr>
              <a:spLocks noChangeAspect="1"/>
            </p:cNvSpPr>
            <p:nvPr>
              <p:custDataLst>
                <p:tags r:id="rId62"/>
              </p:custDataLst>
            </p:nvPr>
          </p:nvSpPr>
          <p:spPr>
            <a:xfrm>
              <a:off x="4334905" y="3282696"/>
              <a:ext cx="292608" cy="292608"/>
            </a:xfrm>
            <a:custGeom>
              <a:avLst/>
              <a:gdLst/>
              <a:ahLst/>
              <a:cxnLst/>
              <a:rect l="l" t="t" r="r" b="b"/>
              <a:pathLst>
                <a:path w="635000" h="635000">
                  <a:moveTo>
                    <a:pt x="317500" y="0"/>
                  </a:moveTo>
                  <a:arcTo wR="317500" hR="317500" stAng="16200000" swAng="5400000"/>
                  <a:lnTo>
                    <a:pt x="317500" y="317500"/>
                  </a:lnTo>
                  <a:close/>
                </a:path>
                <a:path w="635000" h="635000" fill="none">
                  <a:moveTo>
                    <a:pt x="635000" y="317500"/>
                  </a:moveTo>
                  <a:arcTo wR="317500" hR="317500" stAng="0" swAng="16200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56" name="Harvey 26/100 [26]">
              <a:extLst>
                <a:ext uri="{FF2B5EF4-FFF2-40B4-BE49-F238E27FC236}">
                  <a16:creationId xmlns:a16="http://schemas.microsoft.com/office/drawing/2014/main" id="{FF6DD112-04B6-4656-AB9D-1F9950FEE2D9}"/>
                </a:ext>
              </a:extLst>
            </p:cNvPr>
            <p:cNvSpPr>
              <a:spLocks noChangeAspect="1"/>
            </p:cNvSpPr>
            <p:nvPr>
              <p:custDataLst>
                <p:tags r:id="rId63"/>
              </p:custDataLst>
            </p:nvPr>
          </p:nvSpPr>
          <p:spPr>
            <a:xfrm>
              <a:off x="4334905" y="3282696"/>
              <a:ext cx="292608" cy="292608"/>
            </a:xfrm>
            <a:custGeom>
              <a:avLst/>
              <a:gdLst/>
              <a:ahLst/>
              <a:cxnLst/>
              <a:rect l="l" t="t" r="r" b="b"/>
              <a:pathLst>
                <a:path w="635000" h="635000">
                  <a:moveTo>
                    <a:pt x="317500" y="0"/>
                  </a:moveTo>
                  <a:arcTo wR="317500" hR="317500" stAng="16200000" swAng="5616000"/>
                  <a:lnTo>
                    <a:pt x="317500" y="317500"/>
                  </a:lnTo>
                  <a:close/>
                </a:path>
                <a:path w="635000" h="635000" fill="none">
                  <a:moveTo>
                    <a:pt x="634373" y="337435"/>
                  </a:moveTo>
                  <a:arcTo wR="317500" hR="317500" stAng="216000" swAng="15983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57" name="Harvey 27/100 [27]">
              <a:extLst>
                <a:ext uri="{FF2B5EF4-FFF2-40B4-BE49-F238E27FC236}">
                  <a16:creationId xmlns:a16="http://schemas.microsoft.com/office/drawing/2014/main" id="{E2928B53-FC5C-427C-AE65-9286773D84B2}"/>
                </a:ext>
              </a:extLst>
            </p:cNvPr>
            <p:cNvSpPr>
              <a:spLocks noChangeAspect="1"/>
            </p:cNvSpPr>
            <p:nvPr>
              <p:custDataLst>
                <p:tags r:id="rId64"/>
              </p:custDataLst>
            </p:nvPr>
          </p:nvSpPr>
          <p:spPr>
            <a:xfrm>
              <a:off x="4334905" y="3282696"/>
              <a:ext cx="292608" cy="292608"/>
            </a:xfrm>
            <a:custGeom>
              <a:avLst/>
              <a:gdLst/>
              <a:ahLst/>
              <a:cxnLst/>
              <a:rect l="l" t="t" r="r" b="b"/>
              <a:pathLst>
                <a:path w="635000" h="635000">
                  <a:moveTo>
                    <a:pt x="317500" y="0"/>
                  </a:moveTo>
                  <a:arcTo wR="317500" hR="317500" stAng="16200000" swAng="5832000"/>
                  <a:lnTo>
                    <a:pt x="317500" y="317500"/>
                  </a:lnTo>
                  <a:close/>
                </a:path>
                <a:path w="635000" h="635000" fill="none">
                  <a:moveTo>
                    <a:pt x="632496" y="357293"/>
                  </a:moveTo>
                  <a:arcTo wR="317500" hR="317500" stAng="432000" swAng="15768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58" name="Harvey 28/100 [28]">
              <a:extLst>
                <a:ext uri="{FF2B5EF4-FFF2-40B4-BE49-F238E27FC236}">
                  <a16:creationId xmlns:a16="http://schemas.microsoft.com/office/drawing/2014/main" id="{D8CF4F20-8FEC-47FF-9B86-E818143B2C19}"/>
                </a:ext>
              </a:extLst>
            </p:cNvPr>
            <p:cNvSpPr>
              <a:spLocks noChangeAspect="1"/>
            </p:cNvSpPr>
            <p:nvPr>
              <p:custDataLst>
                <p:tags r:id="rId65"/>
              </p:custDataLst>
            </p:nvPr>
          </p:nvSpPr>
          <p:spPr>
            <a:xfrm>
              <a:off x="4334905" y="3282696"/>
              <a:ext cx="292608" cy="292608"/>
            </a:xfrm>
            <a:custGeom>
              <a:avLst/>
              <a:gdLst/>
              <a:ahLst/>
              <a:cxnLst/>
              <a:rect l="l" t="t" r="r" b="b"/>
              <a:pathLst>
                <a:path w="635000" h="635000">
                  <a:moveTo>
                    <a:pt x="317500" y="0"/>
                  </a:moveTo>
                  <a:arcTo wR="317500" hR="317500" stAng="16200000" swAng="6048000"/>
                  <a:lnTo>
                    <a:pt x="317500" y="317500"/>
                  </a:lnTo>
                  <a:close/>
                </a:path>
                <a:path w="635000" h="635000" fill="none">
                  <a:moveTo>
                    <a:pt x="629376" y="376993"/>
                  </a:moveTo>
                  <a:arcTo wR="317500" hR="317500" stAng="648000" swAng="15552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59" name="Harvey 29/100 [29]">
              <a:extLst>
                <a:ext uri="{FF2B5EF4-FFF2-40B4-BE49-F238E27FC236}">
                  <a16:creationId xmlns:a16="http://schemas.microsoft.com/office/drawing/2014/main" id="{E1AF074D-4599-4D0E-8078-66303FEBDE44}"/>
                </a:ext>
              </a:extLst>
            </p:cNvPr>
            <p:cNvSpPr>
              <a:spLocks noChangeAspect="1"/>
            </p:cNvSpPr>
            <p:nvPr>
              <p:custDataLst>
                <p:tags r:id="rId66"/>
              </p:custDataLst>
            </p:nvPr>
          </p:nvSpPr>
          <p:spPr>
            <a:xfrm>
              <a:off x="4334905" y="3282696"/>
              <a:ext cx="292608" cy="292608"/>
            </a:xfrm>
            <a:custGeom>
              <a:avLst/>
              <a:gdLst/>
              <a:ahLst/>
              <a:cxnLst/>
              <a:rect l="l" t="t" r="r" b="b"/>
              <a:pathLst>
                <a:path w="635000" h="635000">
                  <a:moveTo>
                    <a:pt x="317500" y="0"/>
                  </a:moveTo>
                  <a:arcTo wR="317500" hR="317500" stAng="16200000" swAng="6263999"/>
                  <a:lnTo>
                    <a:pt x="317500" y="317500"/>
                  </a:lnTo>
                  <a:close/>
                </a:path>
                <a:path w="635000" h="635000" fill="none">
                  <a:moveTo>
                    <a:pt x="625025" y="396459"/>
                  </a:moveTo>
                  <a:arcTo wR="317500" hR="317500" stAng="863999" swAng="15336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60" name="Harvey 30/100 [30]">
              <a:extLst>
                <a:ext uri="{FF2B5EF4-FFF2-40B4-BE49-F238E27FC236}">
                  <a16:creationId xmlns:a16="http://schemas.microsoft.com/office/drawing/2014/main" id="{2DF9C982-C062-4899-8A5F-20F49AD9E1B5}"/>
                </a:ext>
              </a:extLst>
            </p:cNvPr>
            <p:cNvSpPr>
              <a:spLocks noChangeAspect="1"/>
            </p:cNvSpPr>
            <p:nvPr>
              <p:custDataLst>
                <p:tags r:id="rId67"/>
              </p:custDataLst>
            </p:nvPr>
          </p:nvSpPr>
          <p:spPr>
            <a:xfrm>
              <a:off x="4334905" y="3282696"/>
              <a:ext cx="292608" cy="292608"/>
            </a:xfrm>
            <a:custGeom>
              <a:avLst/>
              <a:gdLst/>
              <a:ahLst/>
              <a:cxnLst/>
              <a:rect l="l" t="t" r="r" b="b"/>
              <a:pathLst>
                <a:path w="635000" h="635000">
                  <a:moveTo>
                    <a:pt x="317500" y="0"/>
                  </a:moveTo>
                  <a:arcTo wR="317500" hR="317500" stAng="16200000" swAng="6480000"/>
                  <a:lnTo>
                    <a:pt x="317500" y="317500"/>
                  </a:lnTo>
                  <a:close/>
                </a:path>
                <a:path w="635000" h="635000" fill="none">
                  <a:moveTo>
                    <a:pt x="619460" y="415612"/>
                  </a:moveTo>
                  <a:arcTo wR="317500" hR="317500" stAng="1080000" swAng="15119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61" name="Harvey 31/100 [31]">
              <a:extLst>
                <a:ext uri="{FF2B5EF4-FFF2-40B4-BE49-F238E27FC236}">
                  <a16:creationId xmlns:a16="http://schemas.microsoft.com/office/drawing/2014/main" id="{E98CD797-9DD9-4143-9058-D1ABF95E7406}"/>
                </a:ext>
              </a:extLst>
            </p:cNvPr>
            <p:cNvSpPr>
              <a:spLocks noChangeAspect="1"/>
            </p:cNvSpPr>
            <p:nvPr>
              <p:custDataLst>
                <p:tags r:id="rId68"/>
              </p:custDataLst>
            </p:nvPr>
          </p:nvSpPr>
          <p:spPr>
            <a:xfrm>
              <a:off x="4334905" y="3282696"/>
              <a:ext cx="292608" cy="292608"/>
            </a:xfrm>
            <a:custGeom>
              <a:avLst/>
              <a:gdLst/>
              <a:ahLst/>
              <a:cxnLst/>
              <a:rect l="l" t="t" r="r" b="b"/>
              <a:pathLst>
                <a:path w="635000" h="635000">
                  <a:moveTo>
                    <a:pt x="317500" y="0"/>
                  </a:moveTo>
                  <a:arcTo wR="317500" hR="317500" stAng="16200000" swAng="6696000"/>
                  <a:lnTo>
                    <a:pt x="317500" y="317500"/>
                  </a:lnTo>
                  <a:close/>
                </a:path>
                <a:path w="635000" h="635000" fill="none">
                  <a:moveTo>
                    <a:pt x="612704" y="434379"/>
                  </a:moveTo>
                  <a:arcTo wR="317500" hR="317500" stAng="1295999" swAng="14903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62" name="Harvey 32/100 [32]">
              <a:extLst>
                <a:ext uri="{FF2B5EF4-FFF2-40B4-BE49-F238E27FC236}">
                  <a16:creationId xmlns:a16="http://schemas.microsoft.com/office/drawing/2014/main" id="{39029FE4-844F-47DA-8FEF-FB68673FF10C}"/>
                </a:ext>
              </a:extLst>
            </p:cNvPr>
            <p:cNvSpPr>
              <a:spLocks noChangeAspect="1"/>
            </p:cNvSpPr>
            <p:nvPr>
              <p:custDataLst>
                <p:tags r:id="rId69"/>
              </p:custDataLst>
            </p:nvPr>
          </p:nvSpPr>
          <p:spPr>
            <a:xfrm>
              <a:off x="4334905" y="3282696"/>
              <a:ext cx="292608" cy="292608"/>
            </a:xfrm>
            <a:custGeom>
              <a:avLst/>
              <a:gdLst/>
              <a:ahLst/>
              <a:cxnLst/>
              <a:rect l="l" t="t" r="r" b="b"/>
              <a:pathLst>
                <a:path w="635000" h="635000">
                  <a:moveTo>
                    <a:pt x="317500" y="0"/>
                  </a:moveTo>
                  <a:arcTo wR="317500" hR="317500" stAng="16200000" swAng="6912000"/>
                  <a:lnTo>
                    <a:pt x="317500" y="317500"/>
                  </a:lnTo>
                  <a:close/>
                </a:path>
                <a:path w="635000" h="635000" fill="none">
                  <a:moveTo>
                    <a:pt x="604782" y="452684"/>
                  </a:moveTo>
                  <a:arcTo wR="317500" hR="317500" stAng="1512000" swAng="14687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63" name="Harvey 33/100 [33]">
              <a:extLst>
                <a:ext uri="{FF2B5EF4-FFF2-40B4-BE49-F238E27FC236}">
                  <a16:creationId xmlns:a16="http://schemas.microsoft.com/office/drawing/2014/main" id="{B99AA4D4-9C74-447B-89EF-8FD268FF95EE}"/>
                </a:ext>
              </a:extLst>
            </p:cNvPr>
            <p:cNvSpPr>
              <a:spLocks noChangeAspect="1"/>
            </p:cNvSpPr>
            <p:nvPr>
              <p:custDataLst>
                <p:tags r:id="rId70"/>
              </p:custDataLst>
            </p:nvPr>
          </p:nvSpPr>
          <p:spPr>
            <a:xfrm>
              <a:off x="4334905" y="3282696"/>
              <a:ext cx="292608" cy="292608"/>
            </a:xfrm>
            <a:custGeom>
              <a:avLst/>
              <a:gdLst/>
              <a:ahLst/>
              <a:cxnLst/>
              <a:rect l="l" t="t" r="r" b="b"/>
              <a:pathLst>
                <a:path w="635000" h="635000">
                  <a:moveTo>
                    <a:pt x="317500" y="0"/>
                  </a:moveTo>
                  <a:arcTo wR="317500" hR="317500" stAng="16200000" swAng="7128000"/>
                  <a:lnTo>
                    <a:pt x="317500" y="317500"/>
                  </a:lnTo>
                  <a:close/>
                </a:path>
                <a:path w="635000" h="635000" fill="none">
                  <a:moveTo>
                    <a:pt x="595727" y="470456"/>
                  </a:moveTo>
                  <a:arcTo wR="317500" hR="317500" stAng="1728000" swAng="14472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64" name="Harvey 34/100 [34]">
              <a:extLst>
                <a:ext uri="{FF2B5EF4-FFF2-40B4-BE49-F238E27FC236}">
                  <a16:creationId xmlns:a16="http://schemas.microsoft.com/office/drawing/2014/main" id="{0880CCDE-4DDE-49A8-AFB2-FDDCE314B4D3}"/>
                </a:ext>
              </a:extLst>
            </p:cNvPr>
            <p:cNvSpPr>
              <a:spLocks noChangeAspect="1"/>
            </p:cNvSpPr>
            <p:nvPr>
              <p:custDataLst>
                <p:tags r:id="rId71"/>
              </p:custDataLst>
            </p:nvPr>
          </p:nvSpPr>
          <p:spPr>
            <a:xfrm>
              <a:off x="4334905" y="3282696"/>
              <a:ext cx="292608" cy="292608"/>
            </a:xfrm>
            <a:custGeom>
              <a:avLst/>
              <a:gdLst/>
              <a:ahLst/>
              <a:cxnLst/>
              <a:rect l="l" t="t" r="r" b="b"/>
              <a:pathLst>
                <a:path w="635000" h="635000">
                  <a:moveTo>
                    <a:pt x="317500" y="0"/>
                  </a:moveTo>
                  <a:arcTo wR="317500" hR="317500" stAng="16200000" swAng="7344000"/>
                  <a:lnTo>
                    <a:pt x="317500" y="317500"/>
                  </a:lnTo>
                  <a:close/>
                </a:path>
                <a:path w="635000" h="635000" fill="none">
                  <a:moveTo>
                    <a:pt x="585574" y="487625"/>
                  </a:moveTo>
                  <a:arcTo wR="317500" hR="317500" stAng="1944000" swAng="14255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65" name="Harvey 35/100 [35]">
              <a:extLst>
                <a:ext uri="{FF2B5EF4-FFF2-40B4-BE49-F238E27FC236}">
                  <a16:creationId xmlns:a16="http://schemas.microsoft.com/office/drawing/2014/main" id="{F37E834A-F9D8-4623-BC85-60359856CCD0}"/>
                </a:ext>
              </a:extLst>
            </p:cNvPr>
            <p:cNvSpPr>
              <a:spLocks noChangeAspect="1"/>
            </p:cNvSpPr>
            <p:nvPr>
              <p:custDataLst>
                <p:tags r:id="rId72"/>
              </p:custDataLst>
            </p:nvPr>
          </p:nvSpPr>
          <p:spPr>
            <a:xfrm>
              <a:off x="4334905" y="3282696"/>
              <a:ext cx="292608" cy="292608"/>
            </a:xfrm>
            <a:custGeom>
              <a:avLst/>
              <a:gdLst/>
              <a:ahLst/>
              <a:cxnLst/>
              <a:rect l="l" t="t" r="r" b="b"/>
              <a:pathLst>
                <a:path w="635000" h="635000">
                  <a:moveTo>
                    <a:pt x="317500" y="0"/>
                  </a:moveTo>
                  <a:arcTo wR="317500" hR="317500" stAng="16200000" swAng="7559999"/>
                  <a:lnTo>
                    <a:pt x="317500" y="317500"/>
                  </a:lnTo>
                  <a:close/>
                </a:path>
                <a:path w="635000" h="635000" fill="none">
                  <a:moveTo>
                    <a:pt x="574362" y="504121"/>
                  </a:moveTo>
                  <a:arcTo wR="317500" hR="317500" stAng="2159999" swAng="14040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66" name="Harvey 36/100 [36]">
              <a:extLst>
                <a:ext uri="{FF2B5EF4-FFF2-40B4-BE49-F238E27FC236}">
                  <a16:creationId xmlns:a16="http://schemas.microsoft.com/office/drawing/2014/main" id="{15163940-B229-4368-B727-3714123C78AB}"/>
                </a:ext>
              </a:extLst>
            </p:cNvPr>
            <p:cNvSpPr>
              <a:spLocks noChangeAspect="1"/>
            </p:cNvSpPr>
            <p:nvPr>
              <p:custDataLst>
                <p:tags r:id="rId73"/>
              </p:custDataLst>
            </p:nvPr>
          </p:nvSpPr>
          <p:spPr>
            <a:xfrm>
              <a:off x="4334905" y="3282696"/>
              <a:ext cx="292608" cy="292608"/>
            </a:xfrm>
            <a:custGeom>
              <a:avLst/>
              <a:gdLst/>
              <a:ahLst/>
              <a:cxnLst/>
              <a:rect l="l" t="t" r="r" b="b"/>
              <a:pathLst>
                <a:path w="635000" h="635000">
                  <a:moveTo>
                    <a:pt x="317500" y="0"/>
                  </a:moveTo>
                  <a:arcTo wR="317500" hR="317500" stAng="16200000" swAng="7776000"/>
                  <a:lnTo>
                    <a:pt x="317500" y="317500"/>
                  </a:lnTo>
                  <a:close/>
                </a:path>
                <a:path w="635000" h="635000" fill="none">
                  <a:moveTo>
                    <a:pt x="562137" y="519882"/>
                  </a:moveTo>
                  <a:arcTo wR="317500" hR="317500" stAng="2375999" swAng="13824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67" name="Harvey 37/100 [37]">
              <a:extLst>
                <a:ext uri="{FF2B5EF4-FFF2-40B4-BE49-F238E27FC236}">
                  <a16:creationId xmlns:a16="http://schemas.microsoft.com/office/drawing/2014/main" id="{64BAECDC-27C7-4333-B9D8-59DE42A1B1AA}"/>
                </a:ext>
              </a:extLst>
            </p:cNvPr>
            <p:cNvSpPr>
              <a:spLocks noChangeAspect="1"/>
            </p:cNvSpPr>
            <p:nvPr>
              <p:custDataLst>
                <p:tags r:id="rId74"/>
              </p:custDataLst>
            </p:nvPr>
          </p:nvSpPr>
          <p:spPr>
            <a:xfrm>
              <a:off x="4334905" y="3282696"/>
              <a:ext cx="292608" cy="292608"/>
            </a:xfrm>
            <a:custGeom>
              <a:avLst/>
              <a:gdLst/>
              <a:ahLst/>
              <a:cxnLst/>
              <a:rect l="l" t="t" r="r" b="b"/>
              <a:pathLst>
                <a:path w="635000" h="635000">
                  <a:moveTo>
                    <a:pt x="317500" y="0"/>
                  </a:moveTo>
                  <a:arcTo wR="317500" hR="317500" stAng="16200000" swAng="7991999"/>
                  <a:lnTo>
                    <a:pt x="317500" y="317500"/>
                  </a:lnTo>
                  <a:close/>
                </a:path>
                <a:path w="635000" h="635000" fill="none">
                  <a:moveTo>
                    <a:pt x="548947" y="534843"/>
                  </a:moveTo>
                  <a:arcTo wR="317500" hR="317500" stAng="2591999" swAng="13608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68" name="Harvey 38/100 [38]">
              <a:extLst>
                <a:ext uri="{FF2B5EF4-FFF2-40B4-BE49-F238E27FC236}">
                  <a16:creationId xmlns:a16="http://schemas.microsoft.com/office/drawing/2014/main" id="{4F018A0A-A74A-4E47-BC47-203679D4F8C0}"/>
                </a:ext>
              </a:extLst>
            </p:cNvPr>
            <p:cNvSpPr>
              <a:spLocks noChangeAspect="1"/>
            </p:cNvSpPr>
            <p:nvPr>
              <p:custDataLst>
                <p:tags r:id="rId75"/>
              </p:custDataLst>
            </p:nvPr>
          </p:nvSpPr>
          <p:spPr>
            <a:xfrm>
              <a:off x="4334905" y="3282696"/>
              <a:ext cx="292608" cy="292608"/>
            </a:xfrm>
            <a:custGeom>
              <a:avLst/>
              <a:gdLst/>
              <a:ahLst/>
              <a:cxnLst/>
              <a:rect l="l" t="t" r="r" b="b"/>
              <a:pathLst>
                <a:path w="635000" h="635000">
                  <a:moveTo>
                    <a:pt x="317500" y="0"/>
                  </a:moveTo>
                  <a:arcTo wR="317500" hR="317500" stAng="16200000" swAng="8208000"/>
                  <a:lnTo>
                    <a:pt x="317500" y="317500"/>
                  </a:lnTo>
                  <a:close/>
                </a:path>
                <a:path w="635000" h="635000" fill="none">
                  <a:moveTo>
                    <a:pt x="534843" y="548947"/>
                  </a:moveTo>
                  <a:arcTo wR="317500" hR="317500" stAng="2808000" swAng="13392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69" name="Harvey 39/100 [39]">
              <a:extLst>
                <a:ext uri="{FF2B5EF4-FFF2-40B4-BE49-F238E27FC236}">
                  <a16:creationId xmlns:a16="http://schemas.microsoft.com/office/drawing/2014/main" id="{ACA75957-9FDB-46A2-82EC-77103CBEAC52}"/>
                </a:ext>
              </a:extLst>
            </p:cNvPr>
            <p:cNvSpPr>
              <a:spLocks noChangeAspect="1"/>
            </p:cNvSpPr>
            <p:nvPr>
              <p:custDataLst>
                <p:tags r:id="rId76"/>
              </p:custDataLst>
            </p:nvPr>
          </p:nvSpPr>
          <p:spPr>
            <a:xfrm>
              <a:off x="4334905" y="3282696"/>
              <a:ext cx="292608" cy="292608"/>
            </a:xfrm>
            <a:custGeom>
              <a:avLst/>
              <a:gdLst/>
              <a:ahLst/>
              <a:cxnLst/>
              <a:rect l="l" t="t" r="r" b="b"/>
              <a:pathLst>
                <a:path w="635000" h="635000">
                  <a:moveTo>
                    <a:pt x="317500" y="0"/>
                  </a:moveTo>
                  <a:arcTo wR="317500" hR="317500" stAng="16200000" swAng="8424000"/>
                  <a:lnTo>
                    <a:pt x="317500" y="317500"/>
                  </a:lnTo>
                  <a:close/>
                </a:path>
                <a:path w="635000" h="635000" fill="none">
                  <a:moveTo>
                    <a:pt x="519882" y="562137"/>
                  </a:moveTo>
                  <a:arcTo wR="317500" hR="317500" stAng="3024000" swAng="13176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70" name="Harvey 40/100 [40]">
              <a:extLst>
                <a:ext uri="{FF2B5EF4-FFF2-40B4-BE49-F238E27FC236}">
                  <a16:creationId xmlns:a16="http://schemas.microsoft.com/office/drawing/2014/main" id="{025DFA7F-A073-422A-8D20-E27D1ABE4342}"/>
                </a:ext>
              </a:extLst>
            </p:cNvPr>
            <p:cNvSpPr>
              <a:spLocks noChangeAspect="1"/>
            </p:cNvSpPr>
            <p:nvPr>
              <p:custDataLst>
                <p:tags r:id="rId77"/>
              </p:custDataLst>
            </p:nvPr>
          </p:nvSpPr>
          <p:spPr>
            <a:xfrm>
              <a:off x="4334905" y="3282696"/>
              <a:ext cx="292608" cy="292608"/>
            </a:xfrm>
            <a:custGeom>
              <a:avLst/>
              <a:gdLst/>
              <a:ahLst/>
              <a:cxnLst/>
              <a:rect l="l" t="t" r="r" b="b"/>
              <a:pathLst>
                <a:path w="635000" h="635000">
                  <a:moveTo>
                    <a:pt x="317500" y="0"/>
                  </a:moveTo>
                  <a:arcTo wR="317500" hR="317500" stAng="16200000" swAng="8640000"/>
                  <a:lnTo>
                    <a:pt x="317500" y="317500"/>
                  </a:lnTo>
                  <a:close/>
                </a:path>
                <a:path w="635000" h="635000" fill="none">
                  <a:moveTo>
                    <a:pt x="504121" y="574362"/>
                  </a:moveTo>
                  <a:arcTo wR="317500" hR="317500" stAng="3240000" swAng="12960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71" name="Harvey 41/100 [41]">
              <a:extLst>
                <a:ext uri="{FF2B5EF4-FFF2-40B4-BE49-F238E27FC236}">
                  <a16:creationId xmlns:a16="http://schemas.microsoft.com/office/drawing/2014/main" id="{BF311CE9-A4CB-4965-8F0F-5B6811E9FB20}"/>
                </a:ext>
              </a:extLst>
            </p:cNvPr>
            <p:cNvSpPr>
              <a:spLocks noChangeAspect="1"/>
            </p:cNvSpPr>
            <p:nvPr>
              <p:custDataLst>
                <p:tags r:id="rId78"/>
              </p:custDataLst>
            </p:nvPr>
          </p:nvSpPr>
          <p:spPr>
            <a:xfrm>
              <a:off x="4334905" y="3282696"/>
              <a:ext cx="292608" cy="292608"/>
            </a:xfrm>
            <a:custGeom>
              <a:avLst/>
              <a:gdLst/>
              <a:ahLst/>
              <a:cxnLst/>
              <a:rect l="l" t="t" r="r" b="b"/>
              <a:pathLst>
                <a:path w="635000" h="635000">
                  <a:moveTo>
                    <a:pt x="317500" y="0"/>
                  </a:moveTo>
                  <a:arcTo wR="317500" hR="317500" stAng="16200000" swAng="8856000"/>
                  <a:lnTo>
                    <a:pt x="317500" y="317500"/>
                  </a:lnTo>
                  <a:close/>
                </a:path>
                <a:path w="635000" h="635000" fill="none">
                  <a:moveTo>
                    <a:pt x="487625" y="585574"/>
                  </a:moveTo>
                  <a:arcTo wR="317500" hR="317500" stAng="3455999" swAng="12744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72" name="Harvey 42/100 [42]">
              <a:extLst>
                <a:ext uri="{FF2B5EF4-FFF2-40B4-BE49-F238E27FC236}">
                  <a16:creationId xmlns:a16="http://schemas.microsoft.com/office/drawing/2014/main" id="{1B415A3D-1E85-4E6A-8BAB-3BB56600BA4F}"/>
                </a:ext>
              </a:extLst>
            </p:cNvPr>
            <p:cNvSpPr>
              <a:spLocks noChangeAspect="1"/>
            </p:cNvSpPr>
            <p:nvPr>
              <p:custDataLst>
                <p:tags r:id="rId79"/>
              </p:custDataLst>
            </p:nvPr>
          </p:nvSpPr>
          <p:spPr>
            <a:xfrm>
              <a:off x="4334905" y="3282696"/>
              <a:ext cx="292608" cy="292608"/>
            </a:xfrm>
            <a:custGeom>
              <a:avLst/>
              <a:gdLst/>
              <a:ahLst/>
              <a:cxnLst/>
              <a:rect l="l" t="t" r="r" b="b"/>
              <a:pathLst>
                <a:path w="635000" h="635000">
                  <a:moveTo>
                    <a:pt x="317500" y="0"/>
                  </a:moveTo>
                  <a:arcTo wR="317500" hR="317500" stAng="16200000" swAng="9072000"/>
                  <a:lnTo>
                    <a:pt x="317500" y="317500"/>
                  </a:lnTo>
                  <a:close/>
                </a:path>
                <a:path w="635000" h="635000" fill="none">
                  <a:moveTo>
                    <a:pt x="470456" y="595727"/>
                  </a:moveTo>
                  <a:arcTo wR="317500" hR="317500" stAng="3671999" swAng="12528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73" name="Harvey 43/100 [43]">
              <a:extLst>
                <a:ext uri="{FF2B5EF4-FFF2-40B4-BE49-F238E27FC236}">
                  <a16:creationId xmlns:a16="http://schemas.microsoft.com/office/drawing/2014/main" id="{7EAD6077-4487-4E7D-846D-445E65B5291C}"/>
                </a:ext>
              </a:extLst>
            </p:cNvPr>
            <p:cNvSpPr>
              <a:spLocks noChangeAspect="1"/>
            </p:cNvSpPr>
            <p:nvPr>
              <p:custDataLst>
                <p:tags r:id="rId80"/>
              </p:custDataLst>
            </p:nvPr>
          </p:nvSpPr>
          <p:spPr>
            <a:xfrm>
              <a:off x="4334905" y="3282696"/>
              <a:ext cx="292608" cy="292608"/>
            </a:xfrm>
            <a:custGeom>
              <a:avLst/>
              <a:gdLst/>
              <a:ahLst/>
              <a:cxnLst/>
              <a:rect l="l" t="t" r="r" b="b"/>
              <a:pathLst>
                <a:path w="635000" h="635000">
                  <a:moveTo>
                    <a:pt x="317500" y="0"/>
                  </a:moveTo>
                  <a:arcTo wR="317500" hR="317500" stAng="16200000" swAng="9288000"/>
                  <a:lnTo>
                    <a:pt x="317500" y="317500"/>
                  </a:lnTo>
                  <a:close/>
                </a:path>
                <a:path w="635000" h="635000" fill="none">
                  <a:moveTo>
                    <a:pt x="452684" y="604782"/>
                  </a:moveTo>
                  <a:arcTo wR="317500" hR="317500" stAng="3888000" swAng="12312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74" name="Harvey 44/100 [44]">
              <a:extLst>
                <a:ext uri="{FF2B5EF4-FFF2-40B4-BE49-F238E27FC236}">
                  <a16:creationId xmlns:a16="http://schemas.microsoft.com/office/drawing/2014/main" id="{4B57ADAF-4A83-4CB4-8920-E2B9F994E83E}"/>
                </a:ext>
              </a:extLst>
            </p:cNvPr>
            <p:cNvSpPr>
              <a:spLocks noChangeAspect="1"/>
            </p:cNvSpPr>
            <p:nvPr>
              <p:custDataLst>
                <p:tags r:id="rId81"/>
              </p:custDataLst>
            </p:nvPr>
          </p:nvSpPr>
          <p:spPr>
            <a:xfrm>
              <a:off x="4334905" y="3282696"/>
              <a:ext cx="292608" cy="292608"/>
            </a:xfrm>
            <a:custGeom>
              <a:avLst/>
              <a:gdLst/>
              <a:ahLst/>
              <a:cxnLst/>
              <a:rect l="l" t="t" r="r" b="b"/>
              <a:pathLst>
                <a:path w="635000" h="635000">
                  <a:moveTo>
                    <a:pt x="317500" y="0"/>
                  </a:moveTo>
                  <a:arcTo wR="317500" hR="317500" stAng="16200000" swAng="9504000"/>
                  <a:lnTo>
                    <a:pt x="317500" y="317500"/>
                  </a:lnTo>
                  <a:close/>
                </a:path>
                <a:path w="635000" h="635000" fill="none">
                  <a:moveTo>
                    <a:pt x="434379" y="612704"/>
                  </a:moveTo>
                  <a:arcTo wR="317500" hR="317500" stAng="4104000" swAng="12096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75" name="Harvey 45/100 [45]">
              <a:extLst>
                <a:ext uri="{FF2B5EF4-FFF2-40B4-BE49-F238E27FC236}">
                  <a16:creationId xmlns:a16="http://schemas.microsoft.com/office/drawing/2014/main" id="{FF3E5416-AC43-4CBB-A32A-A966ED03106F}"/>
                </a:ext>
              </a:extLst>
            </p:cNvPr>
            <p:cNvSpPr>
              <a:spLocks noChangeAspect="1"/>
            </p:cNvSpPr>
            <p:nvPr>
              <p:custDataLst>
                <p:tags r:id="rId82"/>
              </p:custDataLst>
            </p:nvPr>
          </p:nvSpPr>
          <p:spPr>
            <a:xfrm>
              <a:off x="4334905" y="3282696"/>
              <a:ext cx="292608" cy="292608"/>
            </a:xfrm>
            <a:custGeom>
              <a:avLst/>
              <a:gdLst/>
              <a:ahLst/>
              <a:cxnLst/>
              <a:rect l="l" t="t" r="r" b="b"/>
              <a:pathLst>
                <a:path w="635000" h="635000">
                  <a:moveTo>
                    <a:pt x="317500" y="0"/>
                  </a:moveTo>
                  <a:arcTo wR="317500" hR="317500" stAng="16200000" swAng="9720000"/>
                  <a:lnTo>
                    <a:pt x="317500" y="317500"/>
                  </a:lnTo>
                  <a:close/>
                </a:path>
                <a:path w="635000" h="635000" fill="none">
                  <a:moveTo>
                    <a:pt x="415612" y="619460"/>
                  </a:moveTo>
                  <a:arcTo wR="317500" hR="317500" stAng="4320000" swAng="11880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76" name="Harvey 46/100 [46]">
              <a:extLst>
                <a:ext uri="{FF2B5EF4-FFF2-40B4-BE49-F238E27FC236}">
                  <a16:creationId xmlns:a16="http://schemas.microsoft.com/office/drawing/2014/main" id="{49AFF9C1-C19A-487C-A4C1-47DA87277C3B}"/>
                </a:ext>
              </a:extLst>
            </p:cNvPr>
            <p:cNvSpPr>
              <a:spLocks noChangeAspect="1"/>
            </p:cNvSpPr>
            <p:nvPr>
              <p:custDataLst>
                <p:tags r:id="rId83"/>
              </p:custDataLst>
            </p:nvPr>
          </p:nvSpPr>
          <p:spPr>
            <a:xfrm>
              <a:off x="4334905" y="3282696"/>
              <a:ext cx="292608" cy="292608"/>
            </a:xfrm>
            <a:custGeom>
              <a:avLst/>
              <a:gdLst/>
              <a:ahLst/>
              <a:cxnLst/>
              <a:rect l="l" t="t" r="r" b="b"/>
              <a:pathLst>
                <a:path w="635000" h="635000">
                  <a:moveTo>
                    <a:pt x="317500" y="0"/>
                  </a:moveTo>
                  <a:arcTo wR="317500" hR="317500" stAng="16200000" swAng="9936000"/>
                  <a:lnTo>
                    <a:pt x="317500" y="317500"/>
                  </a:lnTo>
                  <a:close/>
                </a:path>
                <a:path w="635000" h="635000" fill="none">
                  <a:moveTo>
                    <a:pt x="396459" y="625025"/>
                  </a:moveTo>
                  <a:arcTo wR="317500" hR="317500" stAng="4536000" swAng="11664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77" name="Harvey 47/100 [47]">
              <a:extLst>
                <a:ext uri="{FF2B5EF4-FFF2-40B4-BE49-F238E27FC236}">
                  <a16:creationId xmlns:a16="http://schemas.microsoft.com/office/drawing/2014/main" id="{F35AEE09-D82F-438F-9D01-96C6876241F1}"/>
                </a:ext>
              </a:extLst>
            </p:cNvPr>
            <p:cNvSpPr>
              <a:spLocks noChangeAspect="1"/>
            </p:cNvSpPr>
            <p:nvPr>
              <p:custDataLst>
                <p:tags r:id="rId84"/>
              </p:custDataLst>
            </p:nvPr>
          </p:nvSpPr>
          <p:spPr>
            <a:xfrm>
              <a:off x="4334905" y="3282696"/>
              <a:ext cx="292608" cy="292608"/>
            </a:xfrm>
            <a:custGeom>
              <a:avLst/>
              <a:gdLst/>
              <a:ahLst/>
              <a:cxnLst/>
              <a:rect l="l" t="t" r="r" b="b"/>
              <a:pathLst>
                <a:path w="635000" h="635000">
                  <a:moveTo>
                    <a:pt x="317500" y="0"/>
                  </a:moveTo>
                  <a:arcTo wR="317500" hR="317500" stAng="16200000" swAng="10152000"/>
                  <a:lnTo>
                    <a:pt x="317500" y="317500"/>
                  </a:lnTo>
                  <a:close/>
                </a:path>
                <a:path w="635000" h="635000" fill="none">
                  <a:moveTo>
                    <a:pt x="376993" y="629376"/>
                  </a:moveTo>
                  <a:arcTo wR="317500" hR="317500" stAng="4751999" swAng="11448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78" name="Harvey 48/100 [48]">
              <a:extLst>
                <a:ext uri="{FF2B5EF4-FFF2-40B4-BE49-F238E27FC236}">
                  <a16:creationId xmlns:a16="http://schemas.microsoft.com/office/drawing/2014/main" id="{4FC3325B-EEB2-4420-9715-1149CEACE9AC}"/>
                </a:ext>
              </a:extLst>
            </p:cNvPr>
            <p:cNvSpPr>
              <a:spLocks noChangeAspect="1"/>
            </p:cNvSpPr>
            <p:nvPr>
              <p:custDataLst>
                <p:tags r:id="rId85"/>
              </p:custDataLst>
            </p:nvPr>
          </p:nvSpPr>
          <p:spPr>
            <a:xfrm>
              <a:off x="4334905" y="3282696"/>
              <a:ext cx="292608" cy="292608"/>
            </a:xfrm>
            <a:custGeom>
              <a:avLst/>
              <a:gdLst/>
              <a:ahLst/>
              <a:cxnLst/>
              <a:rect l="l" t="t" r="r" b="b"/>
              <a:pathLst>
                <a:path w="635000" h="635000">
                  <a:moveTo>
                    <a:pt x="317500" y="0"/>
                  </a:moveTo>
                  <a:arcTo wR="317500" hR="317500" stAng="16200000" swAng="10367999"/>
                  <a:lnTo>
                    <a:pt x="317500" y="317500"/>
                  </a:lnTo>
                  <a:close/>
                </a:path>
                <a:path w="635000" h="635000" fill="none">
                  <a:moveTo>
                    <a:pt x="357293" y="632496"/>
                  </a:moveTo>
                  <a:arcTo wR="317500" hR="317500" stAng="4967999" swAng="11232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79" name="Harvey 49/100 [49]">
              <a:extLst>
                <a:ext uri="{FF2B5EF4-FFF2-40B4-BE49-F238E27FC236}">
                  <a16:creationId xmlns:a16="http://schemas.microsoft.com/office/drawing/2014/main" id="{3BE00D50-8FCE-4E11-AA24-10B621732F20}"/>
                </a:ext>
              </a:extLst>
            </p:cNvPr>
            <p:cNvSpPr>
              <a:spLocks noChangeAspect="1"/>
            </p:cNvSpPr>
            <p:nvPr>
              <p:custDataLst>
                <p:tags r:id="rId86"/>
              </p:custDataLst>
            </p:nvPr>
          </p:nvSpPr>
          <p:spPr>
            <a:xfrm>
              <a:off x="4334905" y="3282696"/>
              <a:ext cx="292608" cy="292608"/>
            </a:xfrm>
            <a:custGeom>
              <a:avLst/>
              <a:gdLst/>
              <a:ahLst/>
              <a:cxnLst/>
              <a:rect l="l" t="t" r="r" b="b"/>
              <a:pathLst>
                <a:path w="635000" h="635000">
                  <a:moveTo>
                    <a:pt x="317500" y="0"/>
                  </a:moveTo>
                  <a:arcTo wR="317500" hR="317500" stAng="16200000" swAng="10584000"/>
                  <a:lnTo>
                    <a:pt x="317500" y="317500"/>
                  </a:lnTo>
                  <a:close/>
                </a:path>
                <a:path w="635000" h="635000" fill="none">
                  <a:moveTo>
                    <a:pt x="337435" y="634373"/>
                  </a:moveTo>
                  <a:arcTo wR="317500" hR="317500" stAng="5184000" swAng="11016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80" name="Harvey 50/100 [50]">
              <a:extLst>
                <a:ext uri="{FF2B5EF4-FFF2-40B4-BE49-F238E27FC236}">
                  <a16:creationId xmlns:a16="http://schemas.microsoft.com/office/drawing/2014/main" id="{97083993-8BFD-443F-A3A3-D28EF389CE2B}"/>
                </a:ext>
              </a:extLst>
            </p:cNvPr>
            <p:cNvSpPr>
              <a:spLocks noChangeAspect="1"/>
            </p:cNvSpPr>
            <p:nvPr>
              <p:custDataLst>
                <p:tags r:id="rId87"/>
              </p:custDataLst>
            </p:nvPr>
          </p:nvSpPr>
          <p:spPr>
            <a:xfrm>
              <a:off x="4334905" y="3282696"/>
              <a:ext cx="292608" cy="292608"/>
            </a:xfrm>
            <a:custGeom>
              <a:avLst/>
              <a:gdLst/>
              <a:ahLst/>
              <a:cxnLst/>
              <a:rect l="l" t="t" r="r" b="b"/>
              <a:pathLst>
                <a:path w="635000" h="635000">
                  <a:moveTo>
                    <a:pt x="317500" y="0"/>
                  </a:moveTo>
                  <a:arcTo wR="317500" hR="317500" stAng="16200000" swAng="10800000"/>
                  <a:lnTo>
                    <a:pt x="317500" y="317500"/>
                  </a:lnTo>
                  <a:close/>
                </a:path>
                <a:path w="635000" h="635000" fill="none">
                  <a:moveTo>
                    <a:pt x="317500" y="635000"/>
                  </a:moveTo>
                  <a:arcTo wR="317500" hR="317500" stAng="5400000" swAng="10800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81" name="Harvey 51/100 [51]">
              <a:extLst>
                <a:ext uri="{FF2B5EF4-FFF2-40B4-BE49-F238E27FC236}">
                  <a16:creationId xmlns:a16="http://schemas.microsoft.com/office/drawing/2014/main" id="{BDE38762-18E9-47FF-895E-325F5976ECAA}"/>
                </a:ext>
              </a:extLst>
            </p:cNvPr>
            <p:cNvSpPr>
              <a:spLocks noChangeAspect="1"/>
            </p:cNvSpPr>
            <p:nvPr>
              <p:custDataLst>
                <p:tags r:id="rId88"/>
              </p:custDataLst>
            </p:nvPr>
          </p:nvSpPr>
          <p:spPr>
            <a:xfrm>
              <a:off x="4334905" y="3282696"/>
              <a:ext cx="292608" cy="292608"/>
            </a:xfrm>
            <a:custGeom>
              <a:avLst/>
              <a:gdLst/>
              <a:ahLst/>
              <a:cxnLst/>
              <a:rect l="l" t="t" r="r" b="b"/>
              <a:pathLst>
                <a:path w="635000" h="635000">
                  <a:moveTo>
                    <a:pt x="317500" y="0"/>
                  </a:moveTo>
                  <a:arcTo wR="317500" hR="317500" stAng="16200000" swAng="11016000"/>
                  <a:lnTo>
                    <a:pt x="317500" y="317500"/>
                  </a:lnTo>
                  <a:close/>
                </a:path>
                <a:path w="635000" h="635000" fill="none">
                  <a:moveTo>
                    <a:pt x="297564" y="634373"/>
                  </a:moveTo>
                  <a:arcTo wR="317500" hR="317500" stAng="5616000" swAng="10584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82" name="Harvey 52/100 [52]">
              <a:extLst>
                <a:ext uri="{FF2B5EF4-FFF2-40B4-BE49-F238E27FC236}">
                  <a16:creationId xmlns:a16="http://schemas.microsoft.com/office/drawing/2014/main" id="{785EAA21-FBCD-46DC-8430-7AB12F5A66AF}"/>
                </a:ext>
              </a:extLst>
            </p:cNvPr>
            <p:cNvSpPr>
              <a:spLocks noChangeAspect="1"/>
            </p:cNvSpPr>
            <p:nvPr>
              <p:custDataLst>
                <p:tags r:id="rId89"/>
              </p:custDataLst>
            </p:nvPr>
          </p:nvSpPr>
          <p:spPr>
            <a:xfrm>
              <a:off x="4334905" y="3282696"/>
              <a:ext cx="292608" cy="292608"/>
            </a:xfrm>
            <a:custGeom>
              <a:avLst/>
              <a:gdLst/>
              <a:ahLst/>
              <a:cxnLst/>
              <a:rect l="l" t="t" r="r" b="b"/>
              <a:pathLst>
                <a:path w="635000" h="635000">
                  <a:moveTo>
                    <a:pt x="317500" y="0"/>
                  </a:moveTo>
                  <a:arcTo wR="317500" hR="317500" stAng="16200000" swAng="11232000"/>
                  <a:lnTo>
                    <a:pt x="317500" y="317500"/>
                  </a:lnTo>
                  <a:close/>
                </a:path>
                <a:path w="635000" h="635000" fill="none">
                  <a:moveTo>
                    <a:pt x="277706" y="632496"/>
                  </a:moveTo>
                  <a:arcTo wR="317500" hR="317500" stAng="5832000" swAng="10367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83" name="Harvey 53/100 [53]">
              <a:extLst>
                <a:ext uri="{FF2B5EF4-FFF2-40B4-BE49-F238E27FC236}">
                  <a16:creationId xmlns:a16="http://schemas.microsoft.com/office/drawing/2014/main" id="{858D54BA-F4A5-4C67-830E-E85FF6EE735D}"/>
                </a:ext>
              </a:extLst>
            </p:cNvPr>
            <p:cNvSpPr>
              <a:spLocks noChangeAspect="1"/>
            </p:cNvSpPr>
            <p:nvPr>
              <p:custDataLst>
                <p:tags r:id="rId90"/>
              </p:custDataLst>
            </p:nvPr>
          </p:nvSpPr>
          <p:spPr>
            <a:xfrm>
              <a:off x="4334905" y="3282696"/>
              <a:ext cx="292608" cy="292608"/>
            </a:xfrm>
            <a:custGeom>
              <a:avLst/>
              <a:gdLst/>
              <a:ahLst/>
              <a:cxnLst/>
              <a:rect l="l" t="t" r="r" b="b"/>
              <a:pathLst>
                <a:path w="635000" h="635000">
                  <a:moveTo>
                    <a:pt x="317500" y="0"/>
                  </a:moveTo>
                  <a:arcTo wR="317500" hR="317500" stAng="16200000" swAng="11448000"/>
                  <a:lnTo>
                    <a:pt x="317500" y="317500"/>
                  </a:lnTo>
                  <a:close/>
                </a:path>
                <a:path w="635000" h="635000" fill="none">
                  <a:moveTo>
                    <a:pt x="258006" y="629376"/>
                  </a:moveTo>
                  <a:arcTo wR="317500" hR="317500" stAng="6048000" swAng="10152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84" name="Harvey 54/100 [54]">
              <a:extLst>
                <a:ext uri="{FF2B5EF4-FFF2-40B4-BE49-F238E27FC236}">
                  <a16:creationId xmlns:a16="http://schemas.microsoft.com/office/drawing/2014/main" id="{AC41BD7B-E1FA-4AED-B11C-E03936A672E6}"/>
                </a:ext>
              </a:extLst>
            </p:cNvPr>
            <p:cNvSpPr>
              <a:spLocks noChangeAspect="1"/>
            </p:cNvSpPr>
            <p:nvPr>
              <p:custDataLst>
                <p:tags r:id="rId91"/>
              </p:custDataLst>
            </p:nvPr>
          </p:nvSpPr>
          <p:spPr>
            <a:xfrm>
              <a:off x="4334905" y="3282696"/>
              <a:ext cx="292608" cy="292608"/>
            </a:xfrm>
            <a:custGeom>
              <a:avLst/>
              <a:gdLst/>
              <a:ahLst/>
              <a:cxnLst/>
              <a:rect l="l" t="t" r="r" b="b"/>
              <a:pathLst>
                <a:path w="635000" h="635000">
                  <a:moveTo>
                    <a:pt x="317500" y="0"/>
                  </a:moveTo>
                  <a:arcTo wR="317500" hR="317500" stAng="16200000" swAng="11664000"/>
                  <a:lnTo>
                    <a:pt x="317500" y="317500"/>
                  </a:lnTo>
                  <a:close/>
                </a:path>
                <a:path w="635000" h="635000" fill="none">
                  <a:moveTo>
                    <a:pt x="238540" y="625025"/>
                  </a:moveTo>
                  <a:arcTo wR="317500" hR="317500" stAng="6264000" swAng="9936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85" name="Harvey 55/100 [55]">
              <a:extLst>
                <a:ext uri="{FF2B5EF4-FFF2-40B4-BE49-F238E27FC236}">
                  <a16:creationId xmlns:a16="http://schemas.microsoft.com/office/drawing/2014/main" id="{BAF901A0-5FD1-4B29-9AF9-DB8B19412429}"/>
                </a:ext>
              </a:extLst>
            </p:cNvPr>
            <p:cNvSpPr>
              <a:spLocks noChangeAspect="1"/>
            </p:cNvSpPr>
            <p:nvPr>
              <p:custDataLst>
                <p:tags r:id="rId92"/>
              </p:custDataLst>
            </p:nvPr>
          </p:nvSpPr>
          <p:spPr>
            <a:xfrm>
              <a:off x="4334905" y="3282696"/>
              <a:ext cx="292608" cy="292608"/>
            </a:xfrm>
            <a:custGeom>
              <a:avLst/>
              <a:gdLst/>
              <a:ahLst/>
              <a:cxnLst/>
              <a:rect l="l" t="t" r="r" b="b"/>
              <a:pathLst>
                <a:path w="635000" h="635000">
                  <a:moveTo>
                    <a:pt x="317500" y="0"/>
                  </a:moveTo>
                  <a:arcTo wR="317500" hR="317500" stAng="16200000" swAng="11880000"/>
                  <a:lnTo>
                    <a:pt x="317500" y="317500"/>
                  </a:lnTo>
                  <a:close/>
                </a:path>
                <a:path w="635000" h="635000" fill="none">
                  <a:moveTo>
                    <a:pt x="219387" y="619460"/>
                  </a:moveTo>
                  <a:arcTo wR="317500" hR="317500" stAng="6480000" swAng="9719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86" name="Harvey 56/100 [56]">
              <a:extLst>
                <a:ext uri="{FF2B5EF4-FFF2-40B4-BE49-F238E27FC236}">
                  <a16:creationId xmlns:a16="http://schemas.microsoft.com/office/drawing/2014/main" id="{3EFF555D-6B7F-481F-ADC2-746953BA7F97}"/>
                </a:ext>
              </a:extLst>
            </p:cNvPr>
            <p:cNvSpPr>
              <a:spLocks noChangeAspect="1"/>
            </p:cNvSpPr>
            <p:nvPr>
              <p:custDataLst>
                <p:tags r:id="rId93"/>
              </p:custDataLst>
            </p:nvPr>
          </p:nvSpPr>
          <p:spPr>
            <a:xfrm>
              <a:off x="4334905" y="3282696"/>
              <a:ext cx="292608" cy="292608"/>
            </a:xfrm>
            <a:custGeom>
              <a:avLst/>
              <a:gdLst/>
              <a:ahLst/>
              <a:cxnLst/>
              <a:rect l="l" t="t" r="r" b="b"/>
              <a:pathLst>
                <a:path w="635000" h="635000">
                  <a:moveTo>
                    <a:pt x="317500" y="0"/>
                  </a:moveTo>
                  <a:arcTo wR="317500" hR="317500" stAng="16200000" swAng="12096000"/>
                  <a:lnTo>
                    <a:pt x="317500" y="317500"/>
                  </a:lnTo>
                  <a:close/>
                </a:path>
                <a:path w="635000" h="635000" fill="none">
                  <a:moveTo>
                    <a:pt x="200620" y="612704"/>
                  </a:moveTo>
                  <a:arcTo wR="317500" hR="317500" stAng="6696000" swAng="9503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87" name="Harvey 57/100 [57]">
              <a:extLst>
                <a:ext uri="{FF2B5EF4-FFF2-40B4-BE49-F238E27FC236}">
                  <a16:creationId xmlns:a16="http://schemas.microsoft.com/office/drawing/2014/main" id="{A4D3BE31-8C07-4912-AB8B-8331A665C238}"/>
                </a:ext>
              </a:extLst>
            </p:cNvPr>
            <p:cNvSpPr>
              <a:spLocks noChangeAspect="1"/>
            </p:cNvSpPr>
            <p:nvPr>
              <p:custDataLst>
                <p:tags r:id="rId94"/>
              </p:custDataLst>
            </p:nvPr>
          </p:nvSpPr>
          <p:spPr>
            <a:xfrm>
              <a:off x="4334905" y="3282696"/>
              <a:ext cx="292608" cy="292608"/>
            </a:xfrm>
            <a:custGeom>
              <a:avLst/>
              <a:gdLst/>
              <a:ahLst/>
              <a:cxnLst/>
              <a:rect l="l" t="t" r="r" b="b"/>
              <a:pathLst>
                <a:path w="635000" h="635000">
                  <a:moveTo>
                    <a:pt x="317500" y="0"/>
                  </a:moveTo>
                  <a:arcTo wR="317500" hR="317500" stAng="16200000" swAng="12312000"/>
                  <a:lnTo>
                    <a:pt x="317500" y="317500"/>
                  </a:lnTo>
                  <a:close/>
                </a:path>
                <a:path w="635000" h="635000" fill="none">
                  <a:moveTo>
                    <a:pt x="182315" y="604782"/>
                  </a:moveTo>
                  <a:arcTo wR="317500" hR="317500" stAng="6911999" swAng="9288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88" name="Harvey 58/100 [58]">
              <a:extLst>
                <a:ext uri="{FF2B5EF4-FFF2-40B4-BE49-F238E27FC236}">
                  <a16:creationId xmlns:a16="http://schemas.microsoft.com/office/drawing/2014/main" id="{E7B5A5D9-6DD2-4B0A-9557-7A7AF774103E}"/>
                </a:ext>
              </a:extLst>
            </p:cNvPr>
            <p:cNvSpPr>
              <a:spLocks noChangeAspect="1"/>
            </p:cNvSpPr>
            <p:nvPr>
              <p:custDataLst>
                <p:tags r:id="rId95"/>
              </p:custDataLst>
            </p:nvPr>
          </p:nvSpPr>
          <p:spPr>
            <a:xfrm>
              <a:off x="4334905" y="3282696"/>
              <a:ext cx="292608" cy="292608"/>
            </a:xfrm>
            <a:custGeom>
              <a:avLst/>
              <a:gdLst/>
              <a:ahLst/>
              <a:cxnLst/>
              <a:rect l="l" t="t" r="r" b="b"/>
              <a:pathLst>
                <a:path w="635000" h="635000">
                  <a:moveTo>
                    <a:pt x="317500" y="0"/>
                  </a:moveTo>
                  <a:arcTo wR="317500" hR="317500" stAng="16200000" swAng="12527999"/>
                  <a:lnTo>
                    <a:pt x="317500" y="317500"/>
                  </a:lnTo>
                  <a:close/>
                </a:path>
                <a:path w="635000" h="635000" fill="none">
                  <a:moveTo>
                    <a:pt x="164543" y="595727"/>
                  </a:moveTo>
                  <a:arcTo wR="317500" hR="317500" stAng="7127999" swAng="9072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89" name="Harvey 59/100 [59]">
              <a:extLst>
                <a:ext uri="{FF2B5EF4-FFF2-40B4-BE49-F238E27FC236}">
                  <a16:creationId xmlns:a16="http://schemas.microsoft.com/office/drawing/2014/main" id="{88458C0E-D234-4C86-A6CC-B8CD6C445F00}"/>
                </a:ext>
              </a:extLst>
            </p:cNvPr>
            <p:cNvSpPr>
              <a:spLocks noChangeAspect="1"/>
            </p:cNvSpPr>
            <p:nvPr>
              <p:custDataLst>
                <p:tags r:id="rId96"/>
              </p:custDataLst>
            </p:nvPr>
          </p:nvSpPr>
          <p:spPr>
            <a:xfrm>
              <a:off x="4334905" y="3282696"/>
              <a:ext cx="292608" cy="292608"/>
            </a:xfrm>
            <a:custGeom>
              <a:avLst/>
              <a:gdLst/>
              <a:ahLst/>
              <a:cxnLst/>
              <a:rect l="l" t="t" r="r" b="b"/>
              <a:pathLst>
                <a:path w="635000" h="635000">
                  <a:moveTo>
                    <a:pt x="317500" y="0"/>
                  </a:moveTo>
                  <a:arcTo wR="317500" hR="317500" stAng="16200000" swAng="12743999"/>
                  <a:lnTo>
                    <a:pt x="317500" y="317500"/>
                  </a:lnTo>
                  <a:close/>
                </a:path>
                <a:path w="635000" h="635000" fill="none">
                  <a:moveTo>
                    <a:pt x="147374" y="585574"/>
                  </a:moveTo>
                  <a:arcTo wR="317500" hR="317500" stAng="7343999" swAng="8856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90" name="Harvey 60/100 [60]">
              <a:extLst>
                <a:ext uri="{FF2B5EF4-FFF2-40B4-BE49-F238E27FC236}">
                  <a16:creationId xmlns:a16="http://schemas.microsoft.com/office/drawing/2014/main" id="{0924D2C6-D224-49FD-A4B8-312AFD605E78}"/>
                </a:ext>
              </a:extLst>
            </p:cNvPr>
            <p:cNvSpPr>
              <a:spLocks noChangeAspect="1"/>
            </p:cNvSpPr>
            <p:nvPr>
              <p:custDataLst>
                <p:tags r:id="rId97"/>
              </p:custDataLst>
            </p:nvPr>
          </p:nvSpPr>
          <p:spPr>
            <a:xfrm>
              <a:off x="4334905" y="3282696"/>
              <a:ext cx="292608" cy="292608"/>
            </a:xfrm>
            <a:custGeom>
              <a:avLst/>
              <a:gdLst/>
              <a:ahLst/>
              <a:cxnLst/>
              <a:rect l="l" t="t" r="r" b="b"/>
              <a:pathLst>
                <a:path w="635000" h="635000">
                  <a:moveTo>
                    <a:pt x="317500" y="0"/>
                  </a:moveTo>
                  <a:arcTo wR="317500" hR="317500" stAng="16200000" swAng="12960000"/>
                  <a:lnTo>
                    <a:pt x="317500" y="317500"/>
                  </a:lnTo>
                  <a:close/>
                </a:path>
                <a:path w="635000" h="635000" fill="none">
                  <a:moveTo>
                    <a:pt x="130878" y="574362"/>
                  </a:moveTo>
                  <a:arcTo wR="317500" hR="317500" stAng="7560000" swAng="8640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91" name="Harvey 61/100 [61]">
              <a:extLst>
                <a:ext uri="{FF2B5EF4-FFF2-40B4-BE49-F238E27FC236}">
                  <a16:creationId xmlns:a16="http://schemas.microsoft.com/office/drawing/2014/main" id="{F9FB23C2-D568-49AC-B8FD-0480EB019739}"/>
                </a:ext>
              </a:extLst>
            </p:cNvPr>
            <p:cNvSpPr>
              <a:spLocks noChangeAspect="1"/>
            </p:cNvSpPr>
            <p:nvPr>
              <p:custDataLst>
                <p:tags r:id="rId98"/>
              </p:custDataLst>
            </p:nvPr>
          </p:nvSpPr>
          <p:spPr>
            <a:xfrm>
              <a:off x="4334905" y="3282696"/>
              <a:ext cx="292608" cy="292608"/>
            </a:xfrm>
            <a:custGeom>
              <a:avLst/>
              <a:gdLst/>
              <a:ahLst/>
              <a:cxnLst/>
              <a:rect l="l" t="t" r="r" b="b"/>
              <a:pathLst>
                <a:path w="635000" h="635000">
                  <a:moveTo>
                    <a:pt x="317500" y="0"/>
                  </a:moveTo>
                  <a:arcTo wR="317500" hR="317500" stAng="16200000" swAng="13176000"/>
                  <a:lnTo>
                    <a:pt x="317500" y="317500"/>
                  </a:lnTo>
                  <a:close/>
                </a:path>
                <a:path w="635000" h="635000" fill="none">
                  <a:moveTo>
                    <a:pt x="115117" y="562137"/>
                  </a:moveTo>
                  <a:arcTo wR="317500" hR="317500" stAng="7776000" swAng="8424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92" name="Harvey 62/100 [62]">
              <a:extLst>
                <a:ext uri="{FF2B5EF4-FFF2-40B4-BE49-F238E27FC236}">
                  <a16:creationId xmlns:a16="http://schemas.microsoft.com/office/drawing/2014/main" id="{9EF3159D-F4FB-4032-BCCB-55E6ED5EEFC7}"/>
                </a:ext>
              </a:extLst>
            </p:cNvPr>
            <p:cNvSpPr>
              <a:spLocks noChangeAspect="1"/>
            </p:cNvSpPr>
            <p:nvPr>
              <p:custDataLst>
                <p:tags r:id="rId99"/>
              </p:custDataLst>
            </p:nvPr>
          </p:nvSpPr>
          <p:spPr>
            <a:xfrm>
              <a:off x="4334905" y="3282696"/>
              <a:ext cx="292608" cy="292608"/>
            </a:xfrm>
            <a:custGeom>
              <a:avLst/>
              <a:gdLst/>
              <a:ahLst/>
              <a:cxnLst/>
              <a:rect l="l" t="t" r="r" b="b"/>
              <a:pathLst>
                <a:path w="635000" h="635000">
                  <a:moveTo>
                    <a:pt x="317500" y="0"/>
                  </a:moveTo>
                  <a:arcTo wR="317500" hR="317500" stAng="16200000" swAng="13392000"/>
                  <a:lnTo>
                    <a:pt x="317500" y="317500"/>
                  </a:lnTo>
                  <a:close/>
                </a:path>
                <a:path w="635000" h="635000" fill="none">
                  <a:moveTo>
                    <a:pt x="100156" y="548947"/>
                  </a:moveTo>
                  <a:arcTo wR="317500" hR="317500" stAng="7991999" swAng="8208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93" name="Harvey 63/100 [63]">
              <a:extLst>
                <a:ext uri="{FF2B5EF4-FFF2-40B4-BE49-F238E27FC236}">
                  <a16:creationId xmlns:a16="http://schemas.microsoft.com/office/drawing/2014/main" id="{9362C8EA-6D15-4E0C-8AE9-B1B50EB297B8}"/>
                </a:ext>
              </a:extLst>
            </p:cNvPr>
            <p:cNvSpPr>
              <a:spLocks noChangeAspect="1"/>
            </p:cNvSpPr>
            <p:nvPr>
              <p:custDataLst>
                <p:tags r:id="rId100"/>
              </p:custDataLst>
            </p:nvPr>
          </p:nvSpPr>
          <p:spPr>
            <a:xfrm>
              <a:off x="4334905" y="3282696"/>
              <a:ext cx="292608" cy="292608"/>
            </a:xfrm>
            <a:custGeom>
              <a:avLst/>
              <a:gdLst/>
              <a:ahLst/>
              <a:cxnLst/>
              <a:rect l="l" t="t" r="r" b="b"/>
              <a:pathLst>
                <a:path w="635000" h="635000">
                  <a:moveTo>
                    <a:pt x="317500" y="0"/>
                  </a:moveTo>
                  <a:arcTo wR="317500" hR="317500" stAng="16200000" swAng="13608000"/>
                  <a:lnTo>
                    <a:pt x="317500" y="317500"/>
                  </a:lnTo>
                  <a:close/>
                </a:path>
                <a:path w="635000" h="635000" fill="none">
                  <a:moveTo>
                    <a:pt x="86052" y="534843"/>
                  </a:moveTo>
                  <a:arcTo wR="317500" hR="317500" stAng="8208000" swAng="7991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94" name="Harvey 64/100 [64]">
              <a:extLst>
                <a:ext uri="{FF2B5EF4-FFF2-40B4-BE49-F238E27FC236}">
                  <a16:creationId xmlns:a16="http://schemas.microsoft.com/office/drawing/2014/main" id="{91EB375D-1444-4BE3-A696-66272A1564CD}"/>
                </a:ext>
              </a:extLst>
            </p:cNvPr>
            <p:cNvSpPr>
              <a:spLocks noChangeAspect="1"/>
            </p:cNvSpPr>
            <p:nvPr>
              <p:custDataLst>
                <p:tags r:id="rId101"/>
              </p:custDataLst>
            </p:nvPr>
          </p:nvSpPr>
          <p:spPr>
            <a:xfrm>
              <a:off x="4334905" y="3282696"/>
              <a:ext cx="292608" cy="292608"/>
            </a:xfrm>
            <a:custGeom>
              <a:avLst/>
              <a:gdLst/>
              <a:ahLst/>
              <a:cxnLst/>
              <a:rect l="l" t="t" r="r" b="b"/>
              <a:pathLst>
                <a:path w="635000" h="635000">
                  <a:moveTo>
                    <a:pt x="317500" y="0"/>
                  </a:moveTo>
                  <a:arcTo wR="317500" hR="317500" stAng="16200000" swAng="13824000"/>
                  <a:lnTo>
                    <a:pt x="317500" y="317500"/>
                  </a:lnTo>
                  <a:close/>
                </a:path>
                <a:path w="635000" h="635000" fill="none">
                  <a:moveTo>
                    <a:pt x="72862" y="519882"/>
                  </a:moveTo>
                  <a:arcTo wR="317500" hR="317500" stAng="8424000" swAng="7776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95" name="Harvey 65/100 [65]">
              <a:extLst>
                <a:ext uri="{FF2B5EF4-FFF2-40B4-BE49-F238E27FC236}">
                  <a16:creationId xmlns:a16="http://schemas.microsoft.com/office/drawing/2014/main" id="{9A3002B1-5D17-4BCB-9A44-B2FB4025D02F}"/>
                </a:ext>
              </a:extLst>
            </p:cNvPr>
            <p:cNvSpPr>
              <a:spLocks noChangeAspect="1"/>
            </p:cNvSpPr>
            <p:nvPr>
              <p:custDataLst>
                <p:tags r:id="rId102"/>
              </p:custDataLst>
            </p:nvPr>
          </p:nvSpPr>
          <p:spPr>
            <a:xfrm>
              <a:off x="4334905" y="3282696"/>
              <a:ext cx="292608" cy="292608"/>
            </a:xfrm>
            <a:custGeom>
              <a:avLst/>
              <a:gdLst/>
              <a:ahLst/>
              <a:cxnLst/>
              <a:rect l="l" t="t" r="r" b="b"/>
              <a:pathLst>
                <a:path w="635000" h="635000">
                  <a:moveTo>
                    <a:pt x="317500" y="0"/>
                  </a:moveTo>
                  <a:arcTo wR="317500" hR="317500" stAng="16200000" swAng="14040000"/>
                  <a:lnTo>
                    <a:pt x="317500" y="317500"/>
                  </a:lnTo>
                  <a:close/>
                </a:path>
                <a:path w="635000" h="635000" fill="none">
                  <a:moveTo>
                    <a:pt x="60637" y="504121"/>
                  </a:moveTo>
                  <a:arcTo wR="317500" hR="317500" stAng="8640000" swAng="7559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96" name="Harvey 66/100 [66]">
              <a:extLst>
                <a:ext uri="{FF2B5EF4-FFF2-40B4-BE49-F238E27FC236}">
                  <a16:creationId xmlns:a16="http://schemas.microsoft.com/office/drawing/2014/main" id="{E5F2FDE4-04B2-4A45-A685-14E0C51883A5}"/>
                </a:ext>
              </a:extLst>
            </p:cNvPr>
            <p:cNvSpPr>
              <a:spLocks noChangeAspect="1"/>
            </p:cNvSpPr>
            <p:nvPr>
              <p:custDataLst>
                <p:tags r:id="rId103"/>
              </p:custDataLst>
            </p:nvPr>
          </p:nvSpPr>
          <p:spPr>
            <a:xfrm>
              <a:off x="4334905" y="3282696"/>
              <a:ext cx="292608" cy="292608"/>
            </a:xfrm>
            <a:custGeom>
              <a:avLst/>
              <a:gdLst/>
              <a:ahLst/>
              <a:cxnLst/>
              <a:rect l="l" t="t" r="r" b="b"/>
              <a:pathLst>
                <a:path w="635000" h="635000">
                  <a:moveTo>
                    <a:pt x="317500" y="0"/>
                  </a:moveTo>
                  <a:arcTo wR="317500" hR="317500" stAng="16200000" swAng="14256000"/>
                  <a:lnTo>
                    <a:pt x="317500" y="317500"/>
                  </a:lnTo>
                  <a:close/>
                </a:path>
                <a:path w="635000" h="635000" fill="none">
                  <a:moveTo>
                    <a:pt x="49425" y="487625"/>
                  </a:moveTo>
                  <a:arcTo wR="317500" hR="317500" stAng="8856000" swAng="7343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97" name="Harvey 67/100 [67]">
              <a:extLst>
                <a:ext uri="{FF2B5EF4-FFF2-40B4-BE49-F238E27FC236}">
                  <a16:creationId xmlns:a16="http://schemas.microsoft.com/office/drawing/2014/main" id="{D399A169-3845-4CD5-A62C-F4586F1FAFE8}"/>
                </a:ext>
              </a:extLst>
            </p:cNvPr>
            <p:cNvSpPr>
              <a:spLocks noChangeAspect="1"/>
            </p:cNvSpPr>
            <p:nvPr>
              <p:custDataLst>
                <p:tags r:id="rId104"/>
              </p:custDataLst>
            </p:nvPr>
          </p:nvSpPr>
          <p:spPr>
            <a:xfrm>
              <a:off x="4334905" y="3282696"/>
              <a:ext cx="292608" cy="292608"/>
            </a:xfrm>
            <a:custGeom>
              <a:avLst/>
              <a:gdLst/>
              <a:ahLst/>
              <a:cxnLst/>
              <a:rect l="l" t="t" r="r" b="b"/>
              <a:pathLst>
                <a:path w="635000" h="635000">
                  <a:moveTo>
                    <a:pt x="317500" y="0"/>
                  </a:moveTo>
                  <a:arcTo wR="317500" hR="317500" stAng="16200000" swAng="14472000"/>
                  <a:lnTo>
                    <a:pt x="317500" y="317500"/>
                  </a:lnTo>
                  <a:close/>
                </a:path>
                <a:path w="635000" h="635000" fill="none">
                  <a:moveTo>
                    <a:pt x="39272" y="470456"/>
                  </a:moveTo>
                  <a:arcTo wR="317500" hR="317500" stAng="9072000" swAng="7127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98" name="Harvey 68/100 [68]">
              <a:extLst>
                <a:ext uri="{FF2B5EF4-FFF2-40B4-BE49-F238E27FC236}">
                  <a16:creationId xmlns:a16="http://schemas.microsoft.com/office/drawing/2014/main" id="{E12F5173-9960-47F5-9A91-B043294E14CB}"/>
                </a:ext>
              </a:extLst>
            </p:cNvPr>
            <p:cNvSpPr>
              <a:spLocks noChangeAspect="1"/>
            </p:cNvSpPr>
            <p:nvPr>
              <p:custDataLst>
                <p:tags r:id="rId105"/>
              </p:custDataLst>
            </p:nvPr>
          </p:nvSpPr>
          <p:spPr>
            <a:xfrm>
              <a:off x="4334905" y="3282696"/>
              <a:ext cx="292608" cy="292608"/>
            </a:xfrm>
            <a:custGeom>
              <a:avLst/>
              <a:gdLst/>
              <a:ahLst/>
              <a:cxnLst/>
              <a:rect l="l" t="t" r="r" b="b"/>
              <a:pathLst>
                <a:path w="635000" h="635000">
                  <a:moveTo>
                    <a:pt x="317500" y="0"/>
                  </a:moveTo>
                  <a:arcTo wR="317500" hR="317500" stAng="16200000" swAng="14688000"/>
                  <a:lnTo>
                    <a:pt x="317500" y="317500"/>
                  </a:lnTo>
                  <a:close/>
                </a:path>
                <a:path w="635000" h="635000" fill="none">
                  <a:moveTo>
                    <a:pt x="30217" y="452684"/>
                  </a:moveTo>
                  <a:arcTo wR="317500" hR="317500" stAng="9288000" swAng="6911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99" name="Harvey 69/100 [69]">
              <a:extLst>
                <a:ext uri="{FF2B5EF4-FFF2-40B4-BE49-F238E27FC236}">
                  <a16:creationId xmlns:a16="http://schemas.microsoft.com/office/drawing/2014/main" id="{DD9B9229-3D3A-4706-BEEC-04C19A30C5C3}"/>
                </a:ext>
              </a:extLst>
            </p:cNvPr>
            <p:cNvSpPr>
              <a:spLocks noChangeAspect="1"/>
            </p:cNvSpPr>
            <p:nvPr>
              <p:custDataLst>
                <p:tags r:id="rId106"/>
              </p:custDataLst>
            </p:nvPr>
          </p:nvSpPr>
          <p:spPr>
            <a:xfrm>
              <a:off x="4334905" y="3282696"/>
              <a:ext cx="292608" cy="292608"/>
            </a:xfrm>
            <a:custGeom>
              <a:avLst/>
              <a:gdLst/>
              <a:ahLst/>
              <a:cxnLst/>
              <a:rect l="l" t="t" r="r" b="b"/>
              <a:pathLst>
                <a:path w="635000" h="635000">
                  <a:moveTo>
                    <a:pt x="317500" y="0"/>
                  </a:moveTo>
                  <a:arcTo wR="317500" hR="317500" stAng="16200000" swAng="14903999"/>
                  <a:lnTo>
                    <a:pt x="317500" y="317500"/>
                  </a:lnTo>
                  <a:close/>
                </a:path>
                <a:path w="635000" h="635000" fill="none">
                  <a:moveTo>
                    <a:pt x="22295" y="434379"/>
                  </a:moveTo>
                  <a:arcTo wR="317500" hR="317500" stAng="9503999" swAng="6696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00" name="Harvey 70/100 [70]">
              <a:extLst>
                <a:ext uri="{FF2B5EF4-FFF2-40B4-BE49-F238E27FC236}">
                  <a16:creationId xmlns:a16="http://schemas.microsoft.com/office/drawing/2014/main" id="{795A4CC8-0C08-491C-8D7F-95EC8E0E25B8}"/>
                </a:ext>
              </a:extLst>
            </p:cNvPr>
            <p:cNvSpPr>
              <a:spLocks noChangeAspect="1"/>
            </p:cNvSpPr>
            <p:nvPr>
              <p:custDataLst>
                <p:tags r:id="rId107"/>
              </p:custDataLst>
            </p:nvPr>
          </p:nvSpPr>
          <p:spPr>
            <a:xfrm>
              <a:off x="4334905" y="3282696"/>
              <a:ext cx="292608" cy="292608"/>
            </a:xfrm>
            <a:custGeom>
              <a:avLst/>
              <a:gdLst/>
              <a:ahLst/>
              <a:cxnLst/>
              <a:rect l="l" t="t" r="r" b="b"/>
              <a:pathLst>
                <a:path w="635000" h="635000">
                  <a:moveTo>
                    <a:pt x="317500" y="0"/>
                  </a:moveTo>
                  <a:arcTo wR="317500" hR="317500" stAng="16200000" swAng="15119999"/>
                  <a:lnTo>
                    <a:pt x="317500" y="317500"/>
                  </a:lnTo>
                  <a:close/>
                </a:path>
                <a:path w="635000" h="635000" fill="none">
                  <a:moveTo>
                    <a:pt x="15539" y="415612"/>
                  </a:moveTo>
                  <a:arcTo wR="317500" hR="317500" stAng="9719999" swAng="6480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01" name="Harvey 71/100 [71]">
              <a:extLst>
                <a:ext uri="{FF2B5EF4-FFF2-40B4-BE49-F238E27FC236}">
                  <a16:creationId xmlns:a16="http://schemas.microsoft.com/office/drawing/2014/main" id="{91862A76-5FCC-4C25-9A3F-A10651AC7725}"/>
                </a:ext>
              </a:extLst>
            </p:cNvPr>
            <p:cNvSpPr>
              <a:spLocks noChangeAspect="1"/>
            </p:cNvSpPr>
            <p:nvPr>
              <p:custDataLst>
                <p:tags r:id="rId108"/>
              </p:custDataLst>
            </p:nvPr>
          </p:nvSpPr>
          <p:spPr>
            <a:xfrm>
              <a:off x="4334905" y="3282696"/>
              <a:ext cx="292608" cy="292608"/>
            </a:xfrm>
            <a:custGeom>
              <a:avLst/>
              <a:gdLst/>
              <a:ahLst/>
              <a:cxnLst/>
              <a:rect l="l" t="t" r="r" b="b"/>
              <a:pathLst>
                <a:path w="635000" h="635000">
                  <a:moveTo>
                    <a:pt x="317500" y="0"/>
                  </a:moveTo>
                  <a:arcTo wR="317500" hR="317500" stAng="16200000" swAng="15336000"/>
                  <a:lnTo>
                    <a:pt x="317500" y="317500"/>
                  </a:lnTo>
                  <a:close/>
                </a:path>
                <a:path w="635000" h="635000" fill="none">
                  <a:moveTo>
                    <a:pt x="9974" y="396459"/>
                  </a:moveTo>
                  <a:arcTo wR="317500" hR="317500" stAng="9936000" swAng="6264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02" name="Harvey 72/100 [72]">
              <a:extLst>
                <a:ext uri="{FF2B5EF4-FFF2-40B4-BE49-F238E27FC236}">
                  <a16:creationId xmlns:a16="http://schemas.microsoft.com/office/drawing/2014/main" id="{46969644-17D9-45C9-A88A-9A88622DCE45}"/>
                </a:ext>
              </a:extLst>
            </p:cNvPr>
            <p:cNvSpPr>
              <a:spLocks noChangeAspect="1"/>
            </p:cNvSpPr>
            <p:nvPr>
              <p:custDataLst>
                <p:tags r:id="rId109"/>
              </p:custDataLst>
            </p:nvPr>
          </p:nvSpPr>
          <p:spPr>
            <a:xfrm>
              <a:off x="4334905" y="3282696"/>
              <a:ext cx="292608" cy="292608"/>
            </a:xfrm>
            <a:custGeom>
              <a:avLst/>
              <a:gdLst/>
              <a:ahLst/>
              <a:cxnLst/>
              <a:rect l="l" t="t" r="r" b="b"/>
              <a:pathLst>
                <a:path w="635000" h="635000">
                  <a:moveTo>
                    <a:pt x="317500" y="0"/>
                  </a:moveTo>
                  <a:arcTo wR="317500" hR="317500" stAng="16200000" swAng="15552000"/>
                  <a:lnTo>
                    <a:pt x="317500" y="317500"/>
                  </a:lnTo>
                  <a:close/>
                </a:path>
                <a:path w="635000" h="635000" fill="none">
                  <a:moveTo>
                    <a:pt x="5623" y="376993"/>
                  </a:moveTo>
                  <a:arcTo wR="317500" hR="317500" stAng="10152000" swAng="6048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03" name="Harvey 73/100 [73]">
              <a:extLst>
                <a:ext uri="{FF2B5EF4-FFF2-40B4-BE49-F238E27FC236}">
                  <a16:creationId xmlns:a16="http://schemas.microsoft.com/office/drawing/2014/main" id="{F89621F9-3ABB-450D-913E-7B467F289A9B}"/>
                </a:ext>
              </a:extLst>
            </p:cNvPr>
            <p:cNvSpPr>
              <a:spLocks noChangeAspect="1"/>
            </p:cNvSpPr>
            <p:nvPr>
              <p:custDataLst>
                <p:tags r:id="rId110"/>
              </p:custDataLst>
            </p:nvPr>
          </p:nvSpPr>
          <p:spPr>
            <a:xfrm>
              <a:off x="4334905" y="3282696"/>
              <a:ext cx="292608" cy="292608"/>
            </a:xfrm>
            <a:custGeom>
              <a:avLst/>
              <a:gdLst/>
              <a:ahLst/>
              <a:cxnLst/>
              <a:rect l="l" t="t" r="r" b="b"/>
              <a:pathLst>
                <a:path w="635000" h="635000">
                  <a:moveTo>
                    <a:pt x="317500" y="0"/>
                  </a:moveTo>
                  <a:arcTo wR="317500" hR="317500" stAng="16200000" swAng="15768000"/>
                  <a:lnTo>
                    <a:pt x="317500" y="317500"/>
                  </a:lnTo>
                  <a:close/>
                </a:path>
                <a:path w="635000" h="635000" fill="none">
                  <a:moveTo>
                    <a:pt x="2503" y="357293"/>
                  </a:moveTo>
                  <a:arcTo wR="317500" hR="317500" stAng="10368000" swAng="5832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04" name="Harvey 74/100 [74]">
              <a:extLst>
                <a:ext uri="{FF2B5EF4-FFF2-40B4-BE49-F238E27FC236}">
                  <a16:creationId xmlns:a16="http://schemas.microsoft.com/office/drawing/2014/main" id="{89EE4B1F-E703-471D-8307-BFB9EDEDB9F7}"/>
                </a:ext>
              </a:extLst>
            </p:cNvPr>
            <p:cNvSpPr>
              <a:spLocks noChangeAspect="1"/>
            </p:cNvSpPr>
            <p:nvPr>
              <p:custDataLst>
                <p:tags r:id="rId111"/>
              </p:custDataLst>
            </p:nvPr>
          </p:nvSpPr>
          <p:spPr>
            <a:xfrm>
              <a:off x="4334905" y="3282696"/>
              <a:ext cx="292608" cy="292608"/>
            </a:xfrm>
            <a:custGeom>
              <a:avLst/>
              <a:gdLst/>
              <a:ahLst/>
              <a:cxnLst/>
              <a:rect l="l" t="t" r="r" b="b"/>
              <a:pathLst>
                <a:path w="635000" h="635000">
                  <a:moveTo>
                    <a:pt x="317500" y="0"/>
                  </a:moveTo>
                  <a:arcTo wR="317500" hR="317500" stAng="16200000" swAng="15983999"/>
                  <a:lnTo>
                    <a:pt x="317500" y="317500"/>
                  </a:lnTo>
                  <a:close/>
                </a:path>
                <a:path w="635000" h="635000" fill="none">
                  <a:moveTo>
                    <a:pt x="626" y="337435"/>
                  </a:moveTo>
                  <a:arcTo wR="317500" hR="317500" stAng="10583999" swAng="5616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05" name="Harvey 75/100 [75]">
              <a:extLst>
                <a:ext uri="{FF2B5EF4-FFF2-40B4-BE49-F238E27FC236}">
                  <a16:creationId xmlns:a16="http://schemas.microsoft.com/office/drawing/2014/main" id="{8AB2EEA8-04AC-4B6C-8D90-28093DB647E6}"/>
                </a:ext>
              </a:extLst>
            </p:cNvPr>
            <p:cNvSpPr>
              <a:spLocks noChangeAspect="1"/>
            </p:cNvSpPr>
            <p:nvPr>
              <p:custDataLst>
                <p:tags r:id="rId112"/>
              </p:custDataLst>
            </p:nvPr>
          </p:nvSpPr>
          <p:spPr>
            <a:xfrm>
              <a:off x="4334905" y="3282696"/>
              <a:ext cx="292608" cy="292608"/>
            </a:xfrm>
            <a:custGeom>
              <a:avLst/>
              <a:gdLst/>
              <a:ahLst/>
              <a:cxnLst/>
              <a:rect l="l" t="t" r="r" b="b"/>
              <a:pathLst>
                <a:path w="635000" h="635000">
                  <a:moveTo>
                    <a:pt x="317500" y="0"/>
                  </a:moveTo>
                  <a:arcTo wR="317500" hR="317500" stAng="16200000" swAng="16200000"/>
                  <a:lnTo>
                    <a:pt x="317500" y="317500"/>
                  </a:lnTo>
                  <a:close/>
                </a:path>
                <a:path w="635000" h="635000" fill="none">
                  <a:moveTo>
                    <a:pt x="0" y="317500"/>
                  </a:moveTo>
                  <a:arcTo wR="317500" hR="317500" stAng="10800000" swAng="5400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06" name="Harvey 76/100 [76]">
              <a:extLst>
                <a:ext uri="{FF2B5EF4-FFF2-40B4-BE49-F238E27FC236}">
                  <a16:creationId xmlns:a16="http://schemas.microsoft.com/office/drawing/2014/main" id="{6F4E00F2-EA6F-4809-B2FD-4CE3ABE8C480}"/>
                </a:ext>
              </a:extLst>
            </p:cNvPr>
            <p:cNvSpPr>
              <a:spLocks noChangeAspect="1"/>
            </p:cNvSpPr>
            <p:nvPr>
              <p:custDataLst>
                <p:tags r:id="rId113"/>
              </p:custDataLst>
            </p:nvPr>
          </p:nvSpPr>
          <p:spPr>
            <a:xfrm>
              <a:off x="4334905" y="3282696"/>
              <a:ext cx="292608" cy="292608"/>
            </a:xfrm>
            <a:custGeom>
              <a:avLst/>
              <a:gdLst/>
              <a:ahLst/>
              <a:cxnLst/>
              <a:rect l="l" t="t" r="r" b="b"/>
              <a:pathLst>
                <a:path w="635000" h="635000">
                  <a:moveTo>
                    <a:pt x="317500" y="0"/>
                  </a:moveTo>
                  <a:arcTo wR="317500" hR="317500" stAng="16200000" swAng="16416000"/>
                  <a:lnTo>
                    <a:pt x="317500" y="317500"/>
                  </a:lnTo>
                  <a:close/>
                </a:path>
                <a:path w="635000" h="635000" fill="none">
                  <a:moveTo>
                    <a:pt x="626" y="297564"/>
                  </a:moveTo>
                  <a:arcTo wR="317500" hR="317500" stAng="11016000" swAng="5183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07" name="Harvey 77/100 [77]">
              <a:extLst>
                <a:ext uri="{FF2B5EF4-FFF2-40B4-BE49-F238E27FC236}">
                  <a16:creationId xmlns:a16="http://schemas.microsoft.com/office/drawing/2014/main" id="{CF5CA593-7B87-4492-9B35-2255514CB496}"/>
                </a:ext>
              </a:extLst>
            </p:cNvPr>
            <p:cNvSpPr>
              <a:spLocks noChangeAspect="1"/>
            </p:cNvSpPr>
            <p:nvPr>
              <p:custDataLst>
                <p:tags r:id="rId114"/>
              </p:custDataLst>
            </p:nvPr>
          </p:nvSpPr>
          <p:spPr>
            <a:xfrm>
              <a:off x="4334905" y="3282696"/>
              <a:ext cx="292608" cy="292608"/>
            </a:xfrm>
            <a:custGeom>
              <a:avLst/>
              <a:gdLst/>
              <a:ahLst/>
              <a:cxnLst/>
              <a:rect l="l" t="t" r="r" b="b"/>
              <a:pathLst>
                <a:path w="635000" h="635000">
                  <a:moveTo>
                    <a:pt x="317500" y="0"/>
                  </a:moveTo>
                  <a:arcTo wR="317500" hR="317500" stAng="16200000" swAng="16632000"/>
                  <a:lnTo>
                    <a:pt x="317500" y="317500"/>
                  </a:lnTo>
                  <a:close/>
                </a:path>
                <a:path w="635000" h="635000" fill="none">
                  <a:moveTo>
                    <a:pt x="2503" y="277706"/>
                  </a:moveTo>
                  <a:arcTo wR="317500" hR="317500" stAng="11232000" swAng="4968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08" name="Harvey 78/100 [78]">
              <a:extLst>
                <a:ext uri="{FF2B5EF4-FFF2-40B4-BE49-F238E27FC236}">
                  <a16:creationId xmlns:a16="http://schemas.microsoft.com/office/drawing/2014/main" id="{8C036464-458E-48D4-BAC8-84819F820C60}"/>
                </a:ext>
              </a:extLst>
            </p:cNvPr>
            <p:cNvSpPr>
              <a:spLocks noChangeAspect="1"/>
            </p:cNvSpPr>
            <p:nvPr>
              <p:custDataLst>
                <p:tags r:id="rId115"/>
              </p:custDataLst>
            </p:nvPr>
          </p:nvSpPr>
          <p:spPr>
            <a:xfrm>
              <a:off x="4334905" y="3282696"/>
              <a:ext cx="292608" cy="292608"/>
            </a:xfrm>
            <a:custGeom>
              <a:avLst/>
              <a:gdLst/>
              <a:ahLst/>
              <a:cxnLst/>
              <a:rect l="l" t="t" r="r" b="b"/>
              <a:pathLst>
                <a:path w="635000" h="635000">
                  <a:moveTo>
                    <a:pt x="317500" y="0"/>
                  </a:moveTo>
                  <a:arcTo wR="317500" hR="317500" stAng="16200000" swAng="16848000"/>
                  <a:lnTo>
                    <a:pt x="317500" y="317500"/>
                  </a:lnTo>
                  <a:close/>
                </a:path>
                <a:path w="635000" h="635000" fill="none">
                  <a:moveTo>
                    <a:pt x="5623" y="258006"/>
                  </a:moveTo>
                  <a:arcTo wR="317500" hR="317500" stAng="11448000" swAng="4751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09" name="Harvey 79/100 [79]">
              <a:extLst>
                <a:ext uri="{FF2B5EF4-FFF2-40B4-BE49-F238E27FC236}">
                  <a16:creationId xmlns:a16="http://schemas.microsoft.com/office/drawing/2014/main" id="{6FD5AC00-8293-447C-B728-B963DD67B1C2}"/>
                </a:ext>
              </a:extLst>
            </p:cNvPr>
            <p:cNvSpPr>
              <a:spLocks noChangeAspect="1"/>
            </p:cNvSpPr>
            <p:nvPr>
              <p:custDataLst>
                <p:tags r:id="rId116"/>
              </p:custDataLst>
            </p:nvPr>
          </p:nvSpPr>
          <p:spPr>
            <a:xfrm>
              <a:off x="4334905" y="3282696"/>
              <a:ext cx="292608" cy="292608"/>
            </a:xfrm>
            <a:custGeom>
              <a:avLst/>
              <a:gdLst/>
              <a:ahLst/>
              <a:cxnLst/>
              <a:rect l="l" t="t" r="r" b="b"/>
              <a:pathLst>
                <a:path w="635000" h="635000">
                  <a:moveTo>
                    <a:pt x="317500" y="0"/>
                  </a:moveTo>
                  <a:arcTo wR="317500" hR="317500" stAng="16200000" swAng="17064000"/>
                  <a:lnTo>
                    <a:pt x="317500" y="317500"/>
                  </a:lnTo>
                  <a:close/>
                </a:path>
                <a:path w="635000" h="635000" fill="none">
                  <a:moveTo>
                    <a:pt x="9974" y="238540"/>
                  </a:moveTo>
                  <a:arcTo wR="317500" hR="317500" stAng="11664000" swAng="4536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10" name="Harvey 80/100 [80]">
              <a:extLst>
                <a:ext uri="{FF2B5EF4-FFF2-40B4-BE49-F238E27FC236}">
                  <a16:creationId xmlns:a16="http://schemas.microsoft.com/office/drawing/2014/main" id="{29C0F859-BC49-430F-8C59-C0B9109E47A3}"/>
                </a:ext>
              </a:extLst>
            </p:cNvPr>
            <p:cNvSpPr>
              <a:spLocks noChangeAspect="1"/>
            </p:cNvSpPr>
            <p:nvPr>
              <p:custDataLst>
                <p:tags r:id="rId117"/>
              </p:custDataLst>
            </p:nvPr>
          </p:nvSpPr>
          <p:spPr>
            <a:xfrm>
              <a:off x="4334905" y="3282696"/>
              <a:ext cx="292608" cy="292608"/>
            </a:xfrm>
            <a:custGeom>
              <a:avLst/>
              <a:gdLst/>
              <a:ahLst/>
              <a:cxnLst/>
              <a:rect l="l" t="t" r="r" b="b"/>
              <a:pathLst>
                <a:path w="635000" h="635000">
                  <a:moveTo>
                    <a:pt x="317500" y="0"/>
                  </a:moveTo>
                  <a:arcTo wR="317500" hR="317500" stAng="16200000" swAng="17280000"/>
                  <a:lnTo>
                    <a:pt x="317500" y="317500"/>
                  </a:lnTo>
                  <a:close/>
                </a:path>
                <a:path w="635000" h="635000" fill="none">
                  <a:moveTo>
                    <a:pt x="15539" y="219387"/>
                  </a:moveTo>
                  <a:arcTo wR="317500" hR="317500" stAng="11880000" swAng="4319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11" name="Harvey 81/100 [81]">
              <a:extLst>
                <a:ext uri="{FF2B5EF4-FFF2-40B4-BE49-F238E27FC236}">
                  <a16:creationId xmlns:a16="http://schemas.microsoft.com/office/drawing/2014/main" id="{F78719E3-0417-4867-B70D-21538B3AC36E}"/>
                </a:ext>
              </a:extLst>
            </p:cNvPr>
            <p:cNvSpPr>
              <a:spLocks noChangeAspect="1"/>
            </p:cNvSpPr>
            <p:nvPr>
              <p:custDataLst>
                <p:tags r:id="rId118"/>
              </p:custDataLst>
            </p:nvPr>
          </p:nvSpPr>
          <p:spPr>
            <a:xfrm>
              <a:off x="4334905" y="3282696"/>
              <a:ext cx="292608" cy="292608"/>
            </a:xfrm>
            <a:custGeom>
              <a:avLst/>
              <a:gdLst/>
              <a:ahLst/>
              <a:cxnLst/>
              <a:rect l="l" t="t" r="r" b="b"/>
              <a:pathLst>
                <a:path w="635000" h="635000">
                  <a:moveTo>
                    <a:pt x="317500" y="0"/>
                  </a:moveTo>
                  <a:arcTo wR="317500" hR="317500" stAng="16200000" swAng="17496000"/>
                  <a:lnTo>
                    <a:pt x="317500" y="317500"/>
                  </a:lnTo>
                  <a:close/>
                </a:path>
                <a:path w="635000" h="635000" fill="none">
                  <a:moveTo>
                    <a:pt x="22295" y="200620"/>
                  </a:moveTo>
                  <a:arcTo wR="317500" hR="317500" stAng="12096000" swAng="4103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12" name="Harvey 82/100 [82]">
              <a:extLst>
                <a:ext uri="{FF2B5EF4-FFF2-40B4-BE49-F238E27FC236}">
                  <a16:creationId xmlns:a16="http://schemas.microsoft.com/office/drawing/2014/main" id="{9C5D0905-7412-4C75-BC20-E51105CA783D}"/>
                </a:ext>
              </a:extLst>
            </p:cNvPr>
            <p:cNvSpPr>
              <a:spLocks noChangeAspect="1"/>
            </p:cNvSpPr>
            <p:nvPr>
              <p:custDataLst>
                <p:tags r:id="rId119"/>
              </p:custDataLst>
            </p:nvPr>
          </p:nvSpPr>
          <p:spPr>
            <a:xfrm>
              <a:off x="4334905" y="3282696"/>
              <a:ext cx="292608" cy="292608"/>
            </a:xfrm>
            <a:custGeom>
              <a:avLst/>
              <a:gdLst/>
              <a:ahLst/>
              <a:cxnLst/>
              <a:rect l="l" t="t" r="r" b="b"/>
              <a:pathLst>
                <a:path w="635000" h="635000">
                  <a:moveTo>
                    <a:pt x="317500" y="0"/>
                  </a:moveTo>
                  <a:arcTo wR="317500" hR="317500" stAng="16200000" swAng="17712000"/>
                  <a:lnTo>
                    <a:pt x="317500" y="317500"/>
                  </a:lnTo>
                  <a:close/>
                </a:path>
                <a:path w="635000" h="635000" fill="none">
                  <a:moveTo>
                    <a:pt x="30217" y="182315"/>
                  </a:moveTo>
                  <a:arcTo wR="317500" hR="317500" stAng="12312000" swAng="3888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13" name="Harvey 83/100 [83]">
              <a:extLst>
                <a:ext uri="{FF2B5EF4-FFF2-40B4-BE49-F238E27FC236}">
                  <a16:creationId xmlns:a16="http://schemas.microsoft.com/office/drawing/2014/main" id="{96AA2E20-CC65-4632-B3D4-93E962B59D4C}"/>
                </a:ext>
              </a:extLst>
            </p:cNvPr>
            <p:cNvSpPr>
              <a:spLocks noChangeAspect="1"/>
            </p:cNvSpPr>
            <p:nvPr>
              <p:custDataLst>
                <p:tags r:id="rId120"/>
              </p:custDataLst>
            </p:nvPr>
          </p:nvSpPr>
          <p:spPr>
            <a:xfrm>
              <a:off x="4334905" y="3282696"/>
              <a:ext cx="292608" cy="292608"/>
            </a:xfrm>
            <a:custGeom>
              <a:avLst/>
              <a:gdLst/>
              <a:ahLst/>
              <a:cxnLst/>
              <a:rect l="l" t="t" r="r" b="b"/>
              <a:pathLst>
                <a:path w="635000" h="635000">
                  <a:moveTo>
                    <a:pt x="317500" y="0"/>
                  </a:moveTo>
                  <a:arcTo wR="317500" hR="317500" stAng="16200000" swAng="17928000"/>
                  <a:lnTo>
                    <a:pt x="317500" y="317500"/>
                  </a:lnTo>
                  <a:close/>
                </a:path>
                <a:path w="635000" h="635000" fill="none">
                  <a:moveTo>
                    <a:pt x="39272" y="164543"/>
                  </a:moveTo>
                  <a:arcTo wR="317500" hR="317500" stAng="12528000" swAng="3672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14" name="Harvey 84/100 [84]">
              <a:extLst>
                <a:ext uri="{FF2B5EF4-FFF2-40B4-BE49-F238E27FC236}">
                  <a16:creationId xmlns:a16="http://schemas.microsoft.com/office/drawing/2014/main" id="{9B4360A3-E0B2-48F7-B5A8-D24513748A82}"/>
                </a:ext>
              </a:extLst>
            </p:cNvPr>
            <p:cNvSpPr>
              <a:spLocks noChangeAspect="1"/>
            </p:cNvSpPr>
            <p:nvPr>
              <p:custDataLst>
                <p:tags r:id="rId121"/>
              </p:custDataLst>
            </p:nvPr>
          </p:nvSpPr>
          <p:spPr>
            <a:xfrm>
              <a:off x="4334905" y="3282696"/>
              <a:ext cx="292608" cy="292608"/>
            </a:xfrm>
            <a:custGeom>
              <a:avLst/>
              <a:gdLst/>
              <a:ahLst/>
              <a:cxnLst/>
              <a:rect l="l" t="t" r="r" b="b"/>
              <a:pathLst>
                <a:path w="635000" h="635000">
                  <a:moveTo>
                    <a:pt x="317500" y="0"/>
                  </a:moveTo>
                  <a:arcTo wR="317500" hR="317500" stAng="16200000" swAng="18144000"/>
                  <a:lnTo>
                    <a:pt x="317500" y="317500"/>
                  </a:lnTo>
                  <a:close/>
                </a:path>
                <a:path w="635000" h="635000" fill="none">
                  <a:moveTo>
                    <a:pt x="49425" y="147374"/>
                  </a:moveTo>
                  <a:arcTo wR="317500" hR="317500" stAng="12743999" swAng="3456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15" name="Harvey 85/100 [85]">
              <a:extLst>
                <a:ext uri="{FF2B5EF4-FFF2-40B4-BE49-F238E27FC236}">
                  <a16:creationId xmlns:a16="http://schemas.microsoft.com/office/drawing/2014/main" id="{D694B21E-EEA0-48FA-A35C-7B6570B3F861}"/>
                </a:ext>
              </a:extLst>
            </p:cNvPr>
            <p:cNvSpPr>
              <a:spLocks noChangeAspect="1"/>
            </p:cNvSpPr>
            <p:nvPr>
              <p:custDataLst>
                <p:tags r:id="rId122"/>
              </p:custDataLst>
            </p:nvPr>
          </p:nvSpPr>
          <p:spPr>
            <a:xfrm>
              <a:off x="4334905" y="3282696"/>
              <a:ext cx="292608" cy="292608"/>
            </a:xfrm>
            <a:custGeom>
              <a:avLst/>
              <a:gdLst/>
              <a:ahLst/>
              <a:cxnLst/>
              <a:rect l="l" t="t" r="r" b="b"/>
              <a:pathLst>
                <a:path w="635000" h="635000">
                  <a:moveTo>
                    <a:pt x="317500" y="0"/>
                  </a:moveTo>
                  <a:arcTo wR="317500" hR="317500" stAng="16200000" swAng="18360000"/>
                  <a:lnTo>
                    <a:pt x="317500" y="317500"/>
                  </a:lnTo>
                  <a:close/>
                </a:path>
                <a:path w="635000" h="635000" fill="none">
                  <a:moveTo>
                    <a:pt x="60637" y="130878"/>
                  </a:moveTo>
                  <a:arcTo wR="317500" hR="317500" stAng="12960000" swAng="3240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16" name="Harvey 86/100 [86]">
              <a:extLst>
                <a:ext uri="{FF2B5EF4-FFF2-40B4-BE49-F238E27FC236}">
                  <a16:creationId xmlns:a16="http://schemas.microsoft.com/office/drawing/2014/main" id="{85E1AF41-C21D-4514-B37E-CC830BC09C0A}"/>
                </a:ext>
              </a:extLst>
            </p:cNvPr>
            <p:cNvSpPr>
              <a:spLocks noChangeAspect="1"/>
            </p:cNvSpPr>
            <p:nvPr>
              <p:custDataLst>
                <p:tags r:id="rId123"/>
              </p:custDataLst>
            </p:nvPr>
          </p:nvSpPr>
          <p:spPr>
            <a:xfrm>
              <a:off x="4334905" y="3282696"/>
              <a:ext cx="292608" cy="292608"/>
            </a:xfrm>
            <a:custGeom>
              <a:avLst/>
              <a:gdLst/>
              <a:ahLst/>
              <a:cxnLst/>
              <a:rect l="l" t="t" r="r" b="b"/>
              <a:pathLst>
                <a:path w="635000" h="635000">
                  <a:moveTo>
                    <a:pt x="317500" y="0"/>
                  </a:moveTo>
                  <a:arcTo wR="317500" hR="317500" stAng="16200000" swAng="18576000"/>
                  <a:lnTo>
                    <a:pt x="317500" y="317500"/>
                  </a:lnTo>
                  <a:close/>
                </a:path>
                <a:path w="635000" h="635000" fill="none">
                  <a:moveTo>
                    <a:pt x="72862" y="115117"/>
                  </a:moveTo>
                  <a:arcTo wR="317500" hR="317500" stAng="13176000" swAng="3024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17" name="Harvey 87/100 [87]">
              <a:extLst>
                <a:ext uri="{FF2B5EF4-FFF2-40B4-BE49-F238E27FC236}">
                  <a16:creationId xmlns:a16="http://schemas.microsoft.com/office/drawing/2014/main" id="{E3948F2E-FD5F-4107-B122-9AC75FE0CD9E}"/>
                </a:ext>
              </a:extLst>
            </p:cNvPr>
            <p:cNvSpPr>
              <a:spLocks noChangeAspect="1"/>
            </p:cNvSpPr>
            <p:nvPr>
              <p:custDataLst>
                <p:tags r:id="rId124"/>
              </p:custDataLst>
            </p:nvPr>
          </p:nvSpPr>
          <p:spPr>
            <a:xfrm>
              <a:off x="4334905" y="3282696"/>
              <a:ext cx="292608" cy="292608"/>
            </a:xfrm>
            <a:custGeom>
              <a:avLst/>
              <a:gdLst/>
              <a:ahLst/>
              <a:cxnLst/>
              <a:rect l="l" t="t" r="r" b="b"/>
              <a:pathLst>
                <a:path w="635000" h="635000">
                  <a:moveTo>
                    <a:pt x="317500" y="0"/>
                  </a:moveTo>
                  <a:arcTo wR="317500" hR="317500" stAng="16200000" swAng="18792000"/>
                  <a:lnTo>
                    <a:pt x="317500" y="317500"/>
                  </a:lnTo>
                  <a:close/>
                </a:path>
                <a:path w="635000" h="635000" fill="none">
                  <a:moveTo>
                    <a:pt x="86052" y="100156"/>
                  </a:moveTo>
                  <a:arcTo wR="317500" hR="317500" stAng="13392000" swAng="2808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18" name="Harvey 88/100 [88]">
              <a:extLst>
                <a:ext uri="{FF2B5EF4-FFF2-40B4-BE49-F238E27FC236}">
                  <a16:creationId xmlns:a16="http://schemas.microsoft.com/office/drawing/2014/main" id="{744E57ED-019F-4A8B-A06E-9FB965FEBB23}"/>
                </a:ext>
              </a:extLst>
            </p:cNvPr>
            <p:cNvSpPr>
              <a:spLocks noChangeAspect="1"/>
            </p:cNvSpPr>
            <p:nvPr>
              <p:custDataLst>
                <p:tags r:id="rId125"/>
              </p:custDataLst>
            </p:nvPr>
          </p:nvSpPr>
          <p:spPr>
            <a:xfrm>
              <a:off x="4334905" y="3282696"/>
              <a:ext cx="292608" cy="292608"/>
            </a:xfrm>
            <a:custGeom>
              <a:avLst/>
              <a:gdLst/>
              <a:ahLst/>
              <a:cxnLst/>
              <a:rect l="l" t="t" r="r" b="b"/>
              <a:pathLst>
                <a:path w="635000" h="635000">
                  <a:moveTo>
                    <a:pt x="317500" y="0"/>
                  </a:moveTo>
                  <a:arcTo wR="317500" hR="317500" stAng="16200000" swAng="19008000"/>
                  <a:lnTo>
                    <a:pt x="317500" y="317500"/>
                  </a:lnTo>
                  <a:close/>
                </a:path>
                <a:path w="635000" h="635000" fill="none">
                  <a:moveTo>
                    <a:pt x="100156" y="86052"/>
                  </a:moveTo>
                  <a:arcTo wR="317500" hR="317500" stAng="13608000" swAng="2591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19" name="Harvey 89/100 [89]">
              <a:extLst>
                <a:ext uri="{FF2B5EF4-FFF2-40B4-BE49-F238E27FC236}">
                  <a16:creationId xmlns:a16="http://schemas.microsoft.com/office/drawing/2014/main" id="{5567719B-31CA-4A86-801E-E0531122E504}"/>
                </a:ext>
              </a:extLst>
            </p:cNvPr>
            <p:cNvSpPr>
              <a:spLocks noChangeAspect="1"/>
            </p:cNvSpPr>
            <p:nvPr>
              <p:custDataLst>
                <p:tags r:id="rId126"/>
              </p:custDataLst>
            </p:nvPr>
          </p:nvSpPr>
          <p:spPr>
            <a:xfrm>
              <a:off x="4334905" y="3282696"/>
              <a:ext cx="292608" cy="292608"/>
            </a:xfrm>
            <a:custGeom>
              <a:avLst/>
              <a:gdLst/>
              <a:ahLst/>
              <a:cxnLst/>
              <a:rect l="l" t="t" r="r" b="b"/>
              <a:pathLst>
                <a:path w="635000" h="635000">
                  <a:moveTo>
                    <a:pt x="317500" y="0"/>
                  </a:moveTo>
                  <a:arcTo wR="317500" hR="317500" stAng="16200000" swAng="19224000"/>
                  <a:lnTo>
                    <a:pt x="317500" y="317500"/>
                  </a:lnTo>
                  <a:close/>
                </a:path>
                <a:path w="635000" h="635000" fill="none">
                  <a:moveTo>
                    <a:pt x="115117" y="72862"/>
                  </a:moveTo>
                  <a:arcTo wR="317500" hR="317500" stAng="13823999" swAng="2375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20" name="Harvey 90/100 [90]">
              <a:extLst>
                <a:ext uri="{FF2B5EF4-FFF2-40B4-BE49-F238E27FC236}">
                  <a16:creationId xmlns:a16="http://schemas.microsoft.com/office/drawing/2014/main" id="{2CD4B3A1-B882-43A6-A4CA-C9FCA394B28B}"/>
                </a:ext>
              </a:extLst>
            </p:cNvPr>
            <p:cNvSpPr>
              <a:spLocks noChangeAspect="1"/>
            </p:cNvSpPr>
            <p:nvPr>
              <p:custDataLst>
                <p:tags r:id="rId127"/>
              </p:custDataLst>
            </p:nvPr>
          </p:nvSpPr>
          <p:spPr>
            <a:xfrm>
              <a:off x="4334905" y="3282696"/>
              <a:ext cx="292608" cy="292608"/>
            </a:xfrm>
            <a:custGeom>
              <a:avLst/>
              <a:gdLst/>
              <a:ahLst/>
              <a:cxnLst/>
              <a:rect l="l" t="t" r="r" b="b"/>
              <a:pathLst>
                <a:path w="635000" h="635000">
                  <a:moveTo>
                    <a:pt x="317500" y="0"/>
                  </a:moveTo>
                  <a:arcTo wR="317500" hR="317500" stAng="16200000" swAng="19440000"/>
                  <a:lnTo>
                    <a:pt x="317500" y="317500"/>
                  </a:lnTo>
                  <a:close/>
                </a:path>
                <a:path w="635000" h="635000" fill="none">
                  <a:moveTo>
                    <a:pt x="130878" y="60637"/>
                  </a:moveTo>
                  <a:arcTo wR="317500" hR="317500" stAng="14040000" swAng="2159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21" name="Harvey 91/100 [91]">
              <a:extLst>
                <a:ext uri="{FF2B5EF4-FFF2-40B4-BE49-F238E27FC236}">
                  <a16:creationId xmlns:a16="http://schemas.microsoft.com/office/drawing/2014/main" id="{68606D93-5175-4900-AD89-6D0710AFE75F}"/>
                </a:ext>
              </a:extLst>
            </p:cNvPr>
            <p:cNvSpPr>
              <a:spLocks noChangeAspect="1"/>
            </p:cNvSpPr>
            <p:nvPr>
              <p:custDataLst>
                <p:tags r:id="rId128"/>
              </p:custDataLst>
            </p:nvPr>
          </p:nvSpPr>
          <p:spPr>
            <a:xfrm>
              <a:off x="4334905" y="3282696"/>
              <a:ext cx="292608" cy="292608"/>
            </a:xfrm>
            <a:custGeom>
              <a:avLst/>
              <a:gdLst/>
              <a:ahLst/>
              <a:cxnLst/>
              <a:rect l="l" t="t" r="r" b="b"/>
              <a:pathLst>
                <a:path w="635000" h="635000">
                  <a:moveTo>
                    <a:pt x="317500" y="0"/>
                  </a:moveTo>
                  <a:arcTo wR="317500" hR="317500" stAng="16200000" swAng="19656000"/>
                  <a:lnTo>
                    <a:pt x="317500" y="317500"/>
                  </a:lnTo>
                  <a:close/>
                </a:path>
                <a:path w="635000" h="635000" fill="none">
                  <a:moveTo>
                    <a:pt x="147374" y="49425"/>
                  </a:moveTo>
                  <a:arcTo wR="317500" hR="317500" stAng="14256000" swAng="1943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22" name="Harvey 92/100 [92]">
              <a:extLst>
                <a:ext uri="{FF2B5EF4-FFF2-40B4-BE49-F238E27FC236}">
                  <a16:creationId xmlns:a16="http://schemas.microsoft.com/office/drawing/2014/main" id="{7EE30864-DDCC-4BBA-B70A-48810E224581}"/>
                </a:ext>
              </a:extLst>
            </p:cNvPr>
            <p:cNvSpPr>
              <a:spLocks noChangeAspect="1"/>
            </p:cNvSpPr>
            <p:nvPr>
              <p:custDataLst>
                <p:tags r:id="rId129"/>
              </p:custDataLst>
            </p:nvPr>
          </p:nvSpPr>
          <p:spPr>
            <a:xfrm>
              <a:off x="4334905" y="3282696"/>
              <a:ext cx="292608" cy="292608"/>
            </a:xfrm>
            <a:custGeom>
              <a:avLst/>
              <a:gdLst/>
              <a:ahLst/>
              <a:cxnLst/>
              <a:rect l="l" t="t" r="r" b="b"/>
              <a:pathLst>
                <a:path w="635000" h="635000">
                  <a:moveTo>
                    <a:pt x="317500" y="0"/>
                  </a:moveTo>
                  <a:arcTo wR="317500" hR="317500" stAng="16200000" swAng="19872000"/>
                  <a:lnTo>
                    <a:pt x="317500" y="317500"/>
                  </a:lnTo>
                  <a:close/>
                </a:path>
                <a:path w="635000" h="635000" fill="none">
                  <a:moveTo>
                    <a:pt x="164543" y="39272"/>
                  </a:moveTo>
                  <a:arcTo wR="317500" hR="317500" stAng="14472000" swAng="1727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23" name="Harvey 93/100 [93]">
              <a:extLst>
                <a:ext uri="{FF2B5EF4-FFF2-40B4-BE49-F238E27FC236}">
                  <a16:creationId xmlns:a16="http://schemas.microsoft.com/office/drawing/2014/main" id="{608CA488-A707-4C7A-9287-9DA9A38ED3D4}"/>
                </a:ext>
              </a:extLst>
            </p:cNvPr>
            <p:cNvSpPr>
              <a:spLocks noChangeAspect="1"/>
            </p:cNvSpPr>
            <p:nvPr>
              <p:custDataLst>
                <p:tags r:id="rId130"/>
              </p:custDataLst>
            </p:nvPr>
          </p:nvSpPr>
          <p:spPr>
            <a:xfrm>
              <a:off x="4334905" y="3282696"/>
              <a:ext cx="292608" cy="292608"/>
            </a:xfrm>
            <a:custGeom>
              <a:avLst/>
              <a:gdLst/>
              <a:ahLst/>
              <a:cxnLst/>
              <a:rect l="l" t="t" r="r" b="b"/>
              <a:pathLst>
                <a:path w="635000" h="635000">
                  <a:moveTo>
                    <a:pt x="317500" y="0"/>
                  </a:moveTo>
                  <a:arcTo wR="317500" hR="317500" stAng="16200000" swAng="20088000"/>
                  <a:lnTo>
                    <a:pt x="317500" y="317500"/>
                  </a:lnTo>
                  <a:close/>
                </a:path>
                <a:path w="635000" h="635000" fill="none">
                  <a:moveTo>
                    <a:pt x="182315" y="30217"/>
                  </a:moveTo>
                  <a:arcTo wR="317500" hR="317500" stAng="14688000" swAng="1511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24" name="Harvey 94/100 [94]">
              <a:extLst>
                <a:ext uri="{FF2B5EF4-FFF2-40B4-BE49-F238E27FC236}">
                  <a16:creationId xmlns:a16="http://schemas.microsoft.com/office/drawing/2014/main" id="{FE1836A9-F92A-4F07-BBB8-2274E290E952}"/>
                </a:ext>
              </a:extLst>
            </p:cNvPr>
            <p:cNvSpPr>
              <a:spLocks noChangeAspect="1"/>
            </p:cNvSpPr>
            <p:nvPr>
              <p:custDataLst>
                <p:tags r:id="rId131"/>
              </p:custDataLst>
            </p:nvPr>
          </p:nvSpPr>
          <p:spPr>
            <a:xfrm>
              <a:off x="4334905" y="3282696"/>
              <a:ext cx="292608" cy="292608"/>
            </a:xfrm>
            <a:custGeom>
              <a:avLst/>
              <a:gdLst/>
              <a:ahLst/>
              <a:cxnLst/>
              <a:rect l="l" t="t" r="r" b="b"/>
              <a:pathLst>
                <a:path w="635000" h="635000">
                  <a:moveTo>
                    <a:pt x="317500" y="0"/>
                  </a:moveTo>
                  <a:arcTo wR="317500" hR="317500" stAng="16200000" swAng="20304000"/>
                  <a:lnTo>
                    <a:pt x="317500" y="317500"/>
                  </a:lnTo>
                  <a:close/>
                </a:path>
                <a:path w="635000" h="635000" fill="none">
                  <a:moveTo>
                    <a:pt x="200620" y="22295"/>
                  </a:moveTo>
                  <a:arcTo wR="317500" hR="317500" stAng="14903999" swAng="1296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25" name="Harvey 95/100 [95]">
              <a:extLst>
                <a:ext uri="{FF2B5EF4-FFF2-40B4-BE49-F238E27FC236}">
                  <a16:creationId xmlns:a16="http://schemas.microsoft.com/office/drawing/2014/main" id="{3169BE73-7F99-46E3-BDA9-D9BB85BE343E}"/>
                </a:ext>
              </a:extLst>
            </p:cNvPr>
            <p:cNvSpPr>
              <a:spLocks noChangeAspect="1"/>
            </p:cNvSpPr>
            <p:nvPr>
              <p:custDataLst>
                <p:tags r:id="rId132"/>
              </p:custDataLst>
            </p:nvPr>
          </p:nvSpPr>
          <p:spPr>
            <a:xfrm>
              <a:off x="4334905" y="3282696"/>
              <a:ext cx="292608" cy="292608"/>
            </a:xfrm>
            <a:custGeom>
              <a:avLst/>
              <a:gdLst/>
              <a:ahLst/>
              <a:cxnLst/>
              <a:rect l="l" t="t" r="r" b="b"/>
              <a:pathLst>
                <a:path w="635000" h="635000">
                  <a:moveTo>
                    <a:pt x="317500" y="0"/>
                  </a:moveTo>
                  <a:arcTo wR="317500" hR="317500" stAng="16200000" swAng="20520000"/>
                  <a:lnTo>
                    <a:pt x="317500" y="317500"/>
                  </a:lnTo>
                  <a:close/>
                </a:path>
                <a:path w="635000" h="635000" fill="none">
                  <a:moveTo>
                    <a:pt x="219387" y="15539"/>
                  </a:moveTo>
                  <a:arcTo wR="317500" hR="317500" stAng="15120000" swAng="1080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26" name="Harvey 96/100 [96]">
              <a:extLst>
                <a:ext uri="{FF2B5EF4-FFF2-40B4-BE49-F238E27FC236}">
                  <a16:creationId xmlns:a16="http://schemas.microsoft.com/office/drawing/2014/main" id="{12E3B5ED-B1AB-4A99-BD20-FF638135BE37}"/>
                </a:ext>
              </a:extLst>
            </p:cNvPr>
            <p:cNvSpPr>
              <a:spLocks noChangeAspect="1"/>
            </p:cNvSpPr>
            <p:nvPr>
              <p:custDataLst>
                <p:tags r:id="rId133"/>
              </p:custDataLst>
            </p:nvPr>
          </p:nvSpPr>
          <p:spPr>
            <a:xfrm>
              <a:off x="4334905" y="3282696"/>
              <a:ext cx="292608" cy="292608"/>
            </a:xfrm>
            <a:custGeom>
              <a:avLst/>
              <a:gdLst/>
              <a:ahLst/>
              <a:cxnLst/>
              <a:rect l="l" t="t" r="r" b="b"/>
              <a:pathLst>
                <a:path w="635000" h="635000">
                  <a:moveTo>
                    <a:pt x="317500" y="0"/>
                  </a:moveTo>
                  <a:arcTo wR="317500" hR="317500" stAng="16200000" swAng="20735999"/>
                  <a:lnTo>
                    <a:pt x="317500" y="317500"/>
                  </a:lnTo>
                  <a:close/>
                </a:path>
                <a:path w="635000" h="635000" fill="none">
                  <a:moveTo>
                    <a:pt x="238540" y="9974"/>
                  </a:moveTo>
                  <a:arcTo wR="317500" hR="317500" stAng="15335999" swAng="864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27" name="Harvey 97/100 [97]">
              <a:extLst>
                <a:ext uri="{FF2B5EF4-FFF2-40B4-BE49-F238E27FC236}">
                  <a16:creationId xmlns:a16="http://schemas.microsoft.com/office/drawing/2014/main" id="{75A7FEAD-6C4B-4F7A-BB60-3A68D96114DE}"/>
                </a:ext>
              </a:extLst>
            </p:cNvPr>
            <p:cNvSpPr>
              <a:spLocks noChangeAspect="1"/>
            </p:cNvSpPr>
            <p:nvPr>
              <p:custDataLst>
                <p:tags r:id="rId134"/>
              </p:custDataLst>
            </p:nvPr>
          </p:nvSpPr>
          <p:spPr>
            <a:xfrm>
              <a:off x="4334905" y="3282696"/>
              <a:ext cx="292608" cy="292608"/>
            </a:xfrm>
            <a:custGeom>
              <a:avLst/>
              <a:gdLst/>
              <a:ahLst/>
              <a:cxnLst/>
              <a:rect l="l" t="t" r="r" b="b"/>
              <a:pathLst>
                <a:path w="635000" h="635000">
                  <a:moveTo>
                    <a:pt x="317500" y="0"/>
                  </a:moveTo>
                  <a:arcTo wR="317500" hR="317500" stAng="16200000" swAng="20952000"/>
                  <a:lnTo>
                    <a:pt x="317500" y="317500"/>
                  </a:lnTo>
                  <a:close/>
                </a:path>
                <a:path w="635000" h="635000" fill="none">
                  <a:moveTo>
                    <a:pt x="258006" y="5623"/>
                  </a:moveTo>
                  <a:arcTo wR="317500" hR="317500" stAng="15552000" swAng="648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28" name="Harvey 98/100 [98]">
              <a:extLst>
                <a:ext uri="{FF2B5EF4-FFF2-40B4-BE49-F238E27FC236}">
                  <a16:creationId xmlns:a16="http://schemas.microsoft.com/office/drawing/2014/main" id="{C4B5128E-9380-4C38-A1EB-CB12E7401609}"/>
                </a:ext>
              </a:extLst>
            </p:cNvPr>
            <p:cNvSpPr>
              <a:spLocks noChangeAspect="1"/>
            </p:cNvSpPr>
            <p:nvPr>
              <p:custDataLst>
                <p:tags r:id="rId135"/>
              </p:custDataLst>
            </p:nvPr>
          </p:nvSpPr>
          <p:spPr>
            <a:xfrm>
              <a:off x="4334905" y="3282696"/>
              <a:ext cx="292608" cy="292608"/>
            </a:xfrm>
            <a:custGeom>
              <a:avLst/>
              <a:gdLst/>
              <a:ahLst/>
              <a:cxnLst/>
              <a:rect l="l" t="t" r="r" b="b"/>
              <a:pathLst>
                <a:path w="635000" h="635000">
                  <a:moveTo>
                    <a:pt x="317500" y="0"/>
                  </a:moveTo>
                  <a:arcTo wR="317500" hR="317500" stAng="16200000" swAng="21168000"/>
                  <a:lnTo>
                    <a:pt x="317500" y="317500"/>
                  </a:lnTo>
                  <a:close/>
                </a:path>
                <a:path w="635000" h="635000" fill="none">
                  <a:moveTo>
                    <a:pt x="277706" y="2503"/>
                  </a:moveTo>
                  <a:arcTo wR="317500" hR="317500" stAng="15768000" swAng="432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29" name="Harvey 99/100 [99]">
              <a:extLst>
                <a:ext uri="{FF2B5EF4-FFF2-40B4-BE49-F238E27FC236}">
                  <a16:creationId xmlns:a16="http://schemas.microsoft.com/office/drawing/2014/main" id="{50F634E4-E5B9-4DA6-9F91-8AF5B6ACF1FB}"/>
                </a:ext>
              </a:extLst>
            </p:cNvPr>
            <p:cNvSpPr>
              <a:spLocks noChangeAspect="1"/>
            </p:cNvSpPr>
            <p:nvPr>
              <p:custDataLst>
                <p:tags r:id="rId136"/>
              </p:custDataLst>
            </p:nvPr>
          </p:nvSpPr>
          <p:spPr>
            <a:xfrm>
              <a:off x="4334905" y="3282696"/>
              <a:ext cx="292608" cy="292608"/>
            </a:xfrm>
            <a:custGeom>
              <a:avLst/>
              <a:gdLst/>
              <a:ahLst/>
              <a:cxnLst/>
              <a:rect l="l" t="t" r="r" b="b"/>
              <a:pathLst>
                <a:path w="635000" h="635000">
                  <a:moveTo>
                    <a:pt x="317500" y="0"/>
                  </a:moveTo>
                  <a:arcTo wR="317500" hR="317500" stAng="16200000" swAng="21384000"/>
                  <a:lnTo>
                    <a:pt x="317500" y="317500"/>
                  </a:lnTo>
                  <a:close/>
                </a:path>
                <a:path w="635000" h="635000" fill="none">
                  <a:moveTo>
                    <a:pt x="297564" y="626"/>
                  </a:moveTo>
                  <a:arcTo wR="317500" hR="317500" stAng="15983999" swAng="216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30" name="Harvey 100/100 [100]">
              <a:extLst>
                <a:ext uri="{FF2B5EF4-FFF2-40B4-BE49-F238E27FC236}">
                  <a16:creationId xmlns:a16="http://schemas.microsoft.com/office/drawing/2014/main" id="{94AA53CD-8233-470E-AFEE-0BCC721BFAE9}"/>
                </a:ext>
              </a:extLst>
            </p:cNvPr>
            <p:cNvSpPr>
              <a:spLocks noChangeAspect="1"/>
            </p:cNvSpPr>
            <p:nvPr>
              <p:custDataLst>
                <p:tags r:id="rId137"/>
              </p:custDataLst>
            </p:nvPr>
          </p:nvSpPr>
          <p:spPr>
            <a:xfrm>
              <a:off x="4334905" y="3282696"/>
              <a:ext cx="292608" cy="292608"/>
            </a:xfrm>
            <a:custGeom>
              <a:avLst/>
              <a:gdLst/>
              <a:ahLst/>
              <a:cxnLst/>
              <a:rect l="l" t="t" r="r" b="b"/>
              <a:pathLst>
                <a:path w="635000" h="635000">
                  <a:moveTo>
                    <a:pt x="317500" y="0"/>
                  </a:moveTo>
                  <a:arcTo wR="317500" hR="317500" stAng="16200000" swAng="21600000"/>
                  <a:close/>
                </a:path>
              </a:pathLst>
            </a:custGeom>
            <a:grpFill/>
            <a:ln w="19050" cmpd="sng">
              <a:solidFill>
                <a:schemeClr val="tx1"/>
              </a:solidFill>
            </a:ln>
          </p:spPr>
          <p:txBody>
            <a:bodyPr/>
            <a:lstStyle/>
            <a:p>
              <a:endParaRPr lang="en-GB" b="0" i="0">
                <a:latin typeface="Arial" panose="020B0604020202020204" pitchFamily="34" charset="0"/>
              </a:endParaRPr>
            </a:p>
          </p:txBody>
        </p:sp>
      </p:grpSp>
      <p:sp>
        <p:nvSpPr>
          <p:cNvPr id="131" name="Footnote [Placeholder]" hidden="1">
            <a:extLst>
              <a:ext uri="{FF2B5EF4-FFF2-40B4-BE49-F238E27FC236}">
                <a16:creationId xmlns:a16="http://schemas.microsoft.com/office/drawing/2014/main" id="{1B41FB17-6D57-4EE1-9C4C-9C305D5D6BEC}"/>
              </a:ext>
            </a:extLst>
          </p:cNvPr>
          <p:cNvSpPr txBox="1"/>
          <p:nvPr userDrawn="1"/>
        </p:nvSpPr>
        <p:spPr>
          <a:xfrm>
            <a:off x="503238" y="5984668"/>
            <a:ext cx="10188208" cy="138499"/>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900" b="0" i="0" kern="0">
                <a:latin typeface="Arial" panose="020B0604020202020204" pitchFamily="34" charset="0"/>
                <a:ea typeface="Arial Unicode MS" pitchFamily="34" charset="-128"/>
                <a:cs typeface="Arial Unicode MS" pitchFamily="34" charset="-128"/>
              </a:rPr>
              <a:t>(r) Footnote</a:t>
            </a:r>
          </a:p>
        </p:txBody>
      </p:sp>
      <p:sp>
        <p:nvSpPr>
          <p:cNvPr id="132" name="Responsible [Sticker]" hidden="1">
            <a:extLst>
              <a:ext uri="{FF2B5EF4-FFF2-40B4-BE49-F238E27FC236}">
                <a16:creationId xmlns:a16="http://schemas.microsoft.com/office/drawing/2014/main" id="{3CB674C2-91C9-46E6-8AB4-E90ABF1CAFE0}"/>
              </a:ext>
            </a:extLst>
          </p:cNvPr>
          <p:cNvSpPr>
            <a:spLocks/>
          </p:cNvSpPr>
          <p:nvPr userDrawn="1"/>
        </p:nvSpPr>
        <p:spPr>
          <a:xfrm>
            <a:off x="10071105" y="896931"/>
            <a:ext cx="2124070" cy="595409"/>
          </a:xfrm>
          <a:prstGeom prst="rect">
            <a:avLst/>
          </a:prstGeom>
          <a:solidFill>
            <a:schemeClr val="accent6">
              <a:lumMod val="60000"/>
              <a:lumOff val="40000"/>
            </a:schemeClr>
          </a:solidFill>
          <a:ln w="19050" cap="flat" cmpd="sng" algn="ctr">
            <a:noFill/>
            <a:prstDash val="solid"/>
          </a:ln>
          <a:effectLst/>
        </p:spPr>
        <p:txBody>
          <a:bodyPr lIns="322318" tIns="46556" rIns="89533" bIns="46556" rtlCol="0" anchor="t"/>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Arial" panose="020B0604020202020204" pitchFamily="34" charset="0"/>
                <a:ea typeface="+mn-ea"/>
                <a:cs typeface="+mn-cs"/>
              </a:rPr>
              <a:t>Responsible:</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Arial" panose="020B0604020202020204" pitchFamily="34" charset="0"/>
                <a:ea typeface="+mn-ea"/>
                <a:cs typeface="+mn-cs"/>
              </a:rPr>
              <a:t>Name Lastname</a:t>
            </a:r>
          </a:p>
        </p:txBody>
      </p:sp>
      <p:sp>
        <p:nvSpPr>
          <p:cNvPr id="133" name="Discussion [Sticker]" hidden="1">
            <a:extLst>
              <a:ext uri="{FF2B5EF4-FFF2-40B4-BE49-F238E27FC236}">
                <a16:creationId xmlns:a16="http://schemas.microsoft.com/office/drawing/2014/main" id="{7C793D27-9296-461C-878D-BA16CBD91587}"/>
              </a:ext>
            </a:extLst>
          </p:cNvPr>
          <p:cNvSpPr>
            <a:spLocks/>
          </p:cNvSpPr>
          <p:nvPr userDrawn="1"/>
        </p:nvSpPr>
        <p:spPr>
          <a:xfrm>
            <a:off x="10071105" y="896921"/>
            <a:ext cx="2124070" cy="295649"/>
          </a:xfrm>
          <a:prstGeom prst="rect">
            <a:avLst/>
          </a:prstGeom>
          <a:solidFill>
            <a:schemeClr val="accent6">
              <a:lumMod val="60000"/>
              <a:lumOff val="40000"/>
            </a:schemeClr>
          </a:solidFill>
          <a:ln w="19050" cap="flat" cmpd="sng" algn="ctr">
            <a:noFill/>
            <a:prstDash val="solid"/>
          </a:ln>
          <a:effectLst/>
        </p:spPr>
        <p:txBody>
          <a:bodyPr lIns="322318" tIns="46556" rIns="89533" bIns="46556"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Arial" panose="020B0604020202020204" pitchFamily="34" charset="0"/>
                <a:ea typeface="Roboto Medium" panose="02000000000000000000" pitchFamily="2" charset="0"/>
                <a:cs typeface="+mn-cs"/>
              </a:rPr>
              <a:t>For discussion</a:t>
            </a:r>
          </a:p>
        </p:txBody>
      </p:sp>
      <p:sp>
        <p:nvSpPr>
          <p:cNvPr id="134" name="Internal [Sticker]" hidden="1">
            <a:extLst>
              <a:ext uri="{FF2B5EF4-FFF2-40B4-BE49-F238E27FC236}">
                <a16:creationId xmlns:a16="http://schemas.microsoft.com/office/drawing/2014/main" id="{704CE42F-5A9B-4CC0-8048-99928A53C0C4}"/>
              </a:ext>
            </a:extLst>
          </p:cNvPr>
          <p:cNvSpPr>
            <a:spLocks/>
          </p:cNvSpPr>
          <p:nvPr userDrawn="1"/>
        </p:nvSpPr>
        <p:spPr>
          <a:xfrm>
            <a:off x="10071105" y="896921"/>
            <a:ext cx="2124070" cy="295649"/>
          </a:xfrm>
          <a:prstGeom prst="rect">
            <a:avLst/>
          </a:prstGeom>
          <a:solidFill>
            <a:schemeClr val="accent6">
              <a:lumMod val="60000"/>
              <a:lumOff val="40000"/>
            </a:schemeClr>
          </a:solidFill>
          <a:ln w="19050" cap="flat" cmpd="sng" algn="ctr">
            <a:noFill/>
            <a:prstDash val="solid"/>
          </a:ln>
          <a:effectLst/>
        </p:spPr>
        <p:txBody>
          <a:bodyPr lIns="322318" tIns="46556" rIns="89533" bIns="46556"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Arial" panose="020B0604020202020204" pitchFamily="34" charset="0"/>
                <a:ea typeface="+mn-ea"/>
                <a:cs typeface="+mn-cs"/>
              </a:rPr>
              <a:t>Internal use only</a:t>
            </a:r>
          </a:p>
        </p:txBody>
      </p:sp>
      <p:sp>
        <p:nvSpPr>
          <p:cNvPr id="135" name="Final [Sticker]" hidden="1">
            <a:extLst>
              <a:ext uri="{FF2B5EF4-FFF2-40B4-BE49-F238E27FC236}">
                <a16:creationId xmlns:a16="http://schemas.microsoft.com/office/drawing/2014/main" id="{348603E9-9858-4213-9B5B-929AD136906A}"/>
              </a:ext>
            </a:extLst>
          </p:cNvPr>
          <p:cNvSpPr>
            <a:spLocks/>
          </p:cNvSpPr>
          <p:nvPr userDrawn="1"/>
        </p:nvSpPr>
        <p:spPr>
          <a:xfrm>
            <a:off x="10071105" y="896921"/>
            <a:ext cx="2124070" cy="295649"/>
          </a:xfrm>
          <a:prstGeom prst="rect">
            <a:avLst/>
          </a:prstGeom>
          <a:solidFill>
            <a:schemeClr val="accent6">
              <a:lumMod val="60000"/>
              <a:lumOff val="40000"/>
            </a:schemeClr>
          </a:solidFill>
          <a:ln w="19050" cap="flat" cmpd="sng" algn="ctr">
            <a:noFill/>
            <a:prstDash val="solid"/>
          </a:ln>
          <a:effectLst/>
        </p:spPr>
        <p:txBody>
          <a:bodyPr lIns="322318" tIns="46556" rIns="89533" bIns="46556"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Arial" panose="020B0604020202020204" pitchFamily="34" charset="0"/>
                <a:ea typeface="+mn-ea"/>
                <a:cs typeface="+mn-cs"/>
              </a:rPr>
              <a:t>Final slide</a:t>
            </a:r>
          </a:p>
        </p:txBody>
      </p:sp>
      <p:sp>
        <p:nvSpPr>
          <p:cNvPr id="136" name="Backup [Sticker]" hidden="1">
            <a:extLst>
              <a:ext uri="{FF2B5EF4-FFF2-40B4-BE49-F238E27FC236}">
                <a16:creationId xmlns:a16="http://schemas.microsoft.com/office/drawing/2014/main" id="{7EEB833A-9AFC-4A66-8469-9D3897CE1E66}"/>
              </a:ext>
            </a:extLst>
          </p:cNvPr>
          <p:cNvSpPr>
            <a:spLocks/>
          </p:cNvSpPr>
          <p:nvPr userDrawn="1"/>
        </p:nvSpPr>
        <p:spPr>
          <a:xfrm>
            <a:off x="10071105" y="896921"/>
            <a:ext cx="2124070" cy="295649"/>
          </a:xfrm>
          <a:prstGeom prst="rect">
            <a:avLst/>
          </a:prstGeom>
          <a:solidFill>
            <a:schemeClr val="accent6">
              <a:lumMod val="60000"/>
              <a:lumOff val="40000"/>
            </a:schemeClr>
          </a:solidFill>
          <a:ln w="19050" cap="flat" cmpd="sng" algn="ctr">
            <a:noFill/>
            <a:prstDash val="solid"/>
          </a:ln>
          <a:effectLst/>
        </p:spPr>
        <p:txBody>
          <a:bodyPr lIns="322318" tIns="46556" rIns="89533" bIns="46556"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Arial" panose="020B0604020202020204" pitchFamily="34" charset="0"/>
                <a:ea typeface="+mn-ea"/>
                <a:cs typeface="+mn-cs"/>
              </a:rPr>
              <a:t>Backup</a:t>
            </a:r>
          </a:p>
        </p:txBody>
      </p:sp>
      <p:sp>
        <p:nvSpPr>
          <p:cNvPr id="137" name="Update [Sticker]" hidden="1">
            <a:extLst>
              <a:ext uri="{FF2B5EF4-FFF2-40B4-BE49-F238E27FC236}">
                <a16:creationId xmlns:a16="http://schemas.microsoft.com/office/drawing/2014/main" id="{D41FF937-AB04-46EE-82EF-FCE26A919A7B}"/>
              </a:ext>
            </a:extLst>
          </p:cNvPr>
          <p:cNvSpPr>
            <a:spLocks/>
          </p:cNvSpPr>
          <p:nvPr userDrawn="1"/>
        </p:nvSpPr>
        <p:spPr>
          <a:xfrm>
            <a:off x="10071105" y="896921"/>
            <a:ext cx="2124070" cy="295649"/>
          </a:xfrm>
          <a:prstGeom prst="rect">
            <a:avLst/>
          </a:prstGeom>
          <a:solidFill>
            <a:schemeClr val="accent6">
              <a:lumMod val="60000"/>
              <a:lumOff val="40000"/>
            </a:schemeClr>
          </a:solidFill>
          <a:ln w="19050" cap="flat" cmpd="sng" algn="ctr">
            <a:noFill/>
            <a:prstDash val="solid"/>
          </a:ln>
          <a:effectLst/>
        </p:spPr>
        <p:txBody>
          <a:bodyPr lIns="322318" tIns="46556" rIns="89533" bIns="46556"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Arial" panose="020B0604020202020204" pitchFamily="34" charset="0"/>
                <a:ea typeface="+mn-ea"/>
                <a:cs typeface="+mn-cs"/>
              </a:rPr>
              <a:t>Update data</a:t>
            </a:r>
          </a:p>
        </p:txBody>
      </p:sp>
      <p:sp>
        <p:nvSpPr>
          <p:cNvPr id="138" name="Dummy [Sticker]" hidden="1">
            <a:extLst>
              <a:ext uri="{FF2B5EF4-FFF2-40B4-BE49-F238E27FC236}">
                <a16:creationId xmlns:a16="http://schemas.microsoft.com/office/drawing/2014/main" id="{06C5579C-7A02-48D6-A733-4B9E6D9F1443}"/>
              </a:ext>
            </a:extLst>
          </p:cNvPr>
          <p:cNvSpPr>
            <a:spLocks/>
          </p:cNvSpPr>
          <p:nvPr userDrawn="1"/>
        </p:nvSpPr>
        <p:spPr>
          <a:xfrm>
            <a:off x="10071105" y="896920"/>
            <a:ext cx="2124070" cy="295649"/>
          </a:xfrm>
          <a:prstGeom prst="rect">
            <a:avLst/>
          </a:prstGeom>
          <a:solidFill>
            <a:schemeClr val="accent6">
              <a:lumMod val="60000"/>
              <a:lumOff val="40000"/>
            </a:schemeClr>
          </a:solidFill>
          <a:ln w="19050" cap="flat" cmpd="sng" algn="ctr">
            <a:noFill/>
            <a:prstDash val="solid"/>
          </a:ln>
          <a:effectLst/>
        </p:spPr>
        <p:txBody>
          <a:bodyPr lIns="322318" tIns="46556" rIns="89533" bIns="46556"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Arial" panose="020B0604020202020204" pitchFamily="34" charset="0"/>
              </a:rPr>
              <a:t>Dummy data</a:t>
            </a:r>
          </a:p>
        </p:txBody>
      </p:sp>
      <p:sp>
        <p:nvSpPr>
          <p:cNvPr id="139" name="Formatting [Comment]" hidden="1">
            <a:extLst>
              <a:ext uri="{FF2B5EF4-FFF2-40B4-BE49-F238E27FC236}">
                <a16:creationId xmlns:a16="http://schemas.microsoft.com/office/drawing/2014/main" id="{89EB4C18-DFF3-4A27-ACBB-99DCDC8961A8}"/>
              </a:ext>
            </a:extLst>
          </p:cNvPr>
          <p:cNvSpPr>
            <a:spLocks/>
          </p:cNvSpPr>
          <p:nvPr userDrawn="1"/>
        </p:nvSpPr>
        <p:spPr>
          <a:xfrm>
            <a:off x="9483344" y="1097679"/>
            <a:ext cx="2479101" cy="1277432"/>
          </a:xfrm>
          <a:prstGeom prst="wedgeRectCallout">
            <a:avLst/>
          </a:prstGeom>
          <a:solidFill>
            <a:srgbClr val="FFFF00"/>
          </a:solidFill>
          <a:ln w="12700" cap="flat" cmpd="sng" algn="ctr">
            <a:solidFill>
              <a:srgbClr val="000000"/>
            </a:solidFill>
            <a:prstDash val="solid"/>
            <a:miter lim="800000"/>
          </a:ln>
          <a:effectLst/>
        </p:spPr>
        <p:txBody>
          <a:bodyPr lIns="143252" tIns="143252" rIns="143252" bIns="143252" rtlCol="0" anchor="t"/>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A0A0A"/>
                </a:solidFill>
                <a:effectLst/>
                <a:uLnTx/>
                <a:uFillTx/>
                <a:latin typeface="Arial" panose="020B0604020202020204" pitchFamily="34" charset="0"/>
              </a:rPr>
              <a:t>&lt;initials&gt; &lt;date&gt;</a:t>
            </a:r>
            <a:r>
              <a:rPr kumimoji="0" lang="en-US" sz="1200" b="0" i="0" u="none" strike="noStrike" kern="0" cap="none" spc="0" normalizeH="0" baseline="0" noProof="0" err="1">
                <a:ln>
                  <a:noFill/>
                </a:ln>
                <a:solidFill>
                  <a:srgbClr val="0A0A0A"/>
                </a:solidFill>
                <a:effectLst/>
                <a:uLnTx/>
                <a:uFillTx/>
                <a:latin typeface="Arial" panose="020B0604020202020204" pitchFamily="34" charset="0"/>
              </a:rPr>
              <a:t>yyyy</a:t>
            </a:r>
            <a:r>
              <a:rPr kumimoji="0" lang="en-US" sz="1200" b="0" i="0" u="none" strike="noStrike" kern="0" cap="none" spc="0" normalizeH="0" baseline="0" noProof="0">
                <a:ln>
                  <a:noFill/>
                </a:ln>
                <a:solidFill>
                  <a:srgbClr val="0A0A0A"/>
                </a:solidFill>
                <a:effectLst/>
                <a:uLnTx/>
                <a:uFillTx/>
                <a:latin typeface="Arial" panose="020B0604020202020204" pitchFamily="34" charset="0"/>
              </a:rPr>
              <a:t>-MM-dd </a:t>
            </a:r>
            <a:r>
              <a:rPr kumimoji="0" lang="en-US" sz="1200" b="0" i="0" u="none" strike="noStrike" kern="0" cap="none" spc="0" normalizeH="0" baseline="0" noProof="0" err="1">
                <a:ln>
                  <a:noFill/>
                </a:ln>
                <a:solidFill>
                  <a:srgbClr val="0A0A0A"/>
                </a:solidFill>
                <a:effectLst/>
                <a:uLnTx/>
                <a:uFillTx/>
                <a:latin typeface="Arial" panose="020B0604020202020204" pitchFamily="34" charset="0"/>
              </a:rPr>
              <a:t>hh:mm</a:t>
            </a:r>
            <a:r>
              <a:rPr kumimoji="0" lang="en-US" sz="1200" b="0" i="0" u="none" strike="noStrike" kern="0" cap="none" spc="0" normalizeH="0" baseline="0" noProof="0">
                <a:ln>
                  <a:noFill/>
                </a:ln>
                <a:solidFill>
                  <a:srgbClr val="0A0A0A"/>
                </a:solidFill>
                <a:effectLst/>
                <a:uLnTx/>
                <a:uFillTx/>
                <a:latin typeface="Arial" panose="020B0604020202020204" pitchFamily="34" charset="0"/>
              </a:rPr>
              <a:t>&lt;/date&gt;: </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A0A0A"/>
              </a:solidFill>
              <a:effectLst/>
              <a:uLnTx/>
              <a:uFillTx/>
              <a:latin typeface="Arial" panose="020B0604020202020204" pitchFamily="34" charset="0"/>
            </a:endParaRPr>
          </a:p>
        </p:txBody>
      </p:sp>
      <p:sp>
        <p:nvSpPr>
          <p:cNvPr id="140" name="Content [Comment]" hidden="1">
            <a:extLst>
              <a:ext uri="{FF2B5EF4-FFF2-40B4-BE49-F238E27FC236}">
                <a16:creationId xmlns:a16="http://schemas.microsoft.com/office/drawing/2014/main" id="{906252E7-98DB-45F0-8278-EB60F71B7340}"/>
              </a:ext>
            </a:extLst>
          </p:cNvPr>
          <p:cNvSpPr>
            <a:spLocks/>
          </p:cNvSpPr>
          <p:nvPr userDrawn="1"/>
        </p:nvSpPr>
        <p:spPr>
          <a:xfrm>
            <a:off x="9483344" y="1097671"/>
            <a:ext cx="2479101" cy="1277440"/>
          </a:xfrm>
          <a:prstGeom prst="wedgeRectCallout">
            <a:avLst/>
          </a:prstGeom>
          <a:solidFill>
            <a:srgbClr val="FFFF00"/>
          </a:solidFill>
          <a:ln w="12700" cap="flat" cmpd="sng" algn="ctr">
            <a:solidFill>
              <a:srgbClr val="000000"/>
            </a:solidFill>
            <a:prstDash val="solid"/>
            <a:miter lim="800000"/>
          </a:ln>
          <a:effectLst/>
        </p:spPr>
        <p:txBody>
          <a:bodyPr lIns="143252" tIns="143252" rIns="143252" bIns="143252" rtlCol="0" anchor="t"/>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A0A0A"/>
                </a:solidFill>
                <a:effectLst/>
                <a:uLnTx/>
                <a:uFillTx/>
                <a:latin typeface="Arial" panose="020B0604020202020204" pitchFamily="34" charset="0"/>
              </a:rPr>
              <a:t>&lt;initials&gt; &lt;date&gt;</a:t>
            </a:r>
            <a:r>
              <a:rPr kumimoji="0" lang="en-US" sz="1200" b="0" i="0" u="none" strike="noStrike" kern="0" cap="none" spc="0" normalizeH="0" baseline="0" noProof="0" err="1">
                <a:ln>
                  <a:noFill/>
                </a:ln>
                <a:solidFill>
                  <a:srgbClr val="0A0A0A"/>
                </a:solidFill>
                <a:effectLst/>
                <a:uLnTx/>
                <a:uFillTx/>
                <a:latin typeface="Arial" panose="020B0604020202020204" pitchFamily="34" charset="0"/>
              </a:rPr>
              <a:t>yyyy</a:t>
            </a:r>
            <a:r>
              <a:rPr kumimoji="0" lang="en-US" sz="1200" b="0" i="0" u="none" strike="noStrike" kern="0" cap="none" spc="0" normalizeH="0" baseline="0" noProof="0">
                <a:ln>
                  <a:noFill/>
                </a:ln>
                <a:solidFill>
                  <a:srgbClr val="0A0A0A"/>
                </a:solidFill>
                <a:effectLst/>
                <a:uLnTx/>
                <a:uFillTx/>
                <a:latin typeface="Arial" panose="020B0604020202020204" pitchFamily="34" charset="0"/>
              </a:rPr>
              <a:t>-MM-dd </a:t>
            </a:r>
            <a:r>
              <a:rPr kumimoji="0" lang="en-US" sz="1200" b="0" i="0" u="none" strike="noStrike" kern="0" cap="none" spc="0" normalizeH="0" baseline="0" noProof="0" err="1">
                <a:ln>
                  <a:noFill/>
                </a:ln>
                <a:solidFill>
                  <a:srgbClr val="0A0A0A"/>
                </a:solidFill>
                <a:effectLst/>
                <a:uLnTx/>
                <a:uFillTx/>
                <a:latin typeface="Arial" panose="020B0604020202020204" pitchFamily="34" charset="0"/>
              </a:rPr>
              <a:t>hh:mm</a:t>
            </a:r>
            <a:r>
              <a:rPr kumimoji="0" lang="en-US" sz="1200" b="0" i="0" u="none" strike="noStrike" kern="0" cap="none" spc="0" normalizeH="0" baseline="0" noProof="0">
                <a:ln>
                  <a:noFill/>
                </a:ln>
                <a:solidFill>
                  <a:srgbClr val="0A0A0A"/>
                </a:solidFill>
                <a:effectLst/>
                <a:uLnTx/>
                <a:uFillTx/>
                <a:latin typeface="Arial" panose="020B0604020202020204" pitchFamily="34" charset="0"/>
              </a:rPr>
              <a:t>&lt;/date&gt;: </a:t>
            </a:r>
          </a:p>
        </p:txBody>
      </p:sp>
      <p:sp>
        <p:nvSpPr>
          <p:cNvPr id="141" name="Draft [Sticker]" hidden="1">
            <a:extLst>
              <a:ext uri="{FF2B5EF4-FFF2-40B4-BE49-F238E27FC236}">
                <a16:creationId xmlns:a16="http://schemas.microsoft.com/office/drawing/2014/main" id="{904633E3-6BC9-4C5E-B74A-8B9D4AE95B20}"/>
              </a:ext>
            </a:extLst>
          </p:cNvPr>
          <p:cNvSpPr/>
          <p:nvPr userDrawn="1"/>
        </p:nvSpPr>
        <p:spPr bwMode="gray">
          <a:xfrm rot="18900000">
            <a:off x="2916643" y="2819462"/>
            <a:ext cx="6361889" cy="1219077"/>
          </a:xfrm>
          <a:prstGeom prst="rect">
            <a:avLst/>
          </a:prstGeom>
          <a:noFill/>
          <a:ln w="2540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8800" b="0" i="0" u="none" strike="noStrike" kern="0" cap="none" spc="0" normalizeH="0" baseline="0" noProof="0">
                <a:ln>
                  <a:noFill/>
                </a:ln>
                <a:solidFill>
                  <a:schemeClr val="tx2"/>
                </a:solidFill>
                <a:effectLst/>
                <a:uLnTx/>
                <a:uFillTx/>
                <a:latin typeface="Arial" panose="020B0604020202020204" pitchFamily="34" charset="0"/>
                <a:ea typeface="Arial Unicode MS" pitchFamily="34" charset="-128"/>
                <a:cs typeface="Arial Unicode MS" pitchFamily="34" charset="-128"/>
              </a:rPr>
              <a:t>DRAFT</a:t>
            </a:r>
          </a:p>
        </p:txBody>
      </p:sp>
    </p:spTree>
    <p:extLst>
      <p:ext uri="{BB962C8B-B14F-4D97-AF65-F5344CB8AC3E}">
        <p14:creationId xmlns:p14="http://schemas.microsoft.com/office/powerpoint/2010/main" val="3408294523"/>
      </p:ext>
    </p:extLst>
  </p:cSld>
  <p:clrMap bg1="lt1" tx1="dk1" bg2="lt2" tx2="dk2" accent1="accent1" accent2="accent2" accent3="accent3" accent4="accent4" accent5="accent5" accent6="accent6" hlink="hlink" folHlink="folHlink"/>
  <p:sldLayoutIdLst>
    <p:sldLayoutId id="2147483773" r:id="rId1"/>
    <p:sldLayoutId id="2147483780" r:id="rId2"/>
    <p:sldLayoutId id="2147483787" r:id="rId3"/>
    <p:sldLayoutId id="2147483777" r:id="rId4"/>
    <p:sldLayoutId id="2147483788" r:id="rId5"/>
    <p:sldLayoutId id="2147483789" r:id="rId6"/>
    <p:sldLayoutId id="2147483790" r:id="rId7"/>
    <p:sldLayoutId id="2147483791" r:id="rId8"/>
    <p:sldLayoutId id="2147483792" r:id="rId9"/>
    <p:sldLayoutId id="2147483793" r:id="rId10"/>
    <p:sldLayoutId id="2147483794" r:id="rId11"/>
    <p:sldLayoutId id="2147483741" r:id="rId12"/>
    <p:sldLayoutId id="2147483765" r:id="rId13"/>
    <p:sldLayoutId id="2147483767" r:id="rId14"/>
    <p:sldLayoutId id="2147483786" r:id="rId15"/>
    <p:sldLayoutId id="2147483743" r:id="rId16"/>
    <p:sldLayoutId id="2147483774" r:id="rId17"/>
    <p:sldLayoutId id="2147483745" r:id="rId18"/>
    <p:sldLayoutId id="2147483760" r:id="rId19"/>
    <p:sldLayoutId id="2147483768" r:id="rId20"/>
    <p:sldLayoutId id="2147483769" r:id="rId21"/>
    <p:sldLayoutId id="2147483770" r:id="rId22"/>
    <p:sldLayoutId id="2147483744" r:id="rId23"/>
    <p:sldLayoutId id="2147483757" r:id="rId24"/>
    <p:sldLayoutId id="2147483771" r:id="rId25"/>
    <p:sldLayoutId id="2147483763" r:id="rId26"/>
    <p:sldLayoutId id="2147483751" r:id="rId27"/>
    <p:sldLayoutId id="2147483756" r:id="rId28"/>
    <p:sldLayoutId id="2147483740" r:id="rId29"/>
    <p:sldLayoutId id="2147483796" r:id="rId30"/>
    <p:sldLayoutId id="2147483797" r:id="rId31"/>
  </p:sldLayoutIdLst>
  <p:hf hdr="0" ftr="0" dt="0"/>
  <p:txStyles>
    <p:titleStyle>
      <a:lvl1pPr algn="l" defTabSz="1088558" rtl="0" eaLnBrk="1" latinLnBrk="0" hangingPunct="1">
        <a:spcBef>
          <a:spcPct val="0"/>
        </a:spcBef>
        <a:buNone/>
        <a:defRPr sz="2400" b="0" i="0" kern="1200" baseline="0">
          <a:solidFill>
            <a:schemeClr val="tx1"/>
          </a:solidFill>
          <a:latin typeface="72 Brand Medium" panose="020B0504030603020204" pitchFamily="34" charset="0"/>
          <a:ea typeface="+mj-ea"/>
          <a:cs typeface="+mj-cs"/>
        </a:defRPr>
      </a:lvl1pPr>
    </p:titleStyle>
    <p:bodyStyle>
      <a:lvl1pPr marL="0" indent="0" algn="l" defTabSz="1088558" rtl="0" eaLnBrk="1" latinLnBrk="0" hangingPunct="1">
        <a:spcBef>
          <a:spcPts val="1800"/>
        </a:spcBef>
        <a:buClrTx/>
        <a:buSzPct val="80000"/>
        <a:buFont typeface="Roboto" panose="02000000000000000000" pitchFamily="2" charset="0"/>
        <a:buChar char="​"/>
        <a:defRPr sz="2000" b="0" i="0" kern="1200">
          <a:solidFill>
            <a:schemeClr val="tx1"/>
          </a:solidFill>
          <a:latin typeface="72 Brand" panose="020B0504030603020204" pitchFamily="34" charset="0"/>
          <a:ea typeface="+mn-ea"/>
          <a:cs typeface="+mn-cs"/>
        </a:defRPr>
      </a:lvl1pPr>
      <a:lvl2pPr marL="179964" indent="-179964" algn="l" defTabSz="1088558" rtl="0" eaLnBrk="1" latinLnBrk="0" hangingPunct="1">
        <a:spcBef>
          <a:spcPts val="600"/>
        </a:spcBef>
        <a:buClr>
          <a:schemeClr val="tx1"/>
        </a:buClr>
        <a:buSzPct val="100000"/>
        <a:buFont typeface="Arial" panose="020B0604020202020204" pitchFamily="34" charset="0"/>
        <a:buChar char="•"/>
        <a:defRPr sz="1800" b="0" i="0" kern="1200">
          <a:solidFill>
            <a:schemeClr val="tx1"/>
          </a:solidFill>
          <a:latin typeface="72 Brand" panose="020B0504030603020204" pitchFamily="34" charset="0"/>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b="0" i="0" kern="1200" noProof="0" dirty="0" smtClean="0">
          <a:solidFill>
            <a:schemeClr val="tx1"/>
          </a:solidFill>
          <a:latin typeface="72 Brand" panose="020B0504030603020204" pitchFamily="34" charset="0"/>
          <a:ea typeface="+mn-ea"/>
          <a:cs typeface="+mn-cs"/>
        </a:defRPr>
      </a:lvl3pPr>
      <a:lvl4pPr marL="539892" indent="-179964" algn="l" defTabSz="1088558" rtl="0" eaLnBrk="1" latinLnBrk="0" hangingPunct="1">
        <a:spcBef>
          <a:spcPts val="300"/>
        </a:spcBef>
        <a:buClr>
          <a:schemeClr val="tx1"/>
        </a:buClr>
        <a:buSzPct val="80000"/>
        <a:buFont typeface="Courier New" panose="02070309020205020404" pitchFamily="49" charset="0"/>
        <a:buChar char="o"/>
        <a:defRPr sz="1600" b="0" i="0" kern="1200">
          <a:solidFill>
            <a:schemeClr val="tx1"/>
          </a:solidFill>
          <a:latin typeface="72 Brand" panose="020B0504030603020204" pitchFamily="34" charset="0"/>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b="0" i="0" kern="1200" baseline="0">
          <a:solidFill>
            <a:schemeClr val="tx1"/>
          </a:solidFill>
          <a:latin typeface="72 Brand" panose="020B0504030603020204" pitchFamily="34" charset="0"/>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p:bodyStyle>
    <p:otherStyle>
      <a:defPPr>
        <a:defRPr lang="de-DE"/>
      </a:defPPr>
      <a:lvl1pPr marL="0" algn="l" defTabSz="1088558" rtl="0" eaLnBrk="1" latinLnBrk="0" hangingPunct="1">
        <a:defRPr sz="2100" kern="1200">
          <a:solidFill>
            <a:schemeClr val="tx1"/>
          </a:solidFill>
          <a:latin typeface="+mn-lt"/>
          <a:ea typeface="+mn-ea"/>
          <a:cs typeface="+mn-cs"/>
        </a:defRPr>
      </a:lvl1pPr>
      <a:lvl2pPr marL="544279" algn="l" defTabSz="1088558" rtl="0" eaLnBrk="1" latinLnBrk="0" hangingPunct="1">
        <a:defRPr sz="2100" kern="1200">
          <a:solidFill>
            <a:schemeClr val="tx1"/>
          </a:solidFill>
          <a:latin typeface="+mn-lt"/>
          <a:ea typeface="+mn-ea"/>
          <a:cs typeface="+mn-cs"/>
        </a:defRPr>
      </a:lvl2pPr>
      <a:lvl3pPr marL="1088558" algn="l" defTabSz="1088558" rtl="0" eaLnBrk="1" latinLnBrk="0" hangingPunct="1">
        <a:defRPr sz="2100" kern="1200">
          <a:solidFill>
            <a:schemeClr val="tx1"/>
          </a:solidFill>
          <a:latin typeface="+mn-lt"/>
          <a:ea typeface="+mn-ea"/>
          <a:cs typeface="+mn-cs"/>
        </a:defRPr>
      </a:lvl3pPr>
      <a:lvl4pPr marL="1632837" algn="l" defTabSz="1088558" rtl="0" eaLnBrk="1" latinLnBrk="0" hangingPunct="1">
        <a:defRPr sz="2100" kern="1200">
          <a:solidFill>
            <a:schemeClr val="tx1"/>
          </a:solidFill>
          <a:latin typeface="+mn-lt"/>
          <a:ea typeface="+mn-ea"/>
          <a:cs typeface="+mn-cs"/>
        </a:defRPr>
      </a:lvl4pPr>
      <a:lvl5pPr marL="2177116" algn="l" defTabSz="1088558" rtl="0" eaLnBrk="1" latinLnBrk="0" hangingPunct="1">
        <a:defRPr sz="2100" kern="1200">
          <a:solidFill>
            <a:schemeClr val="tx1"/>
          </a:solidFill>
          <a:latin typeface="+mn-lt"/>
          <a:ea typeface="+mn-ea"/>
          <a:cs typeface="+mn-cs"/>
        </a:defRPr>
      </a:lvl5pPr>
      <a:lvl6pPr marL="2721396" algn="l" defTabSz="1088558" rtl="0" eaLnBrk="1" latinLnBrk="0" hangingPunct="1">
        <a:defRPr sz="2100" kern="1200">
          <a:solidFill>
            <a:schemeClr val="tx1"/>
          </a:solidFill>
          <a:latin typeface="+mn-lt"/>
          <a:ea typeface="+mn-ea"/>
          <a:cs typeface="+mn-cs"/>
        </a:defRPr>
      </a:lvl6pPr>
      <a:lvl7pPr marL="3265675" algn="l" defTabSz="1088558" rtl="0" eaLnBrk="1" latinLnBrk="0" hangingPunct="1">
        <a:defRPr sz="2100" kern="1200">
          <a:solidFill>
            <a:schemeClr val="tx1"/>
          </a:solidFill>
          <a:latin typeface="+mn-lt"/>
          <a:ea typeface="+mn-ea"/>
          <a:cs typeface="+mn-cs"/>
        </a:defRPr>
      </a:lvl7pPr>
      <a:lvl8pPr marL="3809954" algn="l" defTabSz="1088558" rtl="0" eaLnBrk="1" latinLnBrk="0" hangingPunct="1">
        <a:defRPr sz="2100" kern="1200">
          <a:solidFill>
            <a:schemeClr val="tx1"/>
          </a:solidFill>
          <a:latin typeface="+mn-lt"/>
          <a:ea typeface="+mn-ea"/>
          <a:cs typeface="+mn-cs"/>
        </a:defRPr>
      </a:lvl8pPr>
      <a:lvl9pPr marL="4354233" algn="l" defTabSz="1088558" rtl="0" eaLnBrk="1" latinLnBrk="0" hangingPunct="1">
        <a:defRPr sz="21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customXml" Target="../../customXml/item57.xml"/><Relationship Id="rId1" Type="http://schemas.openxmlformats.org/officeDocument/2006/relationships/customXml" Target="../../customXml/item50.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9.xml"/><Relationship Id="rId1" Type="http://schemas.openxmlformats.org/officeDocument/2006/relationships/slideLayout" Target="../slideLayouts/slideLayout26.xml"/></Relationships>
</file>

<file path=ppt/slides/_rels/slide11.xml.rels><?xml version="1.0" encoding="UTF-8" standalone="yes"?>
<Relationships xmlns="http://schemas.openxmlformats.org/package/2006/relationships"><Relationship Id="rId3" Type="http://schemas.openxmlformats.org/officeDocument/2006/relationships/hyperlink" Target="https://me.sap.com/notes/3343266" TargetMode="External"/><Relationship Id="rId2" Type="http://schemas.openxmlformats.org/officeDocument/2006/relationships/hyperlink" Target="https://me.sap.com/notes/3145443" TargetMode="External"/><Relationship Id="rId1" Type="http://schemas.openxmlformats.org/officeDocument/2006/relationships/slideLayout" Target="../slideLayouts/slideLayout30.xml"/><Relationship Id="rId5" Type="http://schemas.openxmlformats.org/officeDocument/2006/relationships/hyperlink" Target="https://me.sap.com/notes/3464972" TargetMode="External"/><Relationship Id="rId4" Type="http://schemas.openxmlformats.org/officeDocument/2006/relationships/hyperlink" Target="https://me.sap.com/notes/3464607" TargetMode="External"/></Relationships>
</file>

<file path=ppt/slides/_rels/slide1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17.xml"/></Relationships>
</file>

<file path=ppt/slides/_rels/slide1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16.xml"/></Relationships>
</file>

<file path=ppt/slides/_rels/slide14.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image" Target="../media/image20.png"/><Relationship Id="rId7" Type="http://schemas.openxmlformats.org/officeDocument/2006/relationships/image" Target="../media/image24.png"/><Relationship Id="rId2" Type="http://schemas.openxmlformats.org/officeDocument/2006/relationships/notesSlide" Target="../notesSlides/notesSlide10.xml"/><Relationship Id="rId1" Type="http://schemas.openxmlformats.org/officeDocument/2006/relationships/slideLayout" Target="../slideLayouts/slideLayout31.xml"/><Relationship Id="rId6" Type="http://schemas.openxmlformats.org/officeDocument/2006/relationships/image" Target="../media/image23.png"/><Relationship Id="rId11" Type="http://schemas.openxmlformats.org/officeDocument/2006/relationships/hyperlink" Target="https://help.pubsub.em.services.cloud.sap/Cloud/Configure-Message-Spools.htm" TargetMode="External"/><Relationship Id="rId5" Type="http://schemas.openxmlformats.org/officeDocument/2006/relationships/image" Target="../media/image22.png"/><Relationship Id="rId10" Type="http://schemas.openxmlformats.org/officeDocument/2006/relationships/hyperlink" Target="https://help.pubsub.em.services.cloud.sap/Cloud/service-class-limits.htm" TargetMode="External"/><Relationship Id="rId4" Type="http://schemas.openxmlformats.org/officeDocument/2006/relationships/image" Target="../media/image21.png"/><Relationship Id="rId9" Type="http://schemas.openxmlformats.org/officeDocument/2006/relationships/image" Target="../media/image26.png"/></Relationships>
</file>

<file path=ppt/slides/_rels/slide15.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Layout" Target="../slideLayouts/slideLayout16.xml"/></Relationships>
</file>

<file path=ppt/slides/_rels/slide16.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1.xml"/><Relationship Id="rId1" Type="http://schemas.openxmlformats.org/officeDocument/2006/relationships/slideLayout" Target="../slideLayouts/slideLayout17.xml"/><Relationship Id="rId5" Type="http://schemas.openxmlformats.org/officeDocument/2006/relationships/image" Target="../media/image31.svg"/><Relationship Id="rId4" Type="http://schemas.openxmlformats.org/officeDocument/2006/relationships/image" Target="../media/image30.png"/></Relationships>
</file>

<file path=ppt/slides/_rels/slide17.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2.xml"/><Relationship Id="rId1" Type="http://schemas.openxmlformats.org/officeDocument/2006/relationships/slideLayout" Target="../slideLayouts/slideLayout16.xml"/><Relationship Id="rId5" Type="http://schemas.openxmlformats.org/officeDocument/2006/relationships/image" Target="../media/image34.png"/><Relationship Id="rId4" Type="http://schemas.openxmlformats.org/officeDocument/2006/relationships/image" Target="../media/image33.png"/></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2.xml"/></Relationships>
</file>

<file path=ppt/slides/_rels/slide22.x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slideLayout" Target="../slideLayouts/slideLayout17.xml"/></Relationships>
</file>

<file path=ppt/slides/_rels/slide23.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4.xml"/><Relationship Id="rId1" Type="http://schemas.openxmlformats.org/officeDocument/2006/relationships/slideLayout" Target="../slideLayouts/slideLayout17.xml"/><Relationship Id="rId4" Type="http://schemas.openxmlformats.org/officeDocument/2006/relationships/image" Target="../media/image37.png"/></Relationships>
</file>

<file path=ppt/slides/_rels/slide24.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5.xml"/><Relationship Id="rId1" Type="http://schemas.openxmlformats.org/officeDocument/2006/relationships/slideLayout" Target="../slideLayouts/slideLayout16.xml"/></Relationships>
</file>

<file path=ppt/slides/_rels/slide25.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16.xml"/></Relationships>
</file>

<file path=ppt/slides/_rels/slide26.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17.xml"/></Relationships>
</file>

<file path=ppt/slides/_rels/slide27.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png"/><Relationship Id="rId1" Type="http://schemas.openxmlformats.org/officeDocument/2006/relationships/slideLayout" Target="../slideLayouts/slideLayout17.xml"/></Relationships>
</file>

<file path=ppt/slides/_rels/slide28.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png"/><Relationship Id="rId1" Type="http://schemas.openxmlformats.org/officeDocument/2006/relationships/slideLayout" Target="../slideLayouts/slideLayout16.xml"/></Relationships>
</file>

<file path=ppt/slides/_rels/slide29.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16.xml"/></Relationships>
</file>

<file path=ppt/slides/_rels/slide3.xml.rels><?xml version="1.0" encoding="UTF-8" standalone="yes"?>
<Relationships xmlns="http://schemas.openxmlformats.org/package/2006/relationships"><Relationship Id="rId3" Type="http://schemas.microsoft.com/office/2018/10/relationships/comments" Target="../comments/modernComment_7FFFFFD5_D8EEB8AD.xml"/><Relationship Id="rId2" Type="http://schemas.openxmlformats.org/officeDocument/2006/relationships/notesSlide" Target="../notesSlides/notesSlide3.xml"/><Relationship Id="rId1" Type="http://schemas.openxmlformats.org/officeDocument/2006/relationships/slideLayout" Target="../slideLayouts/slideLayout1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32.xml.rels><?xml version="1.0" encoding="UTF-8" standalone="yes"?>
<Relationships xmlns="http://schemas.openxmlformats.org/package/2006/relationships"><Relationship Id="rId8" Type="http://schemas.openxmlformats.org/officeDocument/2006/relationships/image" Target="../media/image48.png"/><Relationship Id="rId3" Type="http://schemas.openxmlformats.org/officeDocument/2006/relationships/image" Target="../media/image29.png"/><Relationship Id="rId7" Type="http://schemas.openxmlformats.org/officeDocument/2006/relationships/image" Target="../media/image31.svg"/><Relationship Id="rId2" Type="http://schemas.openxmlformats.org/officeDocument/2006/relationships/notesSlide" Target="../notesSlides/notesSlide16.xml"/><Relationship Id="rId1" Type="http://schemas.openxmlformats.org/officeDocument/2006/relationships/slideLayout" Target="../slideLayouts/slideLayout17.xml"/><Relationship Id="rId6" Type="http://schemas.openxmlformats.org/officeDocument/2006/relationships/image" Target="../media/image30.png"/><Relationship Id="rId5" Type="http://schemas.openxmlformats.org/officeDocument/2006/relationships/image" Target="../media/image47.jpeg"/><Relationship Id="rId4" Type="http://schemas.openxmlformats.org/officeDocument/2006/relationships/image" Target="../media/image46.png"/></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34.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17.xml"/><Relationship Id="rId1" Type="http://schemas.openxmlformats.org/officeDocument/2006/relationships/slideLayout" Target="../slideLayouts/slideLayout17.xml"/><Relationship Id="rId4" Type="http://schemas.openxmlformats.org/officeDocument/2006/relationships/image" Target="../media/image50.jpeg"/></Relationships>
</file>

<file path=ppt/slides/_rels/slide35.xml.rels><?xml version="1.0" encoding="UTF-8" standalone="yes"?>
<Relationships xmlns="http://schemas.openxmlformats.org/package/2006/relationships"><Relationship Id="rId3" Type="http://schemas.openxmlformats.org/officeDocument/2006/relationships/image" Target="../media/image51.jpeg"/><Relationship Id="rId2" Type="http://schemas.openxmlformats.org/officeDocument/2006/relationships/notesSlide" Target="../notesSlides/notesSlide18.xml"/><Relationship Id="rId1" Type="http://schemas.openxmlformats.org/officeDocument/2006/relationships/slideLayout" Target="../slideLayouts/slideLayout17.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8.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6.xml"/></Relationships>
</file>

<file path=ppt/slides/_rels/slide38.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customXml" Target="../../customXml/item73.xml"/><Relationship Id="rId1" Type="http://schemas.openxmlformats.org/officeDocument/2006/relationships/customXml" Target="../../customXml/item65.xml"/><Relationship Id="rId4" Type="http://schemas.openxmlformats.org/officeDocument/2006/relationships/notesSlide" Target="../notesSlides/notesSlide21.xml"/></Relationships>
</file>

<file path=ppt/slides/_rels/slide39.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customXml" Target="../../customXml/item44.xml"/><Relationship Id="rId1" Type="http://schemas.openxmlformats.org/officeDocument/2006/relationships/customXml" Target="../../customXml/item26.xml"/></Relationships>
</file>

<file path=ppt/slides/_rels/slide4.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notesSlide" Target="../notesSlides/notesSlide4.xml"/><Relationship Id="rId1" Type="http://schemas.openxmlformats.org/officeDocument/2006/relationships/slideLayout" Target="../slideLayouts/slideLayout17.xml"/><Relationship Id="rId6" Type="http://schemas.openxmlformats.org/officeDocument/2006/relationships/image" Target="../media/image11.jpg"/><Relationship Id="rId5" Type="http://schemas.openxmlformats.org/officeDocument/2006/relationships/image" Target="../media/image10.JPG"/><Relationship Id="rId4" Type="http://schemas.openxmlformats.org/officeDocument/2006/relationships/image" Target="../media/image9.jpg"/></Relationships>
</file>

<file path=ppt/slides/_rels/slide40.xml.rels><?xml version="1.0" encoding="UTF-8" standalone="yes"?>
<Relationships xmlns="http://schemas.openxmlformats.org/package/2006/relationships"><Relationship Id="rId8" Type="http://schemas.openxmlformats.org/officeDocument/2006/relationships/image" Target="../media/image55.png"/><Relationship Id="rId3" Type="http://schemas.openxmlformats.org/officeDocument/2006/relationships/slideLayout" Target="../slideLayouts/slideLayout16.xml"/><Relationship Id="rId7" Type="http://schemas.openxmlformats.org/officeDocument/2006/relationships/image" Target="../media/image54.png"/><Relationship Id="rId2" Type="http://schemas.openxmlformats.org/officeDocument/2006/relationships/tags" Target="../tags/tag126.xml"/><Relationship Id="rId1" Type="http://schemas.openxmlformats.org/officeDocument/2006/relationships/tags" Target="../tags/tag125.xml"/><Relationship Id="rId6" Type="http://schemas.openxmlformats.org/officeDocument/2006/relationships/image" Target="../media/image53.png"/><Relationship Id="rId5" Type="http://schemas.openxmlformats.org/officeDocument/2006/relationships/image" Target="../media/image52.png"/><Relationship Id="rId4" Type="http://schemas.openxmlformats.org/officeDocument/2006/relationships/notesSlide" Target="../notesSlides/notesSlide22.xml"/></Relationships>
</file>

<file path=ppt/slides/_rels/slide41.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customXml" Target="../../customXml/item10.xml"/><Relationship Id="rId1" Type="http://schemas.openxmlformats.org/officeDocument/2006/relationships/customXml" Target="../../customXml/item2.xml"/><Relationship Id="rId6" Type="http://schemas.openxmlformats.org/officeDocument/2006/relationships/image" Target="../media/image57.png"/><Relationship Id="rId5" Type="http://schemas.openxmlformats.org/officeDocument/2006/relationships/image" Target="../media/image56.png"/><Relationship Id="rId4" Type="http://schemas.openxmlformats.org/officeDocument/2006/relationships/notesSlide" Target="../notesSlides/notesSlide23.xml"/></Relationships>
</file>

<file path=ppt/slides/_rels/slide42.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24.xml"/><Relationship Id="rId1" Type="http://schemas.openxmlformats.org/officeDocument/2006/relationships/slideLayout" Target="../slideLayouts/slideLayout17.xml"/></Relationships>
</file>

<file path=ppt/slides/_rels/slide43.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Layout" Target="../slideLayouts/slideLayout17.xml"/></Relationships>
</file>

<file path=ppt/slides/_rels/slide44.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0.png"/><Relationship Id="rId1" Type="http://schemas.openxmlformats.org/officeDocument/2006/relationships/slideLayout" Target="../slideLayouts/slideLayout17.xml"/></Relationships>
</file>

<file path=ppt/slides/_rels/slide45.xml.rels><?xml version="1.0" encoding="UTF-8" standalone="yes"?>
<Relationships xmlns="http://schemas.openxmlformats.org/package/2006/relationships"><Relationship Id="rId8" Type="http://schemas.openxmlformats.org/officeDocument/2006/relationships/image" Target="../media/image65.png"/><Relationship Id="rId13" Type="http://schemas.openxmlformats.org/officeDocument/2006/relationships/image" Target="../media/image70.png"/><Relationship Id="rId3" Type="http://schemas.openxmlformats.org/officeDocument/2006/relationships/notesSlide" Target="../notesSlides/notesSlide25.xml"/><Relationship Id="rId7" Type="http://schemas.openxmlformats.org/officeDocument/2006/relationships/image" Target="../media/image64.png"/><Relationship Id="rId12" Type="http://schemas.openxmlformats.org/officeDocument/2006/relationships/image" Target="../media/image69.png"/><Relationship Id="rId17" Type="http://schemas.openxmlformats.org/officeDocument/2006/relationships/image" Target="../media/image74.png"/><Relationship Id="rId2" Type="http://schemas.openxmlformats.org/officeDocument/2006/relationships/slideLayout" Target="../slideLayouts/slideLayout16.xml"/><Relationship Id="rId16" Type="http://schemas.openxmlformats.org/officeDocument/2006/relationships/image" Target="../media/image73.png"/><Relationship Id="rId1" Type="http://schemas.openxmlformats.org/officeDocument/2006/relationships/tags" Target="../tags/tag127.xml"/><Relationship Id="rId6" Type="http://schemas.openxmlformats.org/officeDocument/2006/relationships/image" Target="../media/image63.png"/><Relationship Id="rId11" Type="http://schemas.openxmlformats.org/officeDocument/2006/relationships/image" Target="../media/image68.png"/><Relationship Id="rId5" Type="http://schemas.openxmlformats.org/officeDocument/2006/relationships/image" Target="../media/image62.emf"/><Relationship Id="rId15" Type="http://schemas.openxmlformats.org/officeDocument/2006/relationships/image" Target="../media/image72.png"/><Relationship Id="rId10" Type="http://schemas.openxmlformats.org/officeDocument/2006/relationships/image" Target="../media/image67.png"/><Relationship Id="rId4" Type="http://schemas.openxmlformats.org/officeDocument/2006/relationships/oleObject" Target="../embeddings/oleObject1.bin"/><Relationship Id="rId9" Type="http://schemas.openxmlformats.org/officeDocument/2006/relationships/image" Target="../media/image66.png"/><Relationship Id="rId14" Type="http://schemas.openxmlformats.org/officeDocument/2006/relationships/image" Target="../media/image71.png"/></Relationships>
</file>

<file path=ppt/slides/_rels/slide46.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customXml" Target="../../customXml/item27.xml"/><Relationship Id="rId1" Type="http://schemas.openxmlformats.org/officeDocument/2006/relationships/customXml" Target="../../customXml/item18.xml"/><Relationship Id="rId5" Type="http://schemas.openxmlformats.org/officeDocument/2006/relationships/image" Target="../media/image76.png"/><Relationship Id="rId4" Type="http://schemas.openxmlformats.org/officeDocument/2006/relationships/image" Target="../media/image75.png"/></Relationships>
</file>

<file path=ppt/slides/_rels/slide47.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customXml" Target="../../customXml/item54.xml"/><Relationship Id="rId1" Type="http://schemas.openxmlformats.org/officeDocument/2006/relationships/customXml" Target="../../customXml/item41.xml"/><Relationship Id="rId4" Type="http://schemas.openxmlformats.org/officeDocument/2006/relationships/image" Target="../media/image77.png"/></Relationships>
</file>

<file path=ppt/slides/_rels/slide48.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customXml" Target="../../customXml/item69.xml"/><Relationship Id="rId1" Type="http://schemas.openxmlformats.org/officeDocument/2006/relationships/customXml" Target="../../customXml/item61.xml"/></Relationships>
</file>

<file path=ppt/slides/_rels/slide49.xml.rels><?xml version="1.0" encoding="UTF-8" standalone="yes"?>
<Relationships xmlns="http://schemas.openxmlformats.org/package/2006/relationships"><Relationship Id="rId8" Type="http://schemas.openxmlformats.org/officeDocument/2006/relationships/image" Target="../media/image48.png"/><Relationship Id="rId3" Type="http://schemas.openxmlformats.org/officeDocument/2006/relationships/image" Target="../media/image29.png"/><Relationship Id="rId7" Type="http://schemas.openxmlformats.org/officeDocument/2006/relationships/image" Target="../media/image31.svg"/><Relationship Id="rId2" Type="http://schemas.openxmlformats.org/officeDocument/2006/relationships/notesSlide" Target="../notesSlides/notesSlide26.xml"/><Relationship Id="rId1" Type="http://schemas.openxmlformats.org/officeDocument/2006/relationships/slideLayout" Target="../slideLayouts/slideLayout17.xml"/><Relationship Id="rId6" Type="http://schemas.openxmlformats.org/officeDocument/2006/relationships/image" Target="../media/image30.png"/><Relationship Id="rId5" Type="http://schemas.openxmlformats.org/officeDocument/2006/relationships/image" Target="../media/image47.jpeg"/><Relationship Id="rId10" Type="http://schemas.openxmlformats.org/officeDocument/2006/relationships/image" Target="../media/image79.png"/><Relationship Id="rId4" Type="http://schemas.openxmlformats.org/officeDocument/2006/relationships/image" Target="../media/image46.png"/><Relationship Id="rId9" Type="http://schemas.openxmlformats.org/officeDocument/2006/relationships/image" Target="../media/image78.png"/></Relationships>
</file>

<file path=ppt/slides/_rels/slide5.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5.xml"/><Relationship Id="rId1" Type="http://schemas.openxmlformats.org/officeDocument/2006/relationships/slideLayout" Target="../slideLayouts/slideLayout16.xml"/><Relationship Id="rId5" Type="http://schemas.openxmlformats.org/officeDocument/2006/relationships/image" Target="../media/image14.jpeg"/><Relationship Id="rId4" Type="http://schemas.openxmlformats.org/officeDocument/2006/relationships/image" Target="../media/image13.jpeg"/></Relationships>
</file>

<file path=ppt/slides/_rels/slide50.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customXml" Target="../../customXml/item38.xml"/><Relationship Id="rId1" Type="http://schemas.openxmlformats.org/officeDocument/2006/relationships/customXml" Target="../../customXml/item74.xml"/><Relationship Id="rId4" Type="http://schemas.openxmlformats.org/officeDocument/2006/relationships/notesSlide" Target="../notesSlides/notesSlide27.xml"/></Relationships>
</file>

<file path=ppt/slides/_rels/slide51.xml.rels><?xml version="1.0" encoding="UTF-8" standalone="yes"?>
<Relationships xmlns="http://schemas.openxmlformats.org/package/2006/relationships"><Relationship Id="rId8" Type="http://schemas.openxmlformats.org/officeDocument/2006/relationships/image" Target="../media/image83.png"/><Relationship Id="rId3" Type="http://schemas.openxmlformats.org/officeDocument/2006/relationships/slideLayout" Target="../slideLayouts/slideLayout17.xml"/><Relationship Id="rId7" Type="http://schemas.openxmlformats.org/officeDocument/2006/relationships/image" Target="../media/image82.png"/><Relationship Id="rId2" Type="http://schemas.openxmlformats.org/officeDocument/2006/relationships/customXml" Target="../../customXml/item7.xml"/><Relationship Id="rId1" Type="http://schemas.openxmlformats.org/officeDocument/2006/relationships/customXml" Target="../../customXml/item78.xml"/><Relationship Id="rId6" Type="http://schemas.openxmlformats.org/officeDocument/2006/relationships/image" Target="../media/image81.png"/><Relationship Id="rId5" Type="http://schemas.openxmlformats.org/officeDocument/2006/relationships/image" Target="../media/image80.png"/><Relationship Id="rId4" Type="http://schemas.openxmlformats.org/officeDocument/2006/relationships/notesSlide" Target="../notesSlides/notesSlide28.xml"/></Relationships>
</file>

<file path=ppt/slides/_rels/slide52.xml.rels><?xml version="1.0" encoding="UTF-8" standalone="yes"?>
<Relationships xmlns="http://schemas.openxmlformats.org/package/2006/relationships"><Relationship Id="rId8" Type="http://schemas.openxmlformats.org/officeDocument/2006/relationships/image" Target="../media/image83.png"/><Relationship Id="rId3" Type="http://schemas.openxmlformats.org/officeDocument/2006/relationships/slideLayout" Target="../slideLayouts/slideLayout17.xml"/><Relationship Id="rId7" Type="http://schemas.openxmlformats.org/officeDocument/2006/relationships/image" Target="../media/image82.png"/><Relationship Id="rId2" Type="http://schemas.openxmlformats.org/officeDocument/2006/relationships/customXml" Target="../../customXml/item23.xml"/><Relationship Id="rId1" Type="http://schemas.openxmlformats.org/officeDocument/2006/relationships/customXml" Target="../../customXml/item15.xml"/><Relationship Id="rId6" Type="http://schemas.openxmlformats.org/officeDocument/2006/relationships/image" Target="../media/image81.png"/><Relationship Id="rId5" Type="http://schemas.openxmlformats.org/officeDocument/2006/relationships/image" Target="../media/image80.png"/><Relationship Id="rId4" Type="http://schemas.openxmlformats.org/officeDocument/2006/relationships/notesSlide" Target="../notesSlides/notesSlide29.xml"/></Relationships>
</file>

<file path=ppt/slides/_rels/slide53.xml.rels><?xml version="1.0" encoding="UTF-8" standalone="yes"?>
<Relationships xmlns="http://schemas.openxmlformats.org/package/2006/relationships"><Relationship Id="rId8" Type="http://schemas.openxmlformats.org/officeDocument/2006/relationships/image" Target="../media/image81.png"/><Relationship Id="rId3" Type="http://schemas.openxmlformats.org/officeDocument/2006/relationships/slideLayout" Target="../slideLayouts/slideLayout17.xml"/><Relationship Id="rId7" Type="http://schemas.openxmlformats.org/officeDocument/2006/relationships/image" Target="../media/image83.png"/><Relationship Id="rId2" Type="http://schemas.openxmlformats.org/officeDocument/2006/relationships/customXml" Target="../../customXml/item51.xml"/><Relationship Id="rId1" Type="http://schemas.openxmlformats.org/officeDocument/2006/relationships/customXml" Target="../../customXml/item35.xml"/><Relationship Id="rId6" Type="http://schemas.openxmlformats.org/officeDocument/2006/relationships/image" Target="../media/image82.png"/><Relationship Id="rId5" Type="http://schemas.openxmlformats.org/officeDocument/2006/relationships/image" Target="../media/image80.png"/><Relationship Id="rId4" Type="http://schemas.openxmlformats.org/officeDocument/2006/relationships/notesSlide" Target="../notesSlides/notesSlide30.xml"/></Relationships>
</file>

<file path=ppt/slides/_rels/slide54.xml.rels><?xml version="1.0" encoding="UTF-8" standalone="yes"?>
<Relationships xmlns="http://schemas.openxmlformats.org/package/2006/relationships"><Relationship Id="rId8" Type="http://schemas.openxmlformats.org/officeDocument/2006/relationships/image" Target="../media/image80.png"/><Relationship Id="rId3" Type="http://schemas.openxmlformats.org/officeDocument/2006/relationships/slideLayout" Target="../slideLayouts/slideLayout17.xml"/><Relationship Id="rId7" Type="http://schemas.openxmlformats.org/officeDocument/2006/relationships/image" Target="../media/image83.png"/><Relationship Id="rId2" Type="http://schemas.openxmlformats.org/officeDocument/2006/relationships/customXml" Target="../../customXml/item66.xml"/><Relationship Id="rId1" Type="http://schemas.openxmlformats.org/officeDocument/2006/relationships/customXml" Target="../../customXml/item58.xml"/><Relationship Id="rId6" Type="http://schemas.openxmlformats.org/officeDocument/2006/relationships/image" Target="../media/image82.png"/><Relationship Id="rId5" Type="http://schemas.openxmlformats.org/officeDocument/2006/relationships/image" Target="../media/image81.png"/><Relationship Id="rId4" Type="http://schemas.openxmlformats.org/officeDocument/2006/relationships/notesSlide" Target="../notesSlides/notesSlide31.xml"/></Relationships>
</file>

<file path=ppt/slides/_rels/slide55.xml.rels><?xml version="1.0" encoding="UTF-8" standalone="yes"?>
<Relationships xmlns="http://schemas.openxmlformats.org/package/2006/relationships"><Relationship Id="rId8" Type="http://schemas.openxmlformats.org/officeDocument/2006/relationships/image" Target="../media/image83.png"/><Relationship Id="rId3" Type="http://schemas.openxmlformats.org/officeDocument/2006/relationships/slideLayout" Target="../slideLayouts/slideLayout17.xml"/><Relationship Id="rId7" Type="http://schemas.openxmlformats.org/officeDocument/2006/relationships/image" Target="../media/image82.png"/><Relationship Id="rId2" Type="http://schemas.openxmlformats.org/officeDocument/2006/relationships/customXml" Target="../../customXml/item31.xml"/><Relationship Id="rId1" Type="http://schemas.openxmlformats.org/officeDocument/2006/relationships/customXml" Target="../../customXml/item70.xml"/><Relationship Id="rId6" Type="http://schemas.openxmlformats.org/officeDocument/2006/relationships/image" Target="../media/image81.png"/><Relationship Id="rId5" Type="http://schemas.openxmlformats.org/officeDocument/2006/relationships/image" Target="../media/image80.png"/><Relationship Id="rId4" Type="http://schemas.openxmlformats.org/officeDocument/2006/relationships/notesSlide" Target="../notesSlides/notesSlide32.xml"/></Relationships>
</file>

<file path=ppt/slides/_rels/slide56.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customXml" Target="../../customXml/item3.xml"/><Relationship Id="rId1" Type="http://schemas.openxmlformats.org/officeDocument/2006/relationships/customXml" Target="../../customXml/item45.xml"/><Relationship Id="rId4" Type="http://schemas.openxmlformats.org/officeDocument/2006/relationships/notesSlide" Target="../notesSlides/notesSlide33.xml"/></Relationships>
</file>

<file path=ppt/slides/_rels/slide57.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customXml" Target="../../customXml/item19.xml"/><Relationship Id="rId1" Type="http://schemas.openxmlformats.org/officeDocument/2006/relationships/customXml" Target="../../customXml/item11.xml"/><Relationship Id="rId5" Type="http://schemas.openxmlformats.org/officeDocument/2006/relationships/image" Target="../media/image84.png"/><Relationship Id="rId4" Type="http://schemas.openxmlformats.org/officeDocument/2006/relationships/notesSlide" Target="../notesSlides/notesSlide34.xml"/></Relationships>
</file>

<file path=ppt/slides/_rels/slide58.xml.rels><?xml version="1.0" encoding="UTF-8" standalone="yes"?>
<Relationships xmlns="http://schemas.openxmlformats.org/package/2006/relationships"><Relationship Id="rId8" Type="http://schemas.openxmlformats.org/officeDocument/2006/relationships/image" Target="../media/image88.png"/><Relationship Id="rId3" Type="http://schemas.openxmlformats.org/officeDocument/2006/relationships/slideLayout" Target="../slideLayouts/slideLayout17.xml"/><Relationship Id="rId7" Type="http://schemas.openxmlformats.org/officeDocument/2006/relationships/image" Target="../media/image87.png"/><Relationship Id="rId2" Type="http://schemas.openxmlformats.org/officeDocument/2006/relationships/customXml" Target="../../customXml/item42.xml"/><Relationship Id="rId1" Type="http://schemas.openxmlformats.org/officeDocument/2006/relationships/customXml" Target="../../customXml/item28.xml"/><Relationship Id="rId6" Type="http://schemas.openxmlformats.org/officeDocument/2006/relationships/image" Target="../media/image86.png"/><Relationship Id="rId5" Type="http://schemas.openxmlformats.org/officeDocument/2006/relationships/image" Target="../media/image85.png"/><Relationship Id="rId4" Type="http://schemas.openxmlformats.org/officeDocument/2006/relationships/notesSlide" Target="../notesSlides/notesSlide35.xml"/><Relationship Id="rId9" Type="http://schemas.openxmlformats.org/officeDocument/2006/relationships/image" Target="../media/image89.png"/></Relationships>
</file>

<file path=ppt/slides/_rels/slide59.xml.rels><?xml version="1.0" encoding="UTF-8" standalone="yes"?>
<Relationships xmlns="http://schemas.openxmlformats.org/package/2006/relationships"><Relationship Id="rId8" Type="http://schemas.openxmlformats.org/officeDocument/2006/relationships/image" Target="../media/image85.png"/><Relationship Id="rId3" Type="http://schemas.openxmlformats.org/officeDocument/2006/relationships/slideLayout" Target="../slideLayouts/slideLayout17.xml"/><Relationship Id="rId7" Type="http://schemas.openxmlformats.org/officeDocument/2006/relationships/image" Target="../media/image89.png"/><Relationship Id="rId2" Type="http://schemas.openxmlformats.org/officeDocument/2006/relationships/customXml" Target="../../customXml/item62.xml"/><Relationship Id="rId1" Type="http://schemas.openxmlformats.org/officeDocument/2006/relationships/customXml" Target="../../customXml/item55.xml"/><Relationship Id="rId6" Type="http://schemas.openxmlformats.org/officeDocument/2006/relationships/image" Target="../media/image88.png"/><Relationship Id="rId5" Type="http://schemas.openxmlformats.org/officeDocument/2006/relationships/image" Target="../media/image87.png"/><Relationship Id="rId4" Type="http://schemas.openxmlformats.org/officeDocument/2006/relationships/notesSlide" Target="../notesSlides/notesSlide36.xml"/><Relationship Id="rId9" Type="http://schemas.openxmlformats.org/officeDocument/2006/relationships/image" Target="../media/image86.pn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6.xml"/></Relationships>
</file>

<file path=ppt/slides/_rels/slide60.xml.rels><?xml version="1.0" encoding="UTF-8" standalone="yes"?>
<Relationships xmlns="http://schemas.openxmlformats.org/package/2006/relationships"><Relationship Id="rId8" Type="http://schemas.openxmlformats.org/officeDocument/2006/relationships/image" Target="../media/image89.png"/><Relationship Id="rId3" Type="http://schemas.openxmlformats.org/officeDocument/2006/relationships/slideLayout" Target="../slideLayouts/slideLayout17.xml"/><Relationship Id="rId7" Type="http://schemas.openxmlformats.org/officeDocument/2006/relationships/image" Target="../media/image88.png"/><Relationship Id="rId2" Type="http://schemas.openxmlformats.org/officeDocument/2006/relationships/customXml" Target="../../customXml/item75.xml"/><Relationship Id="rId1" Type="http://schemas.openxmlformats.org/officeDocument/2006/relationships/customXml" Target="../../customXml/item67.xml"/><Relationship Id="rId6" Type="http://schemas.openxmlformats.org/officeDocument/2006/relationships/image" Target="../media/image86.png"/><Relationship Id="rId5" Type="http://schemas.openxmlformats.org/officeDocument/2006/relationships/image" Target="../media/image85.png"/><Relationship Id="rId4" Type="http://schemas.openxmlformats.org/officeDocument/2006/relationships/notesSlide" Target="../notesSlides/notesSlide37.xml"/><Relationship Id="rId9" Type="http://schemas.openxmlformats.org/officeDocument/2006/relationships/image" Target="../media/image87.png"/></Relationships>
</file>

<file path=ppt/slides/_rels/slide61.xml.rels><?xml version="1.0" encoding="UTF-8" standalone="yes"?>
<Relationships xmlns="http://schemas.openxmlformats.org/package/2006/relationships"><Relationship Id="rId8" Type="http://schemas.openxmlformats.org/officeDocument/2006/relationships/image" Target="../media/image87.png"/><Relationship Id="rId3" Type="http://schemas.openxmlformats.org/officeDocument/2006/relationships/slideLayout" Target="../slideLayouts/slideLayout17.xml"/><Relationship Id="rId7" Type="http://schemas.openxmlformats.org/officeDocument/2006/relationships/image" Target="../media/image89.png"/><Relationship Id="rId2" Type="http://schemas.openxmlformats.org/officeDocument/2006/relationships/customXml" Target="../../customXml/item79.xml"/><Relationship Id="rId1" Type="http://schemas.openxmlformats.org/officeDocument/2006/relationships/customXml" Target="../../customXml/item39.xml"/><Relationship Id="rId6" Type="http://schemas.openxmlformats.org/officeDocument/2006/relationships/image" Target="../media/image86.png"/><Relationship Id="rId5" Type="http://schemas.openxmlformats.org/officeDocument/2006/relationships/image" Target="../media/image85.png"/><Relationship Id="rId4" Type="http://schemas.openxmlformats.org/officeDocument/2006/relationships/notesSlide" Target="../notesSlides/notesSlide38.xml"/><Relationship Id="rId9" Type="http://schemas.openxmlformats.org/officeDocument/2006/relationships/image" Target="../media/image88.png"/></Relationships>
</file>

<file path=ppt/slides/_rels/slide62.xml.rels><?xml version="1.0" encoding="UTF-8" standalone="yes"?>
<Relationships xmlns="http://schemas.openxmlformats.org/package/2006/relationships"><Relationship Id="rId8" Type="http://schemas.openxmlformats.org/officeDocument/2006/relationships/image" Target="../media/image85.png"/><Relationship Id="rId3" Type="http://schemas.openxmlformats.org/officeDocument/2006/relationships/slideLayout" Target="../slideLayouts/slideLayout17.xml"/><Relationship Id="rId7" Type="http://schemas.openxmlformats.org/officeDocument/2006/relationships/image" Target="../media/image88.png"/><Relationship Id="rId2" Type="http://schemas.openxmlformats.org/officeDocument/2006/relationships/customXml" Target="../../customXml/item16.xml"/><Relationship Id="rId1" Type="http://schemas.openxmlformats.org/officeDocument/2006/relationships/customXml" Target="../../customXml/item8.xml"/><Relationship Id="rId6" Type="http://schemas.openxmlformats.org/officeDocument/2006/relationships/image" Target="../media/image87.png"/><Relationship Id="rId5" Type="http://schemas.openxmlformats.org/officeDocument/2006/relationships/image" Target="../media/image86.png"/><Relationship Id="rId4" Type="http://schemas.openxmlformats.org/officeDocument/2006/relationships/notesSlide" Target="../notesSlides/notesSlide39.xml"/><Relationship Id="rId9" Type="http://schemas.openxmlformats.org/officeDocument/2006/relationships/image" Target="../media/image89.png"/></Relationships>
</file>

<file path=ppt/slides/_rels/slide63.xml.rels><?xml version="1.0" encoding="UTF-8" standalone="yes"?>
<Relationships xmlns="http://schemas.openxmlformats.org/package/2006/relationships"><Relationship Id="rId8" Type="http://schemas.openxmlformats.org/officeDocument/2006/relationships/image" Target="../media/image88.png"/><Relationship Id="rId3" Type="http://schemas.openxmlformats.org/officeDocument/2006/relationships/slideLayout" Target="../slideLayouts/slideLayout17.xml"/><Relationship Id="rId7" Type="http://schemas.openxmlformats.org/officeDocument/2006/relationships/image" Target="../media/image87.png"/><Relationship Id="rId2" Type="http://schemas.openxmlformats.org/officeDocument/2006/relationships/customXml" Target="../../customXml/item36.xml"/><Relationship Id="rId1" Type="http://schemas.openxmlformats.org/officeDocument/2006/relationships/customXml" Target="../../customXml/item24.xml"/><Relationship Id="rId6" Type="http://schemas.openxmlformats.org/officeDocument/2006/relationships/image" Target="../media/image86.png"/><Relationship Id="rId5" Type="http://schemas.openxmlformats.org/officeDocument/2006/relationships/image" Target="../media/image85.png"/><Relationship Id="rId10" Type="http://schemas.openxmlformats.org/officeDocument/2006/relationships/image" Target="../media/image90.png"/><Relationship Id="rId4" Type="http://schemas.openxmlformats.org/officeDocument/2006/relationships/notesSlide" Target="../notesSlides/notesSlide40.xml"/><Relationship Id="rId9" Type="http://schemas.openxmlformats.org/officeDocument/2006/relationships/image" Target="../media/image89.png"/></Relationships>
</file>

<file path=ppt/slides/_rels/slide64.xml.rels><?xml version="1.0" encoding="UTF-8" standalone="yes"?>
<Relationships xmlns="http://schemas.openxmlformats.org/package/2006/relationships"><Relationship Id="rId8" Type="http://schemas.openxmlformats.org/officeDocument/2006/relationships/image" Target="../media/image88.png"/><Relationship Id="rId3" Type="http://schemas.openxmlformats.org/officeDocument/2006/relationships/slideLayout" Target="../slideLayouts/slideLayout17.xml"/><Relationship Id="rId7" Type="http://schemas.openxmlformats.org/officeDocument/2006/relationships/image" Target="../media/image87.png"/><Relationship Id="rId2" Type="http://schemas.openxmlformats.org/officeDocument/2006/relationships/customXml" Target="../../customXml/item59.xml"/><Relationship Id="rId1" Type="http://schemas.openxmlformats.org/officeDocument/2006/relationships/customXml" Target="../../customXml/item52.xml"/><Relationship Id="rId6" Type="http://schemas.openxmlformats.org/officeDocument/2006/relationships/image" Target="../media/image86.png"/><Relationship Id="rId5" Type="http://schemas.openxmlformats.org/officeDocument/2006/relationships/image" Target="../media/image85.png"/><Relationship Id="rId4" Type="http://schemas.openxmlformats.org/officeDocument/2006/relationships/notesSlide" Target="../notesSlides/notesSlide41.xml"/><Relationship Id="rId9" Type="http://schemas.openxmlformats.org/officeDocument/2006/relationships/image" Target="../media/image89.png"/></Relationships>
</file>

<file path=ppt/slides/_rels/slide65.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customXml" Target="../../customXml/item71.xml"/><Relationship Id="rId1" Type="http://schemas.openxmlformats.org/officeDocument/2006/relationships/customXml" Target="../../customXml/item63.xml"/><Relationship Id="rId5" Type="http://schemas.openxmlformats.org/officeDocument/2006/relationships/image" Target="../media/image91.png"/><Relationship Id="rId4" Type="http://schemas.openxmlformats.org/officeDocument/2006/relationships/notesSlide" Target="../notesSlides/notesSlide42.xml"/></Relationships>
</file>

<file path=ppt/slides/_rels/slide66.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customXml" Target="../../customXml/item46.xml"/><Relationship Id="rId1" Type="http://schemas.openxmlformats.org/officeDocument/2006/relationships/customXml" Target="../../customXml/item32.xml"/><Relationship Id="rId5" Type="http://schemas.openxmlformats.org/officeDocument/2006/relationships/image" Target="../media/image91.png"/><Relationship Id="rId4" Type="http://schemas.openxmlformats.org/officeDocument/2006/relationships/notesSlide" Target="../notesSlides/notesSlide43.xml"/></Relationships>
</file>

<file path=ppt/slides/_rels/slide67.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customXml" Target="../../customXml/item12.xml"/><Relationship Id="rId1" Type="http://schemas.openxmlformats.org/officeDocument/2006/relationships/customXml" Target="../../customXml/item4.xml"/><Relationship Id="rId5" Type="http://schemas.openxmlformats.org/officeDocument/2006/relationships/image" Target="../media/image91.png"/><Relationship Id="rId4" Type="http://schemas.openxmlformats.org/officeDocument/2006/relationships/notesSlide" Target="../notesSlides/notesSlide44.xml"/></Relationships>
</file>

<file path=ppt/slides/_rels/slide68.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customXml" Target="../../customXml/item29.xml"/><Relationship Id="rId1" Type="http://schemas.openxmlformats.org/officeDocument/2006/relationships/customXml" Target="../../customXml/item20.xml"/><Relationship Id="rId4" Type="http://schemas.openxmlformats.org/officeDocument/2006/relationships/notesSlide" Target="../notesSlides/notesSlide45.xml"/></Relationships>
</file>

<file path=ppt/slides/_rels/slide69.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customXml" Target="../../customXml/item56.xml"/><Relationship Id="rId1" Type="http://schemas.openxmlformats.org/officeDocument/2006/relationships/customXml" Target="../../customXml/item47.xml"/><Relationship Id="rId6" Type="http://schemas.openxmlformats.org/officeDocument/2006/relationships/hyperlink" Target="https://docs.solace.com/Admin/SEMP/Declarative-SEMP.htm" TargetMode="External"/><Relationship Id="rId5" Type="http://schemas.openxmlformats.org/officeDocument/2006/relationships/hyperlink" Target="https://github.com/SolaceProducts/terraform-provider-solacebroker" TargetMode="External"/><Relationship Id="rId4" Type="http://schemas.openxmlformats.org/officeDocument/2006/relationships/notesSlide" Target="../notesSlides/notesSlide46.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6.xml"/></Relationships>
</file>

<file path=ppt/slides/_rels/slide70.xml.rels><?xml version="1.0" encoding="UTF-8" standalone="yes"?>
<Relationships xmlns="http://schemas.openxmlformats.org/package/2006/relationships"><Relationship Id="rId8" Type="http://schemas.openxmlformats.org/officeDocument/2006/relationships/image" Target="../media/image97.png"/><Relationship Id="rId3" Type="http://schemas.openxmlformats.org/officeDocument/2006/relationships/image" Target="../media/image92.png"/><Relationship Id="rId7" Type="http://schemas.openxmlformats.org/officeDocument/2006/relationships/image" Target="../media/image96.png"/><Relationship Id="rId2" Type="http://schemas.openxmlformats.org/officeDocument/2006/relationships/notesSlide" Target="../notesSlides/notesSlide47.xml"/><Relationship Id="rId1" Type="http://schemas.openxmlformats.org/officeDocument/2006/relationships/slideLayout" Target="../slideLayouts/slideLayout17.xml"/><Relationship Id="rId6" Type="http://schemas.openxmlformats.org/officeDocument/2006/relationships/image" Target="../media/image95.png"/><Relationship Id="rId5" Type="http://schemas.openxmlformats.org/officeDocument/2006/relationships/image" Target="../media/image94.png"/><Relationship Id="rId10" Type="http://schemas.openxmlformats.org/officeDocument/2006/relationships/image" Target="../media/image99.png"/><Relationship Id="rId4" Type="http://schemas.openxmlformats.org/officeDocument/2006/relationships/image" Target="../media/image93.png"/><Relationship Id="rId9" Type="http://schemas.openxmlformats.org/officeDocument/2006/relationships/image" Target="../media/image98.png"/></Relationships>
</file>

<file path=ppt/slides/_rels/slide71.xml.rels><?xml version="1.0" encoding="UTF-8" standalone="yes"?>
<Relationships xmlns="http://schemas.openxmlformats.org/package/2006/relationships"><Relationship Id="rId8" Type="http://schemas.openxmlformats.org/officeDocument/2006/relationships/image" Target="../media/image103.png"/><Relationship Id="rId3" Type="http://schemas.openxmlformats.org/officeDocument/2006/relationships/hyperlink" Target="https://eu10.console.sap.pubsub.em.services.cloud.sap/" TargetMode="External"/><Relationship Id="rId7" Type="http://schemas.openxmlformats.org/officeDocument/2006/relationships/hyperlink" Target="https://api.solace.dev/cloud/reference/using-the-v2-rest-apis-for-pubsub-cloud" TargetMode="External"/><Relationship Id="rId2" Type="http://schemas.openxmlformats.org/officeDocument/2006/relationships/notesSlide" Target="../notesSlides/notesSlide48.xml"/><Relationship Id="rId1" Type="http://schemas.openxmlformats.org/officeDocument/2006/relationships/slideLayout" Target="../slideLayouts/slideLayout17.xml"/><Relationship Id="rId6" Type="http://schemas.openxmlformats.org/officeDocument/2006/relationships/image" Target="../media/image102.png"/><Relationship Id="rId5" Type="http://schemas.openxmlformats.org/officeDocument/2006/relationships/image" Target="../media/image101.png"/><Relationship Id="rId4" Type="http://schemas.openxmlformats.org/officeDocument/2006/relationships/image" Target="../media/image100.png"/></Relationships>
</file>

<file path=ppt/slides/_rels/slide72.xml.rels><?xml version="1.0" encoding="UTF-8" standalone="yes"?>
<Relationships xmlns="http://schemas.openxmlformats.org/package/2006/relationships"><Relationship Id="rId8" Type="http://schemas.openxmlformats.org/officeDocument/2006/relationships/hyperlink" Target="https://docs.solace.com/API-Developer-Online-Ref-Documentation/swagger-ui/software-broker/monitor/index.html" TargetMode="External"/><Relationship Id="rId3" Type="http://schemas.openxmlformats.org/officeDocument/2006/relationships/image" Target="../media/image104.png"/><Relationship Id="rId7" Type="http://schemas.openxmlformats.org/officeDocument/2006/relationships/hyperlink" Target="https://docs.solace.com/API-Developer-Online-Ref-Documentation/swagger-ui/software-broker/action/index.html" TargetMode="External"/><Relationship Id="rId2" Type="http://schemas.openxmlformats.org/officeDocument/2006/relationships/notesSlide" Target="../notesSlides/notesSlide49.xml"/><Relationship Id="rId1" Type="http://schemas.openxmlformats.org/officeDocument/2006/relationships/slideLayout" Target="../slideLayouts/slideLayout17.xml"/><Relationship Id="rId6" Type="http://schemas.openxmlformats.org/officeDocument/2006/relationships/hyperlink" Target="https://docs.solace.com/API-Developer-Online-Ref-Documentation/swagger-ui/software-broker/config/index.html" TargetMode="External"/><Relationship Id="rId5" Type="http://schemas.openxmlformats.org/officeDocument/2006/relationships/image" Target="../media/image106.png"/><Relationship Id="rId4" Type="http://schemas.openxmlformats.org/officeDocument/2006/relationships/image" Target="../media/image105.png"/></Relationships>
</file>

<file path=ppt/slides/_rels/slide73.xml.rels><?xml version="1.0" encoding="UTF-8" standalone="yes"?>
<Relationships xmlns="http://schemas.openxmlformats.org/package/2006/relationships"><Relationship Id="rId3" Type="http://schemas.openxmlformats.org/officeDocument/2006/relationships/hyperlink" Target="https://tutorials.solace.dev/rest-messaging/publish-subscribe/" TargetMode="External"/><Relationship Id="rId7" Type="http://schemas.openxmlformats.org/officeDocument/2006/relationships/image" Target="../media/image110.png"/><Relationship Id="rId2" Type="http://schemas.openxmlformats.org/officeDocument/2006/relationships/notesSlide" Target="../notesSlides/notesSlide50.xml"/><Relationship Id="rId1" Type="http://schemas.openxmlformats.org/officeDocument/2006/relationships/slideLayout" Target="../slideLayouts/slideLayout17.xml"/><Relationship Id="rId6" Type="http://schemas.openxmlformats.org/officeDocument/2006/relationships/image" Target="../media/image109.png"/><Relationship Id="rId5" Type="http://schemas.openxmlformats.org/officeDocument/2006/relationships/image" Target="../media/image108.png"/><Relationship Id="rId4" Type="http://schemas.openxmlformats.org/officeDocument/2006/relationships/image" Target="../media/image107.png"/></Relationships>
</file>

<file path=ppt/slides/_rels/slide74.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17.xml"/></Relationships>
</file>

<file path=ppt/slides/_rels/slide75.xml.rels><?xml version="1.0" encoding="UTF-8" standalone="yes"?>
<Relationships xmlns="http://schemas.openxmlformats.org/package/2006/relationships"><Relationship Id="rId2" Type="http://schemas.openxmlformats.org/officeDocument/2006/relationships/image" Target="../media/image111.jpeg"/><Relationship Id="rId1" Type="http://schemas.openxmlformats.org/officeDocument/2006/relationships/slideLayout" Target="../slideLayouts/slideLayout14.xml"/></Relationships>
</file>

<file path=ppt/slides/_rels/slide76.xml.rels><?xml version="1.0" encoding="UTF-8" standalone="yes"?>
<Relationships xmlns="http://schemas.openxmlformats.org/package/2006/relationships"><Relationship Id="rId3" Type="http://schemas.openxmlformats.org/officeDocument/2006/relationships/image" Target="../media/image112.png"/><Relationship Id="rId2" Type="http://schemas.openxmlformats.org/officeDocument/2006/relationships/notesSlide" Target="../notesSlides/notesSlide52.xml"/><Relationship Id="rId1" Type="http://schemas.openxmlformats.org/officeDocument/2006/relationships/slideLayout" Target="../slideLayouts/slideLayout26.xml"/></Relationships>
</file>

<file path=ppt/slides/_rels/slide77.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notesSlide" Target="../notesSlides/notesSlide53.xml"/><Relationship Id="rId1" Type="http://schemas.openxmlformats.org/officeDocument/2006/relationships/slideLayout" Target="../slideLayouts/slideLayout26.xml"/><Relationship Id="rId4" Type="http://schemas.openxmlformats.org/officeDocument/2006/relationships/image" Target="../media/image114.png"/></Relationships>
</file>

<file path=ppt/slides/_rels/slide78.xml.rels><?xml version="1.0" encoding="UTF-8" standalone="yes"?>
<Relationships xmlns="http://schemas.openxmlformats.org/package/2006/relationships"><Relationship Id="rId2" Type="http://schemas.openxmlformats.org/officeDocument/2006/relationships/image" Target="../media/image115.jpeg"/><Relationship Id="rId1" Type="http://schemas.openxmlformats.org/officeDocument/2006/relationships/slideLayout" Target="../slideLayouts/slideLayout14.xml"/></Relationships>
</file>

<file path=ppt/slides/_rels/slide79.xml.rels><?xml version="1.0" encoding="UTF-8" standalone="yes"?>
<Relationships xmlns="http://schemas.openxmlformats.org/package/2006/relationships"><Relationship Id="rId2" Type="http://schemas.openxmlformats.org/officeDocument/2006/relationships/image" Target="../media/image116.jpeg"/><Relationship Id="rId1" Type="http://schemas.openxmlformats.org/officeDocument/2006/relationships/slideLayout" Target="../slideLayouts/slideLayout2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0.xml"/></Relationships>
</file>

<file path=ppt/slides/_rels/slide80.xml.rels><?xml version="1.0" encoding="UTF-8" standalone="yes"?>
<Relationships xmlns="http://schemas.openxmlformats.org/package/2006/relationships"><Relationship Id="rId2" Type="http://schemas.openxmlformats.org/officeDocument/2006/relationships/image" Target="../media/image117.jpeg"/><Relationship Id="rId1" Type="http://schemas.openxmlformats.org/officeDocument/2006/relationships/slideLayout" Target="../slideLayouts/slideLayout24.xml"/></Relationships>
</file>

<file path=ppt/slides/_rels/slide81.xml.rels><?xml version="1.0" encoding="UTF-8" standalone="yes"?>
<Relationships xmlns="http://schemas.openxmlformats.org/package/2006/relationships"><Relationship Id="rId2" Type="http://schemas.openxmlformats.org/officeDocument/2006/relationships/image" Target="../media/image118.jpeg"/><Relationship Id="rId1" Type="http://schemas.openxmlformats.org/officeDocument/2006/relationships/slideLayout" Target="../slideLayouts/slideLayout24.xml"/></Relationships>
</file>

<file path=ppt/slides/_rels/slide82.xml.rels><?xml version="1.0" encoding="UTF-8" standalone="yes"?>
<Relationships xmlns="http://schemas.openxmlformats.org/package/2006/relationships"><Relationship Id="rId2" Type="http://schemas.openxmlformats.org/officeDocument/2006/relationships/image" Target="../media/image119.jpeg"/><Relationship Id="rId1" Type="http://schemas.openxmlformats.org/officeDocument/2006/relationships/slideLayout" Target="../slideLayouts/slideLayout24.xml"/></Relationships>
</file>

<file path=ppt/slides/_rels/slide83.xml.rels><?xml version="1.0" encoding="UTF-8" standalone="yes"?>
<Relationships xmlns="http://schemas.openxmlformats.org/package/2006/relationships"><Relationship Id="rId2" Type="http://schemas.openxmlformats.org/officeDocument/2006/relationships/image" Target="../media/image120.jpeg"/><Relationship Id="rId1" Type="http://schemas.openxmlformats.org/officeDocument/2006/relationships/slideLayout" Target="../slideLayouts/slideLayout24.xml"/></Relationships>
</file>

<file path=ppt/slides/_rels/slide84.xml.rels><?xml version="1.0" encoding="UTF-8" standalone="yes"?>
<Relationships xmlns="http://schemas.openxmlformats.org/package/2006/relationships"><Relationship Id="rId8" Type="http://schemas.openxmlformats.org/officeDocument/2006/relationships/image" Target="../media/image116.jpeg"/><Relationship Id="rId3" Type="http://schemas.openxmlformats.org/officeDocument/2006/relationships/hyperlink" Target="https://community.sap.com/t5/technology-blogs-by-sap/a-natural-choice-sap-aif-can-now-expose-events-to-advanced-event-mesh-to/ba-p/13773758" TargetMode="External"/><Relationship Id="rId7" Type="http://schemas.openxmlformats.org/officeDocument/2006/relationships/hyperlink" Target="https://me.sap.com/notes/3474406/E" TargetMode="External"/><Relationship Id="rId2" Type="http://schemas.openxmlformats.org/officeDocument/2006/relationships/notesSlide" Target="../notesSlides/notesSlide54.xml"/><Relationship Id="rId1" Type="http://schemas.openxmlformats.org/officeDocument/2006/relationships/slideLayout" Target="../slideLayouts/slideLayout17.xml"/><Relationship Id="rId6" Type="http://schemas.openxmlformats.org/officeDocument/2006/relationships/hyperlink" Target="https://community.sap.com/t5/technology-blogs-by-sap/how-to-set-up-enhanced-sap-events-for-advanced-event-mesh-with-application/ba-p/13780160" TargetMode="External"/><Relationship Id="rId5" Type="http://schemas.openxmlformats.org/officeDocument/2006/relationships/hyperlink" Target="https://community.sap.com/t5/technology-blogs-by-sap/integration-of-sap-s-4hana-with-sap-integration-suite-advanced-event-mesh/ba-p/13752546" TargetMode="External"/><Relationship Id="rId4" Type="http://schemas.openxmlformats.org/officeDocument/2006/relationships/hyperlink" Target="https://community.sap.com/t5/technology-blogs-by-sap/sap-application-interface-framework-all-you-need-to-know-about-sap-aif/ba-p/13400499" TargetMode="External"/></Relationships>
</file>

<file path=ppt/slides/_rels/slide85.xml.rels><?xml version="1.0" encoding="UTF-8" standalone="yes"?>
<Relationships xmlns="http://schemas.openxmlformats.org/package/2006/relationships"><Relationship Id="rId3" Type="http://schemas.openxmlformats.org/officeDocument/2006/relationships/hyperlink" Target="https://me.sap.com/notes/3480454/E" TargetMode="External"/><Relationship Id="rId2" Type="http://schemas.openxmlformats.org/officeDocument/2006/relationships/notesSlide" Target="../notesSlides/notesSlide55.xml"/><Relationship Id="rId1" Type="http://schemas.openxmlformats.org/officeDocument/2006/relationships/slideLayout" Target="../slideLayouts/slideLayout17.xml"/></Relationships>
</file>

<file path=ppt/slides/_rels/slide86.xml.rels><?xml version="1.0" encoding="UTF-8" standalone="yes"?>
<Relationships xmlns="http://schemas.openxmlformats.org/package/2006/relationships"><Relationship Id="rId8" Type="http://schemas.openxmlformats.org/officeDocument/2006/relationships/image" Target="../media/image48.png"/><Relationship Id="rId13" Type="http://schemas.openxmlformats.org/officeDocument/2006/relationships/image" Target="../media/image123.png"/><Relationship Id="rId3" Type="http://schemas.openxmlformats.org/officeDocument/2006/relationships/image" Target="../media/image29.png"/><Relationship Id="rId7" Type="http://schemas.openxmlformats.org/officeDocument/2006/relationships/image" Target="../media/image31.svg"/><Relationship Id="rId12" Type="http://schemas.openxmlformats.org/officeDocument/2006/relationships/image" Target="../media/image122.png"/><Relationship Id="rId2" Type="http://schemas.openxmlformats.org/officeDocument/2006/relationships/notesSlide" Target="../notesSlides/notesSlide56.xml"/><Relationship Id="rId1" Type="http://schemas.openxmlformats.org/officeDocument/2006/relationships/slideLayout" Target="../slideLayouts/slideLayout17.xml"/><Relationship Id="rId6" Type="http://schemas.openxmlformats.org/officeDocument/2006/relationships/image" Target="../media/image30.png"/><Relationship Id="rId11" Type="http://schemas.openxmlformats.org/officeDocument/2006/relationships/image" Target="../media/image121.png"/><Relationship Id="rId5" Type="http://schemas.openxmlformats.org/officeDocument/2006/relationships/image" Target="../media/image47.jpeg"/><Relationship Id="rId10" Type="http://schemas.openxmlformats.org/officeDocument/2006/relationships/image" Target="../media/image79.png"/><Relationship Id="rId4" Type="http://schemas.openxmlformats.org/officeDocument/2006/relationships/image" Target="../media/image46.png"/><Relationship Id="rId9" Type="http://schemas.openxmlformats.org/officeDocument/2006/relationships/image" Target="../media/image78.png"/></Relationships>
</file>

<file path=ppt/slides/_rels/slide87.xml.rels><?xml version="1.0" encoding="UTF-8" standalone="yes"?>
<Relationships xmlns="http://schemas.openxmlformats.org/package/2006/relationships"><Relationship Id="rId3" Type="http://schemas.openxmlformats.org/officeDocument/2006/relationships/image" Target="../media/image125.png"/><Relationship Id="rId2" Type="http://schemas.openxmlformats.org/officeDocument/2006/relationships/image" Target="../media/image124.png"/><Relationship Id="rId1" Type="http://schemas.openxmlformats.org/officeDocument/2006/relationships/slideLayout" Target="../slideLayouts/slideLayout17.xml"/></Relationships>
</file>

<file path=ppt/slides/_rels/slide88.xml.rels><?xml version="1.0" encoding="UTF-8" standalone="yes"?>
<Relationships xmlns="http://schemas.openxmlformats.org/package/2006/relationships"><Relationship Id="rId2" Type="http://schemas.openxmlformats.org/officeDocument/2006/relationships/image" Target="../media/image126.png"/><Relationship Id="rId1" Type="http://schemas.openxmlformats.org/officeDocument/2006/relationships/slideLayout" Target="../slideLayouts/slideLayout17.xml"/></Relationships>
</file>

<file path=ppt/slides/_rels/slide89.xml.rels><?xml version="1.0" encoding="UTF-8" standalone="yes"?>
<Relationships xmlns="http://schemas.openxmlformats.org/package/2006/relationships"><Relationship Id="rId2" Type="http://schemas.openxmlformats.org/officeDocument/2006/relationships/image" Target="../media/image127.png"/><Relationship Id="rId1" Type="http://schemas.openxmlformats.org/officeDocument/2006/relationships/slideLayout" Target="../slideLayouts/slideLayout17.xml"/></Relationships>
</file>

<file path=ppt/slides/_rels/slide9.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17.xml"/></Relationships>
</file>

<file path=ppt/slides/_rels/slide90.xml.rels><?xml version="1.0" encoding="UTF-8" standalone="yes"?>
<Relationships xmlns="http://schemas.openxmlformats.org/package/2006/relationships"><Relationship Id="rId8" Type="http://schemas.openxmlformats.org/officeDocument/2006/relationships/hyperlink" Target="https://blogs.sap.com/2022/09/01/saps-event-driven-ecosystem-revisited/" TargetMode="External"/><Relationship Id="rId13" Type="http://schemas.openxmlformats.org/officeDocument/2006/relationships/hyperlink" Target="https://discovery-center.cloud.sap/serviceCatalog/advanced-event-mesh?region=europe(frankfurt)&amp;service_plan=default&amp;commercialModel=cpea" TargetMode="External"/><Relationship Id="rId18" Type="http://schemas.openxmlformats.org/officeDocument/2006/relationships/image" Target="../media/image134.png"/><Relationship Id="rId3" Type="http://schemas.openxmlformats.org/officeDocument/2006/relationships/hyperlink" Target="https://help.pubsub.em.services.cloud.sap/Cloud/cloud-lp.htm" TargetMode="External"/><Relationship Id="rId21" Type="http://schemas.openxmlformats.org/officeDocument/2006/relationships/hyperlink" Target="https://github.com/SAP-samples/teched2023-IN265" TargetMode="External"/><Relationship Id="rId7" Type="http://schemas.openxmlformats.org/officeDocument/2006/relationships/image" Target="../media/image128.png"/><Relationship Id="rId12" Type="http://schemas.openxmlformats.org/officeDocument/2006/relationships/image" Target="../media/image131.png"/><Relationship Id="rId17" Type="http://schemas.openxmlformats.org/officeDocument/2006/relationships/image" Target="../media/image133.png"/><Relationship Id="rId2" Type="http://schemas.openxmlformats.org/officeDocument/2006/relationships/notesSlide" Target="../notesSlides/notesSlide57.xml"/><Relationship Id="rId16" Type="http://schemas.openxmlformats.org/officeDocument/2006/relationships/hyperlink" Target="https://roadmaps.sap.com/board?PRODUCT=73554900100800004463" TargetMode="External"/><Relationship Id="rId20" Type="http://schemas.openxmlformats.org/officeDocument/2006/relationships/image" Target="../media/image135.png"/><Relationship Id="rId1" Type="http://schemas.openxmlformats.org/officeDocument/2006/relationships/slideLayout" Target="../slideLayouts/slideLayout16.xml"/><Relationship Id="rId6" Type="http://schemas.openxmlformats.org/officeDocument/2006/relationships/hyperlink" Target="https://go3.events.sap.com/sapteched/virtual/2023/reg/flow/sap/sapteched23/catalog/page/catalog/session/1693019545391001fDIN" TargetMode="External"/><Relationship Id="rId11" Type="http://schemas.openxmlformats.org/officeDocument/2006/relationships/image" Target="../media/image130.png"/><Relationship Id="rId5" Type="http://schemas.openxmlformats.org/officeDocument/2006/relationships/hyperlink" Target="https://www.youtube.com/watch?v=aiDHcoQAqV0" TargetMode="External"/><Relationship Id="rId15" Type="http://schemas.openxmlformats.org/officeDocument/2006/relationships/image" Target="../media/image132.png"/><Relationship Id="rId10" Type="http://schemas.openxmlformats.org/officeDocument/2006/relationships/hyperlink" Target="https://blogs.sap.com/2022/10/28/turn-your-erp-into-a-team-player-introducing-sap-integration-suite-advanced-event-mesh/" TargetMode="External"/><Relationship Id="rId19" Type="http://schemas.openxmlformats.org/officeDocument/2006/relationships/hyperlink" Target="https://developers.sap.com/tutorials/devtoberfest2023-week2-integration-sap-s4hana-and-advanced-event.html" TargetMode="External"/><Relationship Id="rId4" Type="http://schemas.openxmlformats.org/officeDocument/2006/relationships/hyperlink" Target="https://blogs.sap.com/2023/11/09/sap-s-4hana-integration-with-sap-integration-suite-advanced-event-mesh/" TargetMode="External"/><Relationship Id="rId9" Type="http://schemas.openxmlformats.org/officeDocument/2006/relationships/image" Target="../media/image129.png"/><Relationship Id="rId14" Type="http://schemas.openxmlformats.org/officeDocument/2006/relationships/hyperlink" Target="https://roadmaps.sap.com/board?PRODUCT=73554900100800004463&amp;range=CURRENT-LAST#Q1%202024" TargetMode="External"/><Relationship Id="rId22" Type="http://schemas.openxmlformats.org/officeDocument/2006/relationships/image" Target="../media/image136.png"/></Relationships>
</file>

<file path=ppt/slides/_rels/slide91.xml.rels><?xml version="1.0" encoding="UTF-8" standalone="yes"?>
<Relationships xmlns="http://schemas.openxmlformats.org/package/2006/relationships"><Relationship Id="rId2" Type="http://schemas.openxmlformats.org/officeDocument/2006/relationships/image" Target="../media/image115.jpeg"/><Relationship Id="rId1" Type="http://schemas.openxmlformats.org/officeDocument/2006/relationships/slideLayout" Target="../slideLayouts/slideLayout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14">
            <a:extLst>
              <a:ext uri="{FF2B5EF4-FFF2-40B4-BE49-F238E27FC236}">
                <a16:creationId xmlns:a16="http://schemas.microsoft.com/office/drawing/2014/main" id="{C4E2D140-8564-0D43-F716-7813857722C2}"/>
              </a:ext>
              <a:ext uri="{C183D7F6-B498-43B3-948B-1728B52AA6E4}">
                <adec:decorative xmlns:adec="http://schemas.microsoft.com/office/drawing/2017/decorative" val="1"/>
              </a:ext>
            </a:extLst>
          </p:cNvPr>
          <p:cNvPicPr>
            <a:picLocks noGrp="1" noChangeAspect="1"/>
          </p:cNvPicPr>
          <p:nvPr>
            <p:ph type="pic" sz="quarter" idx="15"/>
          </p:nvPr>
        </p:nvPicPr>
        <p:blipFill rotWithShape="1">
          <a:blip r:embed="rId5" cstate="screen">
            <a:extLst>
              <a:ext uri="{28A0092B-C50C-407E-A947-70E740481C1C}">
                <a14:useLocalDpi xmlns:a14="http://schemas.microsoft.com/office/drawing/2010/main"/>
              </a:ext>
            </a:extLst>
          </a:blip>
          <a:srcRect t="195" b="195"/>
          <a:stretch/>
        </p:blipFill>
        <p:spPr bwMode="black">
          <a:prstGeom prst="rect">
            <a:avLst/>
          </a:prstGeom>
        </p:spPr>
      </p:pic>
      <p:sp>
        <p:nvSpPr>
          <p:cNvPr id="14" name="Title 13">
            <a:extLst>
              <a:ext uri="{FF2B5EF4-FFF2-40B4-BE49-F238E27FC236}">
                <a16:creationId xmlns:a16="http://schemas.microsoft.com/office/drawing/2014/main" id="{134752C8-1E80-B141-5BC9-264FD3E5257B}"/>
              </a:ext>
            </a:extLst>
          </p:cNvPr>
          <p:cNvSpPr>
            <a:spLocks noGrp="1"/>
          </p:cNvSpPr>
          <p:nvPr>
            <p:ph type="title"/>
          </p:nvPr>
        </p:nvSpPr>
        <p:spPr/>
        <p:txBody>
          <a:bodyPr/>
          <a:lstStyle/>
          <a:p>
            <a:r>
              <a:rPr lang="en-US"/>
              <a:t>AEM- Raid Deployment Workshop</a:t>
            </a:r>
          </a:p>
        </p:txBody>
      </p:sp>
      <p:sp>
        <p:nvSpPr>
          <p:cNvPr id="3" name="Date - Dynamic" descr="{&quot;templafy&quot;:{&quot;id&quot;:&quot;da33ba28-87ff-4f5f-b399-aa059e6b787a&quot;}}">
            <a:extLst>
              <a:ext uri="{FF2B5EF4-FFF2-40B4-BE49-F238E27FC236}">
                <a16:creationId xmlns:a16="http://schemas.microsoft.com/office/drawing/2014/main" id="{9E1171E2-38D8-8239-71E9-69DC21FF73B2}"/>
              </a:ext>
            </a:extLst>
          </p:cNvPr>
          <p:cNvSpPr txBox="1">
            <a:spLocks/>
          </p:cNvSpPr>
          <p:nvPr/>
        </p:nvSpPr>
        <p:spPr>
          <a:xfrm>
            <a:off x="288000" y="4478127"/>
            <a:ext cx="5402236" cy="223148"/>
          </a:xfrm>
          <a:prstGeom prst="rect">
            <a:avLst/>
          </a:prstGeom>
          <a:noFill/>
        </p:spPr>
        <p:txBody>
          <a:bodyPr wrap="square" lIns="0" tIns="0" rIns="0" bIns="0" rtlCol="0" anchor="b" anchorCtr="0">
            <a:noAutofit/>
          </a:bodyPr>
          <a:lstStyle/>
          <a:p>
            <a:pPr algn="l"/>
            <a:r>
              <a:rPr lang="en-US" sz="1400" dirty="0">
                <a:latin typeface="72 Brand" panose="020B0504030603020204" pitchFamily="34" charset="0"/>
                <a:cs typeface="72" panose="020B0503030000000003" pitchFamily="34" charset="0"/>
              </a:rPr>
              <a:t>11.12.2024 – 12.12.2024</a:t>
            </a:r>
          </a:p>
        </p:txBody>
      </p:sp>
      <p:pic>
        <p:nvPicPr>
          <p:cNvPr id="4" name="Picture 6">
            <a:extLst>
              <a:ext uri="{FF2B5EF4-FFF2-40B4-BE49-F238E27FC236}">
                <a16:creationId xmlns:a16="http://schemas.microsoft.com/office/drawing/2014/main" id="{20E39C5A-7E8C-915B-1B9F-C528520F0C6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5708905"/>
            <a:ext cx="2042835" cy="1149095"/>
          </a:xfrm>
          <a:prstGeom prst="rect">
            <a:avLst/>
          </a:prstGeom>
          <a:noFill/>
          <a:extLst>
            <a:ext uri="{909E8E84-426E-40DD-AFC4-6F175D3DCCD1}">
              <a14:hiddenFill xmlns:a14="http://schemas.microsoft.com/office/drawing/2010/main">
                <a:solidFill>
                  <a:srgbClr val="FFFFFF"/>
                </a:solidFill>
              </a14:hiddenFill>
            </a:ext>
          </a:extLst>
        </p:spPr>
      </p:pic>
    </p:spTree>
    <p:custDataLst>
      <p:custData r:id="rId1"/>
      <p:custData r:id="rId2"/>
    </p:custDataLst>
    <p:extLst>
      <p:ext uri="{BB962C8B-B14F-4D97-AF65-F5344CB8AC3E}">
        <p14:creationId xmlns:p14="http://schemas.microsoft.com/office/powerpoint/2010/main" val="331687416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18F95E8-9D79-30C9-01A2-CDF506BF39EF}"/>
              </a:ext>
            </a:extLst>
          </p:cNvPr>
          <p:cNvSpPr>
            <a:spLocks noGrp="1"/>
          </p:cNvSpPr>
          <p:nvPr>
            <p:ph type="body" sz="quarter" idx="10"/>
          </p:nvPr>
        </p:nvSpPr>
        <p:spPr>
          <a:xfrm>
            <a:off x="512699" y="1252538"/>
            <a:ext cx="4342105" cy="4778662"/>
          </a:xfrm>
        </p:spPr>
        <p:txBody>
          <a:bodyPr>
            <a:normAutofit fontScale="92500" lnSpcReduction="20000"/>
          </a:bodyPr>
          <a:lstStyle/>
          <a:p>
            <a:r>
              <a:rPr lang="en-GB" dirty="0">
                <a:solidFill>
                  <a:srgbClr val="3C3C3C"/>
                </a:solidFill>
                <a:latin typeface="+mn-lt"/>
              </a:rPr>
              <a:t>SAP S/4HANA business events enable consumption of business events from SAP S/4HANA.</a:t>
            </a:r>
          </a:p>
          <a:p>
            <a:r>
              <a:rPr lang="en-GB" dirty="0">
                <a:solidFill>
                  <a:srgbClr val="3C3C3C"/>
                </a:solidFill>
                <a:latin typeface="+mn-lt"/>
              </a:rPr>
              <a:t>Business Events are a standardized event mechanism for business objects across SAP S/4HANA applications.</a:t>
            </a:r>
          </a:p>
          <a:p>
            <a:r>
              <a:rPr lang="en-GB" dirty="0">
                <a:solidFill>
                  <a:srgbClr val="3C3C3C"/>
                </a:solidFill>
                <a:latin typeface="+mn-lt"/>
              </a:rPr>
              <a:t>Available standard SAP S/4HANA Business Events can be looked up on the SAP Business Accelerator Hub.</a:t>
            </a:r>
          </a:p>
          <a:p>
            <a:r>
              <a:rPr lang="en-GB" dirty="0">
                <a:solidFill>
                  <a:srgbClr val="3C3C3C"/>
                </a:solidFill>
                <a:latin typeface="+mn-lt"/>
              </a:rPr>
              <a:t>Currently there are about 600+ standard business events for SAP S/4HANA. </a:t>
            </a:r>
          </a:p>
          <a:p>
            <a:r>
              <a:rPr lang="en-GB" dirty="0">
                <a:solidFill>
                  <a:srgbClr val="3C3C3C"/>
                </a:solidFill>
                <a:latin typeface="+mn-lt"/>
              </a:rPr>
              <a:t>Most of these events can be adjusted and extended.</a:t>
            </a:r>
          </a:p>
          <a:p>
            <a:pPr>
              <a:buNone/>
            </a:pPr>
            <a:r>
              <a:rPr lang="en-GB" dirty="0">
                <a:solidFill>
                  <a:srgbClr val="3C3C3C"/>
                </a:solidFill>
                <a:latin typeface="+mn-lt"/>
              </a:rPr>
              <a:t>Custom events can be created if needed. </a:t>
            </a:r>
            <a:endParaRPr lang="en-DE" dirty="0">
              <a:solidFill>
                <a:srgbClr val="3C3C3C"/>
              </a:solidFill>
              <a:latin typeface="+mn-lt"/>
            </a:endParaRPr>
          </a:p>
        </p:txBody>
      </p:sp>
      <p:sp>
        <p:nvSpPr>
          <p:cNvPr id="4" name="Title 3">
            <a:extLst>
              <a:ext uri="{FF2B5EF4-FFF2-40B4-BE49-F238E27FC236}">
                <a16:creationId xmlns:a16="http://schemas.microsoft.com/office/drawing/2014/main" id="{7560FD1E-C0C6-BE40-0A5E-9739FEE48199}"/>
              </a:ext>
            </a:extLst>
          </p:cNvPr>
          <p:cNvSpPr>
            <a:spLocks noGrp="1"/>
          </p:cNvSpPr>
          <p:nvPr>
            <p:ph type="title"/>
          </p:nvPr>
        </p:nvSpPr>
        <p:spPr>
          <a:xfrm>
            <a:off x="504001" y="504000"/>
            <a:ext cx="11186476" cy="677108"/>
          </a:xfrm>
        </p:spPr>
        <p:txBody>
          <a:bodyPr/>
          <a:lstStyle/>
          <a:p>
            <a:r>
              <a:rPr lang="en-DE" dirty="0"/>
              <a:t>SAP S/4HANA Business Events</a:t>
            </a:r>
            <a:br>
              <a:rPr lang="de-DE" dirty="0"/>
            </a:br>
            <a:r>
              <a:rPr lang="de-DE" sz="2000" dirty="0" err="1">
                <a:solidFill>
                  <a:srgbClr val="FFC000"/>
                </a:solidFill>
              </a:rPr>
              <a:t>Where</a:t>
            </a:r>
            <a:r>
              <a:rPr lang="de-DE" sz="2000" dirty="0">
                <a:solidFill>
                  <a:srgbClr val="FFC000"/>
                </a:solidFill>
              </a:rPr>
              <a:t> </a:t>
            </a:r>
            <a:r>
              <a:rPr lang="de-DE" sz="2000" dirty="0" err="1">
                <a:solidFill>
                  <a:srgbClr val="FFC000"/>
                </a:solidFill>
              </a:rPr>
              <a:t>to</a:t>
            </a:r>
            <a:r>
              <a:rPr lang="de-DE" sz="2000" dirty="0">
                <a:solidFill>
                  <a:srgbClr val="FFC000"/>
                </a:solidFill>
              </a:rPr>
              <a:t> find?</a:t>
            </a:r>
            <a:endParaRPr lang="en-DE" sz="2000" dirty="0">
              <a:solidFill>
                <a:srgbClr val="FFC000"/>
              </a:solidFill>
            </a:endParaRPr>
          </a:p>
        </p:txBody>
      </p:sp>
      <p:pic>
        <p:nvPicPr>
          <p:cNvPr id="13" name="Picture 12">
            <a:extLst>
              <a:ext uri="{FF2B5EF4-FFF2-40B4-BE49-F238E27FC236}">
                <a16:creationId xmlns:a16="http://schemas.microsoft.com/office/drawing/2014/main" id="{1E62471C-4476-E029-7926-555A6A223701}"/>
              </a:ext>
            </a:extLst>
          </p:cNvPr>
          <p:cNvPicPr>
            <a:picLocks noChangeAspect="1"/>
          </p:cNvPicPr>
          <p:nvPr/>
        </p:nvPicPr>
        <p:blipFill>
          <a:blip r:embed="rId3"/>
          <a:stretch>
            <a:fillRect/>
          </a:stretch>
        </p:blipFill>
        <p:spPr>
          <a:xfrm>
            <a:off x="5222448" y="1252538"/>
            <a:ext cx="6622565" cy="4643237"/>
          </a:xfrm>
          <a:prstGeom prst="rect">
            <a:avLst/>
          </a:prstGeom>
        </p:spPr>
      </p:pic>
    </p:spTree>
    <p:extLst>
      <p:ext uri="{BB962C8B-B14F-4D97-AF65-F5344CB8AC3E}">
        <p14:creationId xmlns:p14="http://schemas.microsoft.com/office/powerpoint/2010/main" val="34946462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C178119B-1226-CF7D-CE7C-5E49EEF11A8B}"/>
              </a:ext>
            </a:extLst>
          </p:cNvPr>
          <p:cNvSpPr>
            <a:spLocks noGrp="1"/>
          </p:cNvSpPr>
          <p:nvPr>
            <p:ph type="title"/>
          </p:nvPr>
        </p:nvSpPr>
        <p:spPr>
          <a:xfrm>
            <a:off x="504001" y="504000"/>
            <a:ext cx="11186476" cy="677108"/>
          </a:xfrm>
        </p:spPr>
        <p:txBody>
          <a:bodyPr/>
          <a:lstStyle/>
          <a:p>
            <a:r>
              <a:rPr lang="en-US" dirty="0"/>
              <a:t>S/4HANA Feature Readiness and Service Packs?</a:t>
            </a:r>
            <a:br>
              <a:rPr lang="en-US" dirty="0"/>
            </a:br>
            <a:r>
              <a:rPr lang="en-US" sz="2000" dirty="0">
                <a:solidFill>
                  <a:srgbClr val="FFC000"/>
                </a:solidFill>
              </a:rPr>
              <a:t>Am I ready?</a:t>
            </a:r>
          </a:p>
        </p:txBody>
      </p:sp>
      <p:graphicFrame>
        <p:nvGraphicFramePr>
          <p:cNvPr id="6" name="Tabelle 5">
            <a:extLst>
              <a:ext uri="{FF2B5EF4-FFF2-40B4-BE49-F238E27FC236}">
                <a16:creationId xmlns:a16="http://schemas.microsoft.com/office/drawing/2014/main" id="{4C60EB06-2775-E442-293D-6310F6147AEE}"/>
              </a:ext>
            </a:extLst>
          </p:cNvPr>
          <p:cNvGraphicFramePr>
            <a:graphicFrameLocks noGrp="1"/>
          </p:cNvGraphicFramePr>
          <p:nvPr>
            <p:extLst>
              <p:ext uri="{D42A27DB-BD31-4B8C-83A1-F6EECF244321}">
                <p14:modId xmlns:p14="http://schemas.microsoft.com/office/powerpoint/2010/main" val="1413402881"/>
              </p:ext>
            </p:extLst>
          </p:nvPr>
        </p:nvGraphicFramePr>
        <p:xfrm>
          <a:off x="503365" y="1537855"/>
          <a:ext cx="11187112" cy="4508656"/>
        </p:xfrm>
        <a:graphic>
          <a:graphicData uri="http://schemas.openxmlformats.org/drawingml/2006/table">
            <a:tbl>
              <a:tblPr>
                <a:tableStyleId>{284E427A-3D55-4303-BF80-6455036E1DE7}</a:tableStyleId>
              </a:tblPr>
              <a:tblGrid>
                <a:gridCol w="2307291">
                  <a:extLst>
                    <a:ext uri="{9D8B030D-6E8A-4147-A177-3AD203B41FA5}">
                      <a16:colId xmlns:a16="http://schemas.microsoft.com/office/drawing/2014/main" val="1354733313"/>
                    </a:ext>
                  </a:extLst>
                </a:gridCol>
                <a:gridCol w="3444688">
                  <a:extLst>
                    <a:ext uri="{9D8B030D-6E8A-4147-A177-3AD203B41FA5}">
                      <a16:colId xmlns:a16="http://schemas.microsoft.com/office/drawing/2014/main" val="3589863115"/>
                    </a:ext>
                  </a:extLst>
                </a:gridCol>
                <a:gridCol w="1627892">
                  <a:extLst>
                    <a:ext uri="{9D8B030D-6E8A-4147-A177-3AD203B41FA5}">
                      <a16:colId xmlns:a16="http://schemas.microsoft.com/office/drawing/2014/main" val="1537927529"/>
                    </a:ext>
                  </a:extLst>
                </a:gridCol>
                <a:gridCol w="2299855">
                  <a:extLst>
                    <a:ext uri="{9D8B030D-6E8A-4147-A177-3AD203B41FA5}">
                      <a16:colId xmlns:a16="http://schemas.microsoft.com/office/drawing/2014/main" val="4136474850"/>
                    </a:ext>
                  </a:extLst>
                </a:gridCol>
                <a:gridCol w="1507386">
                  <a:extLst>
                    <a:ext uri="{9D8B030D-6E8A-4147-A177-3AD203B41FA5}">
                      <a16:colId xmlns:a16="http://schemas.microsoft.com/office/drawing/2014/main" val="3468747179"/>
                    </a:ext>
                  </a:extLst>
                </a:gridCol>
              </a:tblGrid>
              <a:tr h="210582">
                <a:tc>
                  <a:txBody>
                    <a:bodyPr/>
                    <a:lstStyle/>
                    <a:p>
                      <a:pPr algn="l" fontAlgn="b"/>
                      <a:r>
                        <a:rPr lang="de-DE" sz="1200" b="1" u="none" strike="noStrike">
                          <a:effectLst/>
                        </a:rPr>
                        <a:t>Feature</a:t>
                      </a:r>
                      <a:endParaRPr lang="de-DE" sz="1200" b="1" i="0" u="none" strike="noStrike" dirty="0">
                        <a:solidFill>
                          <a:srgbClr val="000000"/>
                        </a:solidFill>
                        <a:effectLst/>
                        <a:latin typeface="Arial" panose="020B0604020202020204" pitchFamily="34" charset="0"/>
                      </a:endParaRPr>
                    </a:p>
                  </a:txBody>
                  <a:tcPr marL="8130" marR="8130" marT="8130" marB="0" anchor="b"/>
                </a:tc>
                <a:tc>
                  <a:txBody>
                    <a:bodyPr/>
                    <a:lstStyle/>
                    <a:p>
                      <a:pPr algn="l" fontAlgn="b"/>
                      <a:r>
                        <a:rPr lang="de-DE" sz="1200" b="1" u="none" strike="noStrike">
                          <a:effectLst/>
                        </a:rPr>
                        <a:t>Feature Description</a:t>
                      </a:r>
                      <a:endParaRPr lang="de-DE" sz="1200" b="1" i="0" u="none" strike="noStrike" dirty="0">
                        <a:solidFill>
                          <a:srgbClr val="000000"/>
                        </a:solidFill>
                        <a:effectLst/>
                        <a:latin typeface="Arial" panose="020B0604020202020204" pitchFamily="34" charset="0"/>
                      </a:endParaRPr>
                    </a:p>
                  </a:txBody>
                  <a:tcPr marL="8130" marR="8130" marT="8130" marB="0" anchor="b"/>
                </a:tc>
                <a:tc>
                  <a:txBody>
                    <a:bodyPr/>
                    <a:lstStyle/>
                    <a:p>
                      <a:pPr algn="l" fontAlgn="b"/>
                      <a:r>
                        <a:rPr lang="de-DE" sz="1200" b="1" u="none" strike="noStrike">
                          <a:effectLst/>
                        </a:rPr>
                        <a:t>OnPrem Release</a:t>
                      </a:r>
                      <a:endParaRPr lang="de-DE" sz="1200" b="1" i="0" u="none" strike="noStrike" dirty="0">
                        <a:solidFill>
                          <a:srgbClr val="000000"/>
                        </a:solidFill>
                        <a:effectLst/>
                        <a:latin typeface="Arial" panose="020B0604020202020204" pitchFamily="34" charset="0"/>
                      </a:endParaRPr>
                    </a:p>
                  </a:txBody>
                  <a:tcPr marL="8130" marR="8130" marT="8130" marB="0" anchor="b"/>
                </a:tc>
                <a:tc>
                  <a:txBody>
                    <a:bodyPr/>
                    <a:lstStyle/>
                    <a:p>
                      <a:pPr algn="l" fontAlgn="b"/>
                      <a:r>
                        <a:rPr lang="de-DE" sz="1200" b="1" u="none" strike="noStrike">
                          <a:effectLst/>
                        </a:rPr>
                        <a:t>Cloud Release</a:t>
                      </a:r>
                      <a:endParaRPr lang="de-DE" sz="1200" b="1" i="0" u="none" strike="noStrike" dirty="0">
                        <a:solidFill>
                          <a:srgbClr val="000000"/>
                        </a:solidFill>
                        <a:effectLst/>
                        <a:latin typeface="Arial" panose="020B0604020202020204" pitchFamily="34" charset="0"/>
                      </a:endParaRPr>
                    </a:p>
                  </a:txBody>
                  <a:tcPr marL="8130" marR="8130" marT="8130" marB="0" anchor="b"/>
                </a:tc>
                <a:tc>
                  <a:txBody>
                    <a:bodyPr/>
                    <a:lstStyle/>
                    <a:p>
                      <a:pPr algn="l" fontAlgn="b"/>
                      <a:r>
                        <a:rPr lang="de-DE" sz="1200" b="1" u="none" strike="noStrike">
                          <a:effectLst/>
                        </a:rPr>
                        <a:t>Remarks</a:t>
                      </a:r>
                      <a:endParaRPr lang="de-DE" sz="1200" b="1" i="0" u="none" strike="noStrike" dirty="0">
                        <a:solidFill>
                          <a:srgbClr val="000000"/>
                        </a:solidFill>
                        <a:effectLst/>
                        <a:latin typeface="Arial" panose="020B0604020202020204" pitchFamily="34" charset="0"/>
                      </a:endParaRPr>
                    </a:p>
                  </a:txBody>
                  <a:tcPr marL="8130" marR="8130" marT="8130" marB="0" anchor="b"/>
                </a:tc>
                <a:extLst>
                  <a:ext uri="{0D108BD9-81ED-4DB2-BD59-A6C34878D82A}">
                    <a16:rowId xmlns:a16="http://schemas.microsoft.com/office/drawing/2014/main" val="1439769294"/>
                  </a:ext>
                </a:extLst>
              </a:tr>
              <a:tr h="210582">
                <a:tc>
                  <a:txBody>
                    <a:bodyPr/>
                    <a:lstStyle/>
                    <a:p>
                      <a:pPr algn="l" fontAlgn="b"/>
                      <a:r>
                        <a:rPr lang="de-DE" sz="1200" u="none" strike="noStrike">
                          <a:effectLst/>
                        </a:rPr>
                        <a:t>BEH GA</a:t>
                      </a:r>
                      <a:endParaRPr lang="de-DE" sz="1200" b="0" i="0" u="none" strike="noStrike">
                        <a:solidFill>
                          <a:srgbClr val="000000"/>
                        </a:solidFill>
                        <a:effectLst/>
                        <a:latin typeface="Arial" panose="020B0604020202020204" pitchFamily="34" charset="0"/>
                      </a:endParaRPr>
                    </a:p>
                  </a:txBody>
                  <a:tcPr marL="8130" marR="8130" marT="8130" marB="0" anchor="b"/>
                </a:tc>
                <a:tc>
                  <a:txBody>
                    <a:bodyPr/>
                    <a:lstStyle/>
                    <a:p>
                      <a:pPr algn="l" fontAlgn="b"/>
                      <a:r>
                        <a:rPr lang="de-DE" sz="1200" u="none" strike="noStrike">
                          <a:effectLst/>
                        </a:rPr>
                        <a:t>CloudEvents 1.0, can be used in production</a:t>
                      </a:r>
                      <a:endParaRPr lang="de-DE" sz="1200" b="0" i="0" u="none" strike="noStrike" dirty="0">
                        <a:solidFill>
                          <a:srgbClr val="000000"/>
                        </a:solidFill>
                        <a:effectLst/>
                        <a:latin typeface="Arial" panose="020B0604020202020204" pitchFamily="34" charset="0"/>
                      </a:endParaRPr>
                    </a:p>
                  </a:txBody>
                  <a:tcPr marL="8130" marR="8130" marT="8130" marB="0" anchor="b"/>
                </a:tc>
                <a:tc>
                  <a:txBody>
                    <a:bodyPr/>
                    <a:lstStyle/>
                    <a:p>
                      <a:pPr algn="ctr" fontAlgn="b"/>
                      <a:r>
                        <a:rPr lang="de-DE" sz="1200" u="none" strike="noStrike">
                          <a:effectLst/>
                        </a:rPr>
                        <a:t>2020</a:t>
                      </a:r>
                      <a:endParaRPr lang="de-DE" sz="1200" b="0" i="0" u="none" strike="noStrike" dirty="0">
                        <a:solidFill>
                          <a:srgbClr val="000000"/>
                        </a:solidFill>
                        <a:effectLst/>
                        <a:latin typeface="Arial" panose="020B0604020202020204" pitchFamily="34" charset="0"/>
                      </a:endParaRPr>
                    </a:p>
                  </a:txBody>
                  <a:tcPr marL="8130" marR="8130" marT="8130" marB="0" anchor="b"/>
                </a:tc>
                <a:tc>
                  <a:txBody>
                    <a:bodyPr/>
                    <a:lstStyle/>
                    <a:p>
                      <a:pPr algn="ctr" fontAlgn="b"/>
                      <a:endParaRPr lang="de-DE" sz="1200" b="0" i="0" u="none" strike="noStrike" dirty="0">
                        <a:solidFill>
                          <a:srgbClr val="000000"/>
                        </a:solidFill>
                        <a:effectLst/>
                        <a:latin typeface="Arial" panose="020B0604020202020204" pitchFamily="34" charset="0"/>
                      </a:endParaRPr>
                    </a:p>
                  </a:txBody>
                  <a:tcPr marL="8130" marR="8130" marT="8130" marB="0" anchor="b"/>
                </a:tc>
                <a:tc>
                  <a:txBody>
                    <a:bodyPr/>
                    <a:lstStyle/>
                    <a:p>
                      <a:pPr algn="l" fontAlgn="b"/>
                      <a:endParaRPr lang="de-DE" sz="1200" b="0" i="0" u="none" strike="noStrike">
                        <a:solidFill>
                          <a:srgbClr val="000000"/>
                        </a:solidFill>
                        <a:effectLst/>
                        <a:latin typeface="Arial" panose="020B0604020202020204" pitchFamily="34" charset="0"/>
                      </a:endParaRPr>
                    </a:p>
                  </a:txBody>
                  <a:tcPr marL="8130" marR="8130" marT="8130" marB="0" anchor="b"/>
                </a:tc>
                <a:extLst>
                  <a:ext uri="{0D108BD9-81ED-4DB2-BD59-A6C34878D82A}">
                    <a16:rowId xmlns:a16="http://schemas.microsoft.com/office/drawing/2014/main" val="797034492"/>
                  </a:ext>
                </a:extLst>
              </a:tr>
              <a:tr h="403511">
                <a:tc>
                  <a:txBody>
                    <a:bodyPr/>
                    <a:lstStyle/>
                    <a:p>
                      <a:pPr algn="l" fontAlgn="b"/>
                      <a:r>
                        <a:rPr lang="de-DE" sz="1200" u="none" strike="noStrike">
                          <a:effectLst/>
                        </a:rPr>
                        <a:t>EEEC/Inbound with XBE</a:t>
                      </a:r>
                      <a:endParaRPr lang="de-DE" sz="1200" b="0" i="0" u="none" strike="noStrike">
                        <a:solidFill>
                          <a:srgbClr val="000000"/>
                        </a:solidFill>
                        <a:effectLst/>
                        <a:latin typeface="Arial" panose="020B0604020202020204" pitchFamily="34" charset="0"/>
                      </a:endParaRPr>
                    </a:p>
                  </a:txBody>
                  <a:tcPr marL="8130" marR="8130" marT="8130" marB="0" anchor="b"/>
                </a:tc>
                <a:tc>
                  <a:txBody>
                    <a:bodyPr/>
                    <a:lstStyle/>
                    <a:p>
                      <a:pPr algn="l" fontAlgn="b"/>
                      <a:r>
                        <a:rPr lang="de-DE" sz="1200" u="none" strike="noStrike">
                          <a:effectLst/>
                        </a:rPr>
                        <a:t>Generating event consumption classes for customers to consume inbound events</a:t>
                      </a:r>
                      <a:endParaRPr lang="de-DE" sz="1200" b="0" i="0" u="none" strike="noStrike">
                        <a:solidFill>
                          <a:srgbClr val="000000"/>
                        </a:solidFill>
                        <a:effectLst/>
                        <a:latin typeface="Arial" panose="020B0604020202020204" pitchFamily="34" charset="0"/>
                      </a:endParaRPr>
                    </a:p>
                  </a:txBody>
                  <a:tcPr marL="8130" marR="8130" marT="8130" marB="0" anchor="b"/>
                </a:tc>
                <a:tc>
                  <a:txBody>
                    <a:bodyPr/>
                    <a:lstStyle/>
                    <a:p>
                      <a:pPr algn="ctr" fontAlgn="b"/>
                      <a:r>
                        <a:rPr lang="de-DE" sz="1200" u="none" strike="noStrike">
                          <a:effectLst/>
                        </a:rPr>
                        <a:t>2022</a:t>
                      </a:r>
                      <a:endParaRPr lang="de-DE" sz="1200" b="0" i="0" u="none" strike="noStrike" dirty="0">
                        <a:solidFill>
                          <a:srgbClr val="000000"/>
                        </a:solidFill>
                        <a:effectLst/>
                        <a:latin typeface="Arial" panose="020B0604020202020204" pitchFamily="34" charset="0"/>
                      </a:endParaRPr>
                    </a:p>
                  </a:txBody>
                  <a:tcPr marL="8130" marR="8130" marT="8130" marB="0" anchor="b"/>
                </a:tc>
                <a:tc>
                  <a:txBody>
                    <a:bodyPr/>
                    <a:lstStyle/>
                    <a:p>
                      <a:pPr algn="ctr" fontAlgn="b"/>
                      <a:r>
                        <a:rPr lang="de-DE" sz="1200" u="none" strike="noStrike">
                          <a:effectLst/>
                        </a:rPr>
                        <a:t>2208</a:t>
                      </a:r>
                      <a:endParaRPr lang="de-DE" sz="1200" b="0" i="0" u="none" strike="noStrike">
                        <a:solidFill>
                          <a:srgbClr val="000000"/>
                        </a:solidFill>
                        <a:effectLst/>
                        <a:latin typeface="Arial" panose="020B0604020202020204" pitchFamily="34" charset="0"/>
                      </a:endParaRPr>
                    </a:p>
                  </a:txBody>
                  <a:tcPr marL="8130" marR="8130" marT="8130" marB="0" anchor="b"/>
                </a:tc>
                <a:tc>
                  <a:txBody>
                    <a:bodyPr/>
                    <a:lstStyle/>
                    <a:p>
                      <a:pPr algn="l" fontAlgn="b"/>
                      <a:endParaRPr lang="de-DE" sz="1200" b="0" i="0" u="none" strike="noStrike">
                        <a:solidFill>
                          <a:srgbClr val="000000"/>
                        </a:solidFill>
                        <a:effectLst/>
                        <a:latin typeface="Arial" panose="020B0604020202020204" pitchFamily="34" charset="0"/>
                      </a:endParaRPr>
                    </a:p>
                  </a:txBody>
                  <a:tcPr marL="8130" marR="8130" marT="8130" marB="0" anchor="b"/>
                </a:tc>
                <a:extLst>
                  <a:ext uri="{0D108BD9-81ED-4DB2-BD59-A6C34878D82A}">
                    <a16:rowId xmlns:a16="http://schemas.microsoft.com/office/drawing/2014/main" val="974273468"/>
                  </a:ext>
                </a:extLst>
              </a:tr>
              <a:tr h="444563">
                <a:tc>
                  <a:txBody>
                    <a:bodyPr/>
                    <a:lstStyle/>
                    <a:p>
                      <a:pPr algn="l" fontAlgn="b"/>
                      <a:r>
                        <a:rPr lang="de-DE" sz="1200" u="none" strike="noStrike">
                          <a:effectLst/>
                        </a:rPr>
                        <a:t>AMQP</a:t>
                      </a:r>
                      <a:endParaRPr lang="de-DE" sz="1200" b="0" i="0" u="none" strike="noStrike">
                        <a:solidFill>
                          <a:srgbClr val="000000"/>
                        </a:solidFill>
                        <a:effectLst/>
                        <a:latin typeface="Arial" panose="020B0604020202020204" pitchFamily="34" charset="0"/>
                      </a:endParaRPr>
                    </a:p>
                  </a:txBody>
                  <a:tcPr marL="8130" marR="8130" marT="8130" marB="0" anchor="b"/>
                </a:tc>
                <a:tc>
                  <a:txBody>
                    <a:bodyPr/>
                    <a:lstStyle/>
                    <a:p>
                      <a:pPr algn="l" fontAlgn="b"/>
                      <a:r>
                        <a:rPr lang="de-DE" sz="1200" u="none" strike="noStrike">
                          <a:effectLst/>
                        </a:rPr>
                        <a:t>Support of AMQP protocol (mostly needed for inbound events)</a:t>
                      </a:r>
                      <a:endParaRPr lang="de-DE" sz="1200" b="0" i="0" u="none" strike="noStrike">
                        <a:solidFill>
                          <a:srgbClr val="000000"/>
                        </a:solidFill>
                        <a:effectLst/>
                        <a:latin typeface="Arial" panose="020B0604020202020204" pitchFamily="34" charset="0"/>
                      </a:endParaRPr>
                    </a:p>
                  </a:txBody>
                  <a:tcPr marL="8130" marR="8130" marT="8130" marB="0" anchor="b"/>
                </a:tc>
                <a:tc>
                  <a:txBody>
                    <a:bodyPr/>
                    <a:lstStyle/>
                    <a:p>
                      <a:pPr algn="ctr" fontAlgn="b"/>
                      <a:r>
                        <a:rPr lang="de-DE" sz="1200" u="none" strike="noStrike">
                          <a:effectLst/>
                        </a:rPr>
                        <a:t>2021, 2020 SP05</a:t>
                      </a:r>
                      <a:endParaRPr lang="de-DE" sz="1200" b="0" i="0" u="none" strike="noStrike" dirty="0">
                        <a:solidFill>
                          <a:srgbClr val="000000"/>
                        </a:solidFill>
                        <a:effectLst/>
                        <a:latin typeface="Arial" panose="020B0604020202020204" pitchFamily="34" charset="0"/>
                      </a:endParaRPr>
                    </a:p>
                  </a:txBody>
                  <a:tcPr marL="8130" marR="8130" marT="8130" marB="0" anchor="b"/>
                </a:tc>
                <a:tc>
                  <a:txBody>
                    <a:bodyPr/>
                    <a:lstStyle/>
                    <a:p>
                      <a:pPr algn="ctr" fontAlgn="b"/>
                      <a:r>
                        <a:rPr lang="de-DE" sz="1200" u="none" strike="noStrike">
                          <a:effectLst/>
                        </a:rPr>
                        <a:t>2108</a:t>
                      </a:r>
                      <a:endParaRPr lang="de-DE" sz="1200" b="0" i="0" u="none" strike="noStrike">
                        <a:solidFill>
                          <a:srgbClr val="000000"/>
                        </a:solidFill>
                        <a:effectLst/>
                        <a:latin typeface="Arial" panose="020B0604020202020204" pitchFamily="34" charset="0"/>
                      </a:endParaRPr>
                    </a:p>
                  </a:txBody>
                  <a:tcPr marL="8130" marR="8130" marT="8130" marB="0" anchor="b"/>
                </a:tc>
                <a:tc>
                  <a:txBody>
                    <a:bodyPr/>
                    <a:lstStyle/>
                    <a:p>
                      <a:pPr algn="l" fontAlgn="b"/>
                      <a:r>
                        <a:rPr lang="de-DE" sz="1000" u="sng" strike="noStrike">
                          <a:effectLst/>
                          <a:hlinkClick r:id="rId2" tooltip="https://me.sap.com/notes/3145443"/>
                        </a:rPr>
                        <a:t>SAP Note 3145443</a:t>
                      </a:r>
                      <a:endParaRPr lang="de-DE" sz="1000" b="0" i="0" u="sng" strike="noStrike">
                        <a:solidFill>
                          <a:srgbClr val="467886"/>
                        </a:solidFill>
                        <a:effectLst/>
                        <a:latin typeface="Aptos Narrow" panose="020B0004020202020204" pitchFamily="34" charset="0"/>
                      </a:endParaRPr>
                    </a:p>
                  </a:txBody>
                  <a:tcPr marL="8130" marR="8130" marT="8130" marB="0" anchor="b"/>
                </a:tc>
                <a:extLst>
                  <a:ext uri="{0D108BD9-81ED-4DB2-BD59-A6C34878D82A}">
                    <a16:rowId xmlns:a16="http://schemas.microsoft.com/office/drawing/2014/main" val="3937843087"/>
                  </a:ext>
                </a:extLst>
              </a:tr>
              <a:tr h="403511">
                <a:tc>
                  <a:txBody>
                    <a:bodyPr/>
                    <a:lstStyle/>
                    <a:p>
                      <a:pPr algn="l" fontAlgn="b"/>
                      <a:r>
                        <a:rPr lang="de-DE" sz="1200" u="none" strike="noStrike">
                          <a:effectLst/>
                        </a:rPr>
                        <a:t>RAP</a:t>
                      </a:r>
                      <a:endParaRPr lang="de-DE" sz="1200" b="0" i="0" u="none" strike="noStrike">
                        <a:solidFill>
                          <a:srgbClr val="000000"/>
                        </a:solidFill>
                        <a:effectLst/>
                        <a:latin typeface="Arial" panose="020B0604020202020204" pitchFamily="34" charset="0"/>
                      </a:endParaRPr>
                    </a:p>
                  </a:txBody>
                  <a:tcPr marL="8130" marR="8130" marT="8130" marB="0" anchor="b"/>
                </a:tc>
                <a:tc>
                  <a:txBody>
                    <a:bodyPr/>
                    <a:lstStyle/>
                    <a:p>
                      <a:pPr algn="l" fontAlgn="b"/>
                      <a:r>
                        <a:rPr lang="de-DE" sz="1200" u="none" strike="noStrike">
                          <a:effectLst/>
                        </a:rPr>
                        <a:t>initial RAP scope, half of events migrated, customers can create own events</a:t>
                      </a:r>
                      <a:endParaRPr lang="de-DE" sz="1200" b="0" i="0" u="none" strike="noStrike">
                        <a:solidFill>
                          <a:srgbClr val="000000"/>
                        </a:solidFill>
                        <a:effectLst/>
                        <a:latin typeface="Arial" panose="020B0604020202020204" pitchFamily="34" charset="0"/>
                      </a:endParaRPr>
                    </a:p>
                  </a:txBody>
                  <a:tcPr marL="8130" marR="8130" marT="8130" marB="0" anchor="b"/>
                </a:tc>
                <a:tc>
                  <a:txBody>
                    <a:bodyPr/>
                    <a:lstStyle/>
                    <a:p>
                      <a:pPr algn="ctr" fontAlgn="b"/>
                      <a:r>
                        <a:rPr lang="de-DE" sz="1200" u="none" strike="noStrike">
                          <a:effectLst/>
                        </a:rPr>
                        <a:t>2022</a:t>
                      </a:r>
                      <a:endParaRPr lang="de-DE" sz="1200" b="0" i="0" u="none" strike="noStrike" dirty="0">
                        <a:solidFill>
                          <a:srgbClr val="000000"/>
                        </a:solidFill>
                        <a:effectLst/>
                        <a:latin typeface="Arial" panose="020B0604020202020204" pitchFamily="34" charset="0"/>
                      </a:endParaRPr>
                    </a:p>
                  </a:txBody>
                  <a:tcPr marL="8130" marR="8130" marT="8130" marB="0" anchor="b"/>
                </a:tc>
                <a:tc>
                  <a:txBody>
                    <a:bodyPr/>
                    <a:lstStyle/>
                    <a:p>
                      <a:pPr algn="ctr" fontAlgn="b"/>
                      <a:r>
                        <a:rPr lang="de-DE" sz="1200" u="none" strike="noStrike">
                          <a:effectLst/>
                        </a:rPr>
                        <a:t>2208</a:t>
                      </a:r>
                      <a:endParaRPr lang="de-DE" sz="1200" b="0" i="0" u="none" strike="noStrike">
                        <a:solidFill>
                          <a:srgbClr val="000000"/>
                        </a:solidFill>
                        <a:effectLst/>
                        <a:latin typeface="Arial" panose="020B0604020202020204" pitchFamily="34" charset="0"/>
                      </a:endParaRPr>
                    </a:p>
                  </a:txBody>
                  <a:tcPr marL="8130" marR="8130" marT="8130" marB="0" anchor="b"/>
                </a:tc>
                <a:tc>
                  <a:txBody>
                    <a:bodyPr/>
                    <a:lstStyle/>
                    <a:p>
                      <a:pPr algn="l" fontAlgn="b"/>
                      <a:endParaRPr lang="de-DE" sz="1200" b="0" i="0" u="none" strike="noStrike">
                        <a:solidFill>
                          <a:srgbClr val="000000"/>
                        </a:solidFill>
                        <a:effectLst/>
                        <a:latin typeface="Arial" panose="020B0604020202020204" pitchFamily="34" charset="0"/>
                      </a:endParaRPr>
                    </a:p>
                  </a:txBody>
                  <a:tcPr marL="8130" marR="8130" marT="8130" marB="0" anchor="b"/>
                </a:tc>
                <a:extLst>
                  <a:ext uri="{0D108BD9-81ED-4DB2-BD59-A6C34878D82A}">
                    <a16:rowId xmlns:a16="http://schemas.microsoft.com/office/drawing/2014/main" val="1565236228"/>
                  </a:ext>
                </a:extLst>
              </a:tr>
              <a:tr h="322305">
                <a:tc>
                  <a:txBody>
                    <a:bodyPr/>
                    <a:lstStyle/>
                    <a:p>
                      <a:pPr algn="l" fontAlgn="b"/>
                      <a:r>
                        <a:rPr lang="de-DE" sz="1200" u="none" strike="noStrike">
                          <a:effectLst/>
                        </a:rPr>
                        <a:t>RAP Extensibility</a:t>
                      </a:r>
                      <a:endParaRPr lang="de-DE" sz="1200" b="0" i="0" u="none" strike="noStrike">
                        <a:solidFill>
                          <a:srgbClr val="000000"/>
                        </a:solidFill>
                        <a:effectLst/>
                        <a:latin typeface="Arial" panose="020B0604020202020204" pitchFamily="34" charset="0"/>
                      </a:endParaRPr>
                    </a:p>
                  </a:txBody>
                  <a:tcPr marL="8130" marR="8130" marT="8130" marB="0" anchor="b"/>
                </a:tc>
                <a:tc>
                  <a:txBody>
                    <a:bodyPr/>
                    <a:lstStyle/>
                    <a:p>
                      <a:pPr algn="l" fontAlgn="b"/>
                      <a:r>
                        <a:rPr lang="de-DE" sz="1200" u="none" strike="noStrike">
                          <a:effectLst/>
                        </a:rPr>
                        <a:t>Derived Events, custom-defined context attributes for filtering &amp; dynamic topics</a:t>
                      </a:r>
                      <a:endParaRPr lang="de-DE" sz="1200" b="0" i="0" u="none" strike="noStrike" dirty="0">
                        <a:solidFill>
                          <a:srgbClr val="000000"/>
                        </a:solidFill>
                        <a:effectLst/>
                        <a:latin typeface="Arial" panose="020B0604020202020204" pitchFamily="34" charset="0"/>
                      </a:endParaRPr>
                    </a:p>
                  </a:txBody>
                  <a:tcPr marL="8130" marR="8130" marT="8130" marB="0" anchor="b"/>
                </a:tc>
                <a:tc>
                  <a:txBody>
                    <a:bodyPr/>
                    <a:lstStyle/>
                    <a:p>
                      <a:pPr algn="ctr" fontAlgn="b"/>
                      <a:r>
                        <a:rPr lang="de-DE" sz="1200" u="none" strike="noStrike">
                          <a:effectLst/>
                        </a:rPr>
                        <a:t>2023</a:t>
                      </a:r>
                      <a:endParaRPr lang="de-DE" sz="1200" b="0" i="0" u="none" strike="noStrike" dirty="0">
                        <a:solidFill>
                          <a:srgbClr val="000000"/>
                        </a:solidFill>
                        <a:effectLst/>
                        <a:latin typeface="Arial" panose="020B0604020202020204" pitchFamily="34" charset="0"/>
                      </a:endParaRPr>
                    </a:p>
                  </a:txBody>
                  <a:tcPr marL="8130" marR="8130" marT="8130" marB="0" anchor="b"/>
                </a:tc>
                <a:tc>
                  <a:txBody>
                    <a:bodyPr/>
                    <a:lstStyle/>
                    <a:p>
                      <a:pPr algn="ctr" fontAlgn="b"/>
                      <a:r>
                        <a:rPr lang="de-DE" sz="1200" u="none" strike="noStrike">
                          <a:effectLst/>
                        </a:rPr>
                        <a:t>2308</a:t>
                      </a:r>
                      <a:endParaRPr lang="de-DE" sz="1200" b="0" i="0" u="none" strike="noStrike">
                        <a:solidFill>
                          <a:srgbClr val="000000"/>
                        </a:solidFill>
                        <a:effectLst/>
                        <a:latin typeface="Arial" panose="020B0604020202020204" pitchFamily="34" charset="0"/>
                      </a:endParaRPr>
                    </a:p>
                  </a:txBody>
                  <a:tcPr marL="8130" marR="8130" marT="8130" marB="0" anchor="b"/>
                </a:tc>
                <a:tc>
                  <a:txBody>
                    <a:bodyPr/>
                    <a:lstStyle/>
                    <a:p>
                      <a:pPr algn="l" fontAlgn="b"/>
                      <a:endParaRPr lang="de-DE" sz="1200" b="0" i="0" u="none" strike="noStrike">
                        <a:solidFill>
                          <a:srgbClr val="000000"/>
                        </a:solidFill>
                        <a:effectLst/>
                        <a:latin typeface="Arial" panose="020B0604020202020204" pitchFamily="34" charset="0"/>
                      </a:endParaRPr>
                    </a:p>
                  </a:txBody>
                  <a:tcPr marL="8130" marR="8130" marT="8130" marB="0" anchor="b"/>
                </a:tc>
                <a:extLst>
                  <a:ext uri="{0D108BD9-81ED-4DB2-BD59-A6C34878D82A}">
                    <a16:rowId xmlns:a16="http://schemas.microsoft.com/office/drawing/2014/main" val="2734975633"/>
                  </a:ext>
                </a:extLst>
              </a:tr>
              <a:tr h="210582">
                <a:tc>
                  <a:txBody>
                    <a:bodyPr/>
                    <a:lstStyle/>
                    <a:p>
                      <a:pPr algn="l" fontAlgn="b"/>
                      <a:r>
                        <a:rPr lang="de-DE" sz="1200" u="none" strike="noStrike">
                          <a:effectLst/>
                        </a:rPr>
                        <a:t>Local Events</a:t>
                      </a:r>
                      <a:endParaRPr lang="de-DE" sz="1200" b="0" i="0" u="none" strike="noStrike">
                        <a:solidFill>
                          <a:srgbClr val="000000"/>
                        </a:solidFill>
                        <a:effectLst/>
                        <a:latin typeface="Arial" panose="020B0604020202020204" pitchFamily="34" charset="0"/>
                      </a:endParaRPr>
                    </a:p>
                  </a:txBody>
                  <a:tcPr marL="8130" marR="8130" marT="8130" marB="0" anchor="b"/>
                </a:tc>
                <a:tc>
                  <a:txBody>
                    <a:bodyPr/>
                    <a:lstStyle/>
                    <a:p>
                      <a:pPr algn="l" fontAlgn="b"/>
                      <a:r>
                        <a:rPr lang="de-DE" sz="1200" u="none" strike="noStrike">
                          <a:effectLst/>
                        </a:rPr>
                        <a:t>Local event handling in RAP</a:t>
                      </a:r>
                      <a:endParaRPr lang="de-DE" sz="1200" b="0" i="0" u="none" strike="noStrike">
                        <a:solidFill>
                          <a:srgbClr val="000000"/>
                        </a:solidFill>
                        <a:effectLst/>
                        <a:latin typeface="Arial" panose="020B0604020202020204" pitchFamily="34" charset="0"/>
                      </a:endParaRPr>
                    </a:p>
                  </a:txBody>
                  <a:tcPr marL="8130" marR="8130" marT="8130" marB="0" anchor="b"/>
                </a:tc>
                <a:tc>
                  <a:txBody>
                    <a:bodyPr/>
                    <a:lstStyle/>
                    <a:p>
                      <a:pPr algn="ctr" fontAlgn="b"/>
                      <a:r>
                        <a:rPr lang="de-DE" sz="1200" u="none" strike="noStrike">
                          <a:effectLst/>
                        </a:rPr>
                        <a:t>2023</a:t>
                      </a:r>
                      <a:endParaRPr lang="de-DE" sz="1200" b="0" i="0" u="none" strike="noStrike" dirty="0">
                        <a:solidFill>
                          <a:srgbClr val="000000"/>
                        </a:solidFill>
                        <a:effectLst/>
                        <a:latin typeface="Arial" panose="020B0604020202020204" pitchFamily="34" charset="0"/>
                      </a:endParaRPr>
                    </a:p>
                  </a:txBody>
                  <a:tcPr marL="8130" marR="8130" marT="8130" marB="0" anchor="b"/>
                </a:tc>
                <a:tc>
                  <a:txBody>
                    <a:bodyPr/>
                    <a:lstStyle/>
                    <a:p>
                      <a:pPr algn="ctr" fontAlgn="b"/>
                      <a:r>
                        <a:rPr lang="de-DE" sz="1200" u="none" strike="noStrike">
                          <a:effectLst/>
                        </a:rPr>
                        <a:t>2308</a:t>
                      </a:r>
                      <a:endParaRPr lang="de-DE" sz="1200" b="0" i="0" u="none" strike="noStrike">
                        <a:solidFill>
                          <a:srgbClr val="000000"/>
                        </a:solidFill>
                        <a:effectLst/>
                        <a:latin typeface="Arial" panose="020B0604020202020204" pitchFamily="34" charset="0"/>
                      </a:endParaRPr>
                    </a:p>
                  </a:txBody>
                  <a:tcPr marL="8130" marR="8130" marT="8130" marB="0" anchor="b"/>
                </a:tc>
                <a:tc>
                  <a:txBody>
                    <a:bodyPr/>
                    <a:lstStyle/>
                    <a:p>
                      <a:pPr algn="l" fontAlgn="b"/>
                      <a:endParaRPr lang="de-DE" sz="1200" b="0" i="0" u="none" strike="noStrike">
                        <a:solidFill>
                          <a:srgbClr val="000000"/>
                        </a:solidFill>
                        <a:effectLst/>
                        <a:latin typeface="Arial" panose="020B0604020202020204" pitchFamily="34" charset="0"/>
                      </a:endParaRPr>
                    </a:p>
                  </a:txBody>
                  <a:tcPr marL="8130" marR="8130" marT="8130" marB="0" anchor="b"/>
                </a:tc>
                <a:extLst>
                  <a:ext uri="{0D108BD9-81ED-4DB2-BD59-A6C34878D82A}">
                    <a16:rowId xmlns:a16="http://schemas.microsoft.com/office/drawing/2014/main" val="4233354747"/>
                  </a:ext>
                </a:extLst>
              </a:tr>
              <a:tr h="345707">
                <a:tc>
                  <a:txBody>
                    <a:bodyPr/>
                    <a:lstStyle/>
                    <a:p>
                      <a:pPr algn="l" fontAlgn="b"/>
                      <a:r>
                        <a:rPr lang="de-DE" sz="1200" u="none" strike="noStrike">
                          <a:effectLst/>
                        </a:rPr>
                        <a:t>Filtering</a:t>
                      </a:r>
                      <a:endParaRPr lang="de-DE" sz="1200" b="0" i="0" u="none" strike="noStrike">
                        <a:solidFill>
                          <a:srgbClr val="000000"/>
                        </a:solidFill>
                        <a:effectLst/>
                        <a:latin typeface="Arial" panose="020B0604020202020204" pitchFamily="34" charset="0"/>
                      </a:endParaRPr>
                    </a:p>
                  </a:txBody>
                  <a:tcPr marL="8130" marR="8130" marT="8130" marB="0" anchor="b"/>
                </a:tc>
                <a:tc>
                  <a:txBody>
                    <a:bodyPr/>
                    <a:lstStyle/>
                    <a:p>
                      <a:pPr algn="l" fontAlgn="b"/>
                      <a:r>
                        <a:rPr lang="de-DE" sz="1200" u="none" strike="noStrike">
                          <a:effectLst/>
                        </a:rPr>
                        <a:t>Outbound Filtering based on annotation</a:t>
                      </a:r>
                      <a:endParaRPr lang="de-DE" sz="1200" b="0" i="0" u="none" strike="noStrike">
                        <a:solidFill>
                          <a:srgbClr val="000000"/>
                        </a:solidFill>
                        <a:effectLst/>
                        <a:latin typeface="Arial" panose="020B0604020202020204" pitchFamily="34" charset="0"/>
                      </a:endParaRPr>
                    </a:p>
                  </a:txBody>
                  <a:tcPr marL="8130" marR="8130" marT="8130" marB="0" anchor="b"/>
                </a:tc>
                <a:tc>
                  <a:txBody>
                    <a:bodyPr/>
                    <a:lstStyle/>
                    <a:p>
                      <a:pPr algn="ctr" fontAlgn="b"/>
                      <a:r>
                        <a:rPr lang="de-DE" sz="1200" u="none" strike="noStrike">
                          <a:effectLst/>
                        </a:rPr>
                        <a:t>2023</a:t>
                      </a:r>
                      <a:endParaRPr lang="de-DE" sz="1200" b="0" i="0" u="none" strike="noStrike" dirty="0">
                        <a:solidFill>
                          <a:srgbClr val="000000"/>
                        </a:solidFill>
                        <a:effectLst/>
                        <a:latin typeface="Arial" panose="020B0604020202020204" pitchFamily="34" charset="0"/>
                      </a:endParaRPr>
                    </a:p>
                  </a:txBody>
                  <a:tcPr marL="8130" marR="8130" marT="8130" marB="0" anchor="b"/>
                </a:tc>
                <a:tc>
                  <a:txBody>
                    <a:bodyPr/>
                    <a:lstStyle/>
                    <a:p>
                      <a:pPr algn="ctr" fontAlgn="b"/>
                      <a:r>
                        <a:rPr lang="de-DE" sz="1200" u="none" strike="noStrike">
                          <a:effectLst/>
                        </a:rPr>
                        <a:t>2402</a:t>
                      </a:r>
                      <a:endParaRPr lang="de-DE" sz="1200" b="0" i="0" u="none" strike="noStrike">
                        <a:solidFill>
                          <a:srgbClr val="000000"/>
                        </a:solidFill>
                        <a:effectLst/>
                        <a:latin typeface="Arial" panose="020B0604020202020204" pitchFamily="34" charset="0"/>
                      </a:endParaRPr>
                    </a:p>
                  </a:txBody>
                  <a:tcPr marL="8130" marR="8130" marT="8130" marB="0" anchor="b"/>
                </a:tc>
                <a:tc>
                  <a:txBody>
                    <a:bodyPr/>
                    <a:lstStyle/>
                    <a:p>
                      <a:pPr algn="l" fontAlgn="b"/>
                      <a:r>
                        <a:rPr lang="de-DE" sz="1000" u="sng" strike="noStrike">
                          <a:effectLst/>
                          <a:hlinkClick r:id="rId3" tooltip="https://me.sap.com/notes/3343266"/>
                        </a:rPr>
                        <a:t>SAP Note 3343266</a:t>
                      </a:r>
                      <a:endParaRPr lang="de-DE" sz="1000" b="0" i="0" u="sng" strike="noStrike">
                        <a:solidFill>
                          <a:srgbClr val="467886"/>
                        </a:solidFill>
                        <a:effectLst/>
                        <a:latin typeface="Aptos Narrow" panose="020B0004020202020204" pitchFamily="34" charset="0"/>
                      </a:endParaRPr>
                    </a:p>
                  </a:txBody>
                  <a:tcPr marL="8130" marR="8130" marT="8130" marB="0" anchor="b"/>
                </a:tc>
                <a:extLst>
                  <a:ext uri="{0D108BD9-81ED-4DB2-BD59-A6C34878D82A}">
                    <a16:rowId xmlns:a16="http://schemas.microsoft.com/office/drawing/2014/main" val="2414548038"/>
                  </a:ext>
                </a:extLst>
              </a:tr>
              <a:tr h="345707">
                <a:tc>
                  <a:txBody>
                    <a:bodyPr/>
                    <a:lstStyle/>
                    <a:p>
                      <a:pPr algn="l" fontAlgn="b"/>
                      <a:r>
                        <a:rPr lang="de-DE" sz="1200" u="none" strike="noStrike">
                          <a:effectLst/>
                        </a:rPr>
                        <a:t>AEM</a:t>
                      </a:r>
                      <a:endParaRPr lang="de-DE" sz="1200" b="0" i="0" u="none" strike="noStrike">
                        <a:solidFill>
                          <a:srgbClr val="000000"/>
                        </a:solidFill>
                        <a:effectLst/>
                        <a:latin typeface="Arial" panose="020B0604020202020204" pitchFamily="34" charset="0"/>
                      </a:endParaRPr>
                    </a:p>
                  </a:txBody>
                  <a:tcPr marL="8130" marR="8130" marT="8130" marB="0" anchor="b">
                    <a:solidFill>
                      <a:srgbClr val="188918"/>
                    </a:solidFill>
                  </a:tcPr>
                </a:tc>
                <a:tc>
                  <a:txBody>
                    <a:bodyPr/>
                    <a:lstStyle/>
                    <a:p>
                      <a:pPr algn="l" fontAlgn="b"/>
                      <a:r>
                        <a:rPr lang="de-DE" sz="1200" u="none" strike="noStrike">
                          <a:effectLst/>
                        </a:rPr>
                        <a:t>Support of AEM</a:t>
                      </a:r>
                      <a:endParaRPr lang="de-DE" sz="1200" b="0" i="0" u="none" strike="noStrike" dirty="0">
                        <a:solidFill>
                          <a:srgbClr val="000000"/>
                        </a:solidFill>
                        <a:effectLst/>
                        <a:latin typeface="Arial" panose="020B0604020202020204" pitchFamily="34" charset="0"/>
                      </a:endParaRPr>
                    </a:p>
                  </a:txBody>
                  <a:tcPr marL="8130" marR="8130" marT="8130" marB="0" anchor="b">
                    <a:solidFill>
                      <a:srgbClr val="188918"/>
                    </a:solidFill>
                  </a:tcPr>
                </a:tc>
                <a:tc>
                  <a:txBody>
                    <a:bodyPr/>
                    <a:lstStyle/>
                    <a:p>
                      <a:pPr algn="ctr" fontAlgn="b"/>
                      <a:r>
                        <a:rPr lang="de-DE" sz="1200" u="none" strike="noStrike">
                          <a:effectLst/>
                        </a:rPr>
                        <a:t>2023; 2022 SP04</a:t>
                      </a:r>
                      <a:endParaRPr lang="de-DE" sz="1200" b="0" i="0" u="none" strike="noStrike" dirty="0">
                        <a:solidFill>
                          <a:srgbClr val="000000"/>
                        </a:solidFill>
                        <a:effectLst/>
                        <a:latin typeface="Arial" panose="020B0604020202020204" pitchFamily="34" charset="0"/>
                      </a:endParaRPr>
                    </a:p>
                  </a:txBody>
                  <a:tcPr marL="8130" marR="8130" marT="8130" marB="0" anchor="b">
                    <a:solidFill>
                      <a:srgbClr val="188918"/>
                    </a:solidFill>
                  </a:tcPr>
                </a:tc>
                <a:tc>
                  <a:txBody>
                    <a:bodyPr/>
                    <a:lstStyle/>
                    <a:p>
                      <a:pPr algn="ctr" fontAlgn="b"/>
                      <a:r>
                        <a:rPr lang="de-DE" sz="1200" u="none" strike="noStrike">
                          <a:effectLst/>
                        </a:rPr>
                        <a:t>2402</a:t>
                      </a:r>
                      <a:endParaRPr lang="de-DE" sz="1200" b="0" i="0" u="none" strike="noStrike" dirty="0">
                        <a:solidFill>
                          <a:srgbClr val="000000"/>
                        </a:solidFill>
                        <a:effectLst/>
                        <a:latin typeface="Arial" panose="020B0604020202020204" pitchFamily="34" charset="0"/>
                      </a:endParaRPr>
                    </a:p>
                  </a:txBody>
                  <a:tcPr marL="8130" marR="8130" marT="8130" marB="0" anchor="b">
                    <a:solidFill>
                      <a:srgbClr val="188918"/>
                    </a:solidFill>
                  </a:tcPr>
                </a:tc>
                <a:tc>
                  <a:txBody>
                    <a:bodyPr/>
                    <a:lstStyle/>
                    <a:p>
                      <a:pPr algn="l" fontAlgn="b"/>
                      <a:r>
                        <a:rPr lang="de-DE" sz="1000" u="sng" strike="noStrike">
                          <a:effectLst/>
                          <a:hlinkClick r:id="rId4" tooltip="https://me.sap.com/notes/3464607"/>
                        </a:rPr>
                        <a:t>SAP Note 3464607</a:t>
                      </a:r>
                      <a:endParaRPr lang="de-DE" sz="1000" b="0" i="0" u="sng" strike="noStrike">
                        <a:solidFill>
                          <a:srgbClr val="467886"/>
                        </a:solidFill>
                        <a:effectLst/>
                        <a:latin typeface="Aptos Narrow" panose="020B0004020202020204" pitchFamily="34" charset="0"/>
                      </a:endParaRPr>
                    </a:p>
                  </a:txBody>
                  <a:tcPr marL="8130" marR="8130" marT="8130" marB="0" anchor="b">
                    <a:solidFill>
                      <a:srgbClr val="188918"/>
                    </a:solidFill>
                  </a:tcPr>
                </a:tc>
                <a:extLst>
                  <a:ext uri="{0D108BD9-81ED-4DB2-BD59-A6C34878D82A}">
                    <a16:rowId xmlns:a16="http://schemas.microsoft.com/office/drawing/2014/main" val="1488510715"/>
                  </a:ext>
                </a:extLst>
              </a:tr>
              <a:tr h="345707">
                <a:tc>
                  <a:txBody>
                    <a:bodyPr/>
                    <a:lstStyle/>
                    <a:p>
                      <a:pPr algn="l" fontAlgn="b"/>
                      <a:r>
                        <a:rPr lang="de-DE" sz="1200" u="none" strike="noStrike" kern="1200">
                          <a:solidFill>
                            <a:schemeClr val="dk1"/>
                          </a:solidFill>
                          <a:effectLst/>
                          <a:latin typeface="+mn-lt"/>
                          <a:ea typeface="+mn-ea"/>
                          <a:cs typeface="+mn-cs"/>
                        </a:rPr>
                        <a:t>Dynamic Topics</a:t>
                      </a:r>
                    </a:p>
                  </a:txBody>
                  <a:tcPr marL="8130" marR="8130" marT="8130" marB="0" anchor="b"/>
                </a:tc>
                <a:tc>
                  <a:txBody>
                    <a:bodyPr/>
                    <a:lstStyle/>
                    <a:p>
                      <a:r>
                        <a:rPr lang="de-DE" sz="1200" u="none" strike="noStrike" kern="1200">
                          <a:solidFill>
                            <a:schemeClr val="dk1"/>
                          </a:solidFill>
                          <a:effectLst/>
                          <a:latin typeface="+mn-lt"/>
                          <a:ea typeface="+mn-ea"/>
                          <a:cs typeface="+mn-cs"/>
                        </a:rPr>
                        <a:t>Dynamic topic segments, e.g.,</a:t>
                      </a:r>
                    </a:p>
                    <a:p>
                      <a:r>
                        <a:rPr lang="de-DE" sz="1200" u="none" strike="noStrike" kern="1200">
                          <a:solidFill>
                            <a:schemeClr val="dk1"/>
                          </a:solidFill>
                          <a:effectLst/>
                          <a:latin typeface="+mn-lt"/>
                          <a:ea typeface="+mn-ea"/>
                          <a:cs typeface="+mn-cs"/>
                        </a:rPr>
                        <a:t>sap/s4/custom/CustomBusinessObject/Created/v1/{Custom Context Attribute 1}/{Custom Context Attribute 2}.</a:t>
                      </a:r>
                    </a:p>
                    <a:p>
                      <a:pPr algn="l" fontAlgn="b"/>
                      <a:endParaRPr lang="de-DE" sz="1200" u="none" strike="noStrike" kern="1200" dirty="0">
                        <a:solidFill>
                          <a:schemeClr val="dk1"/>
                        </a:solidFill>
                        <a:effectLst/>
                        <a:latin typeface="+mn-lt"/>
                        <a:ea typeface="+mn-ea"/>
                        <a:cs typeface="+mn-cs"/>
                      </a:endParaRPr>
                    </a:p>
                  </a:txBody>
                  <a:tcPr marL="8130" marR="8130" marT="8130" marB="0" anchor="b"/>
                </a:tc>
                <a:tc>
                  <a:txBody>
                    <a:bodyPr/>
                    <a:lstStyle/>
                    <a:p>
                      <a:pPr algn="ctr" fontAlgn="b"/>
                      <a:r>
                        <a:rPr lang="de-DE" sz="1200" u="none" strike="noStrike">
                          <a:effectLst/>
                        </a:rPr>
                        <a:t>2023SP02</a:t>
                      </a:r>
                      <a:endParaRPr lang="de-DE" sz="1200" b="0" i="0" u="none" strike="noStrike" dirty="0">
                        <a:solidFill>
                          <a:srgbClr val="000000"/>
                        </a:solidFill>
                        <a:effectLst/>
                        <a:latin typeface="Arial" panose="020B0604020202020204" pitchFamily="34" charset="0"/>
                      </a:endParaRPr>
                    </a:p>
                  </a:txBody>
                  <a:tcPr marL="8130" marR="8130" marT="8130" marB="0" anchor="b"/>
                </a:tc>
                <a:tc>
                  <a:txBody>
                    <a:bodyPr/>
                    <a:lstStyle/>
                    <a:p>
                      <a:pPr algn="ctr" fontAlgn="b"/>
                      <a:r>
                        <a:rPr lang="de-DE" sz="1200" u="none" strike="noStrike">
                          <a:effectLst/>
                        </a:rPr>
                        <a:t>2408</a:t>
                      </a:r>
                      <a:endParaRPr lang="de-DE" sz="1200" b="0" i="0" u="none" strike="noStrike">
                        <a:solidFill>
                          <a:srgbClr val="000000"/>
                        </a:solidFill>
                        <a:effectLst/>
                        <a:latin typeface="Arial" panose="020B0604020202020204" pitchFamily="34" charset="0"/>
                      </a:endParaRPr>
                    </a:p>
                  </a:txBody>
                  <a:tcPr marL="8130" marR="8130" marT="8130" marB="0" anchor="b"/>
                </a:tc>
                <a:tc>
                  <a:txBody>
                    <a:bodyPr/>
                    <a:lstStyle/>
                    <a:p>
                      <a:pPr algn="l" fontAlgn="b"/>
                      <a:r>
                        <a:rPr lang="de-DE" sz="1000" u="sng" strike="noStrike">
                          <a:effectLst/>
                          <a:hlinkClick r:id="rId5"/>
                        </a:rPr>
                        <a:t>Note 3464972</a:t>
                      </a:r>
                      <a:endParaRPr lang="de-DE" sz="1000" b="0" i="0" u="sng" strike="noStrike">
                        <a:solidFill>
                          <a:srgbClr val="467886"/>
                        </a:solidFill>
                        <a:effectLst/>
                        <a:latin typeface="Aptos Narrow" panose="020B0004020202020204" pitchFamily="34" charset="0"/>
                      </a:endParaRPr>
                    </a:p>
                  </a:txBody>
                  <a:tcPr marL="8130" marR="8130" marT="8130" marB="0" anchor="b"/>
                </a:tc>
                <a:extLst>
                  <a:ext uri="{0D108BD9-81ED-4DB2-BD59-A6C34878D82A}">
                    <a16:rowId xmlns:a16="http://schemas.microsoft.com/office/drawing/2014/main" val="671445093"/>
                  </a:ext>
                </a:extLst>
              </a:tr>
              <a:tr h="233980">
                <a:tc>
                  <a:txBody>
                    <a:bodyPr/>
                    <a:lstStyle/>
                    <a:p>
                      <a:pPr algn="l" fontAlgn="b"/>
                      <a:r>
                        <a:rPr lang="de-DE" sz="1200" u="none" strike="noStrike">
                          <a:effectLst/>
                        </a:rPr>
                        <a:t>Event Broker (kernel service)</a:t>
                      </a:r>
                      <a:endParaRPr lang="de-DE" sz="1200" b="0" i="0" u="none" strike="noStrike">
                        <a:solidFill>
                          <a:srgbClr val="000000"/>
                        </a:solidFill>
                        <a:effectLst/>
                        <a:latin typeface="Arial" panose="020B0604020202020204" pitchFamily="34" charset="0"/>
                      </a:endParaRPr>
                    </a:p>
                  </a:txBody>
                  <a:tcPr marL="8130" marR="8130" marT="8130" marB="0" anchor="b"/>
                </a:tc>
                <a:tc>
                  <a:txBody>
                    <a:bodyPr/>
                    <a:lstStyle/>
                    <a:p>
                      <a:pPr algn="l" fontAlgn="b"/>
                      <a:endParaRPr lang="de-DE" sz="1200" b="0" i="0" u="none" strike="noStrike">
                        <a:solidFill>
                          <a:srgbClr val="000000"/>
                        </a:solidFill>
                        <a:effectLst/>
                        <a:latin typeface="Arial" panose="020B0604020202020204" pitchFamily="34" charset="0"/>
                      </a:endParaRPr>
                    </a:p>
                  </a:txBody>
                  <a:tcPr marL="8130" marR="8130" marT="8130" marB="0" anchor="b"/>
                </a:tc>
                <a:tc>
                  <a:txBody>
                    <a:bodyPr/>
                    <a:lstStyle/>
                    <a:p>
                      <a:pPr algn="ctr" fontAlgn="b"/>
                      <a:r>
                        <a:rPr lang="de-DE" sz="1200" u="none" strike="noStrike">
                          <a:effectLst/>
                        </a:rPr>
                        <a:t>PCE only</a:t>
                      </a:r>
                      <a:endParaRPr lang="de-DE" sz="1200" b="1" i="0" u="none" strike="noStrike" dirty="0">
                        <a:solidFill>
                          <a:srgbClr val="000000"/>
                        </a:solidFill>
                        <a:effectLst/>
                        <a:latin typeface="Arial" panose="020B0604020202020204" pitchFamily="34" charset="0"/>
                      </a:endParaRPr>
                    </a:p>
                  </a:txBody>
                  <a:tcPr marL="8130" marR="8130" marT="8130" marB="0" anchor="b"/>
                </a:tc>
                <a:tc>
                  <a:txBody>
                    <a:bodyPr/>
                    <a:lstStyle/>
                    <a:p>
                      <a:pPr algn="ctr" fontAlgn="b"/>
                      <a:r>
                        <a:rPr lang="de-DE" sz="1200" u="none" strike="noStrike">
                          <a:effectLst/>
                        </a:rPr>
                        <a:t>2308</a:t>
                      </a:r>
                      <a:endParaRPr lang="de-DE" sz="1200" b="0" i="0" u="none" strike="noStrike">
                        <a:solidFill>
                          <a:srgbClr val="000000"/>
                        </a:solidFill>
                        <a:effectLst/>
                        <a:latin typeface="Arial" panose="020B0604020202020204" pitchFamily="34" charset="0"/>
                      </a:endParaRPr>
                    </a:p>
                  </a:txBody>
                  <a:tcPr marL="8130" marR="8130" marT="8130" marB="0" anchor="b"/>
                </a:tc>
                <a:tc>
                  <a:txBody>
                    <a:bodyPr/>
                    <a:lstStyle/>
                    <a:p>
                      <a:pPr algn="l" fontAlgn="b"/>
                      <a:endParaRPr lang="de-DE" sz="1200" b="0" i="0" u="none" strike="noStrike">
                        <a:solidFill>
                          <a:srgbClr val="000000"/>
                        </a:solidFill>
                        <a:effectLst/>
                        <a:latin typeface="Arial" panose="020B0604020202020204" pitchFamily="34" charset="0"/>
                      </a:endParaRPr>
                    </a:p>
                  </a:txBody>
                  <a:tcPr marL="8130" marR="8130" marT="8130" marB="0" anchor="b"/>
                </a:tc>
                <a:extLst>
                  <a:ext uri="{0D108BD9-81ED-4DB2-BD59-A6C34878D82A}">
                    <a16:rowId xmlns:a16="http://schemas.microsoft.com/office/drawing/2014/main" val="510911024"/>
                  </a:ext>
                </a:extLst>
              </a:tr>
              <a:tr h="403511">
                <a:tc>
                  <a:txBody>
                    <a:bodyPr/>
                    <a:lstStyle/>
                    <a:p>
                      <a:pPr algn="l" fontAlgn="b"/>
                      <a:r>
                        <a:rPr lang="de-DE" sz="1200" u="none" strike="noStrike">
                          <a:effectLst/>
                        </a:rPr>
                        <a:t>Dead Letter Queue</a:t>
                      </a:r>
                      <a:endParaRPr lang="de-DE" sz="1200" b="0" i="0" u="none" strike="noStrike">
                        <a:solidFill>
                          <a:srgbClr val="000000"/>
                        </a:solidFill>
                        <a:effectLst/>
                        <a:latin typeface="Arial" panose="020B0604020202020204" pitchFamily="34" charset="0"/>
                      </a:endParaRPr>
                    </a:p>
                  </a:txBody>
                  <a:tcPr marL="8130" marR="8130" marT="8130" marB="0" anchor="b"/>
                </a:tc>
                <a:tc>
                  <a:txBody>
                    <a:bodyPr/>
                    <a:lstStyle/>
                    <a:p>
                      <a:pPr algn="l" fontAlgn="b"/>
                      <a:r>
                        <a:rPr lang="de-DE" sz="1200" u="none" strike="noStrike">
                          <a:effectLst/>
                        </a:rPr>
                        <a:t>Failed events are never deleted</a:t>
                      </a:r>
                      <a:endParaRPr lang="de-DE" sz="1200" b="0" i="0" u="none" strike="noStrike" dirty="0">
                        <a:solidFill>
                          <a:srgbClr val="000000"/>
                        </a:solidFill>
                        <a:effectLst/>
                        <a:latin typeface="Arial" panose="020B0604020202020204" pitchFamily="34" charset="0"/>
                      </a:endParaRPr>
                    </a:p>
                  </a:txBody>
                  <a:tcPr marL="8130" marR="8130" marT="8130" marB="0" anchor="b"/>
                </a:tc>
                <a:tc>
                  <a:txBody>
                    <a:bodyPr/>
                    <a:lstStyle/>
                    <a:p>
                      <a:pPr algn="ctr" fontAlgn="b"/>
                      <a:r>
                        <a:rPr lang="de-DE" sz="1200" u="none" strike="noStrike">
                          <a:effectLst/>
                        </a:rPr>
                        <a:t>2023 SP02, 2022 SP04, 2025</a:t>
                      </a:r>
                      <a:endParaRPr lang="de-DE" sz="1200" b="0" i="0" u="none" strike="noStrike" dirty="0">
                        <a:solidFill>
                          <a:srgbClr val="000000"/>
                        </a:solidFill>
                        <a:effectLst/>
                        <a:latin typeface="Arial" panose="020B0604020202020204" pitchFamily="34" charset="0"/>
                      </a:endParaRPr>
                    </a:p>
                  </a:txBody>
                  <a:tcPr marL="8130" marR="8130" marT="8130" marB="0" anchor="b"/>
                </a:tc>
                <a:tc>
                  <a:txBody>
                    <a:bodyPr/>
                    <a:lstStyle/>
                    <a:p>
                      <a:pPr algn="ctr" fontAlgn="b"/>
                      <a:endParaRPr lang="de-DE" sz="1200" b="0" i="0" u="none" strike="noStrike" dirty="0">
                        <a:solidFill>
                          <a:srgbClr val="000000"/>
                        </a:solidFill>
                        <a:effectLst/>
                        <a:latin typeface="Arial" panose="020B0604020202020204" pitchFamily="34" charset="0"/>
                      </a:endParaRPr>
                    </a:p>
                  </a:txBody>
                  <a:tcPr marL="8130" marR="8130" marT="8130" marB="0" anchor="b"/>
                </a:tc>
                <a:tc>
                  <a:txBody>
                    <a:bodyPr/>
                    <a:lstStyle/>
                    <a:p>
                      <a:pPr algn="l" fontAlgn="b"/>
                      <a:r>
                        <a:rPr lang="de-DE" sz="1000" u="sng" strike="noStrike" dirty="0">
                          <a:effectLst/>
                          <a:hlinkClick r:id="rId2" tooltip="https://me.sap.com/notes/3145443"/>
                        </a:rPr>
                        <a:t>SAP Note 3145443</a:t>
                      </a:r>
                      <a:endParaRPr lang="de-DE" sz="1000" b="0" i="0" u="sng" strike="noStrike" dirty="0">
                        <a:solidFill>
                          <a:srgbClr val="467886"/>
                        </a:solidFill>
                        <a:effectLst/>
                        <a:latin typeface="Aptos Narrow" panose="020B0004020202020204" pitchFamily="34" charset="0"/>
                      </a:endParaRPr>
                    </a:p>
                  </a:txBody>
                  <a:tcPr marL="8130" marR="8130" marT="8130" marB="0" anchor="b"/>
                </a:tc>
                <a:extLst>
                  <a:ext uri="{0D108BD9-81ED-4DB2-BD59-A6C34878D82A}">
                    <a16:rowId xmlns:a16="http://schemas.microsoft.com/office/drawing/2014/main" val="1206637004"/>
                  </a:ext>
                </a:extLst>
              </a:tr>
            </a:tbl>
          </a:graphicData>
        </a:graphic>
      </p:graphicFrame>
    </p:spTree>
    <p:extLst>
      <p:ext uri="{BB962C8B-B14F-4D97-AF65-F5344CB8AC3E}">
        <p14:creationId xmlns:p14="http://schemas.microsoft.com/office/powerpoint/2010/main" val="328060823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76B117B-118F-1792-C7C3-0D0611DF2184}"/>
              </a:ext>
            </a:extLst>
          </p:cNvPr>
          <p:cNvSpPr>
            <a:spLocks noGrp="1"/>
          </p:cNvSpPr>
          <p:nvPr>
            <p:ph type="title"/>
          </p:nvPr>
        </p:nvSpPr>
        <p:spPr/>
        <p:txBody>
          <a:bodyPr/>
          <a:lstStyle/>
          <a:p>
            <a:r>
              <a:rPr lang="en-US" dirty="0"/>
              <a:t>SAP Integration Suite, advanced event mesh</a:t>
            </a:r>
            <a:endParaRPr lang="en-DE" dirty="0"/>
          </a:p>
        </p:txBody>
      </p:sp>
      <p:grpSp>
        <p:nvGrpSpPr>
          <p:cNvPr id="4" name="Gruppieren 28">
            <a:extLst>
              <a:ext uri="{FF2B5EF4-FFF2-40B4-BE49-F238E27FC236}">
                <a16:creationId xmlns:a16="http://schemas.microsoft.com/office/drawing/2014/main" id="{73DA2508-EB9C-FDDA-940C-C5BA472E25C4}"/>
              </a:ext>
            </a:extLst>
          </p:cNvPr>
          <p:cNvGrpSpPr/>
          <p:nvPr/>
        </p:nvGrpSpPr>
        <p:grpSpPr>
          <a:xfrm>
            <a:off x="2816515" y="1885364"/>
            <a:ext cx="3187563" cy="2991566"/>
            <a:chOff x="2816515" y="2301014"/>
            <a:chExt cx="3187563" cy="2991566"/>
          </a:xfrm>
        </p:grpSpPr>
        <p:grpSp>
          <p:nvGrpSpPr>
            <p:cNvPr id="5" name="Gruppieren 23">
              <a:extLst>
                <a:ext uri="{FF2B5EF4-FFF2-40B4-BE49-F238E27FC236}">
                  <a16:creationId xmlns:a16="http://schemas.microsoft.com/office/drawing/2014/main" id="{DB2FEE20-F185-DF69-6037-FC2728AEE054}"/>
                </a:ext>
              </a:extLst>
            </p:cNvPr>
            <p:cNvGrpSpPr/>
            <p:nvPr/>
          </p:nvGrpSpPr>
          <p:grpSpPr>
            <a:xfrm>
              <a:off x="2816515" y="2301014"/>
              <a:ext cx="3187563" cy="2991566"/>
              <a:chOff x="2816515" y="2301014"/>
              <a:chExt cx="3187563" cy="2991566"/>
            </a:xfrm>
          </p:grpSpPr>
          <p:grpSp>
            <p:nvGrpSpPr>
              <p:cNvPr id="7" name="Group 6">
                <a:extLst>
                  <a:ext uri="{FF2B5EF4-FFF2-40B4-BE49-F238E27FC236}">
                    <a16:creationId xmlns:a16="http://schemas.microsoft.com/office/drawing/2014/main" id="{ED677DF5-3DE7-99A4-5D27-42ED2D1B20EF}"/>
                  </a:ext>
                </a:extLst>
              </p:cNvPr>
              <p:cNvGrpSpPr/>
              <p:nvPr/>
            </p:nvGrpSpPr>
            <p:grpSpPr>
              <a:xfrm>
                <a:off x="2816515" y="2301014"/>
                <a:ext cx="3178128" cy="2991566"/>
                <a:chOff x="5659120" y="3003510"/>
                <a:chExt cx="2277810" cy="2234608"/>
              </a:xfrm>
            </p:grpSpPr>
            <p:cxnSp>
              <p:nvCxnSpPr>
                <p:cNvPr id="38" name="Straight Connector 37">
                  <a:extLst>
                    <a:ext uri="{FF2B5EF4-FFF2-40B4-BE49-F238E27FC236}">
                      <a16:creationId xmlns:a16="http://schemas.microsoft.com/office/drawing/2014/main" id="{25174F24-F6F6-AEA4-7202-268766482537}"/>
                    </a:ext>
                  </a:extLst>
                </p:cNvPr>
                <p:cNvCxnSpPr>
                  <a:cxnSpLocks/>
                </p:cNvCxnSpPr>
                <p:nvPr/>
              </p:nvCxnSpPr>
              <p:spPr>
                <a:xfrm>
                  <a:off x="5735047" y="3003510"/>
                  <a:ext cx="0" cy="2234608"/>
                </a:xfrm>
                <a:prstGeom prst="line">
                  <a:avLst/>
                </a:prstGeom>
                <a:ln w="10033">
                  <a:solidFill>
                    <a:srgbClr val="1B90FF">
                      <a:alpha val="50000"/>
                    </a:srgb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DCE74B6E-39DB-CF30-7CF2-C0D3453A5109}"/>
                    </a:ext>
                  </a:extLst>
                </p:cNvPr>
                <p:cNvCxnSpPr>
                  <a:cxnSpLocks/>
                </p:cNvCxnSpPr>
                <p:nvPr/>
              </p:nvCxnSpPr>
              <p:spPr>
                <a:xfrm>
                  <a:off x="5886901" y="3003510"/>
                  <a:ext cx="0" cy="2234608"/>
                </a:xfrm>
                <a:prstGeom prst="line">
                  <a:avLst/>
                </a:prstGeom>
                <a:ln w="10033">
                  <a:solidFill>
                    <a:srgbClr val="1B90FF">
                      <a:alpha val="50000"/>
                    </a:srgb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69A78DE3-F549-2055-5B03-2031D1ADF200}"/>
                    </a:ext>
                  </a:extLst>
                </p:cNvPr>
                <p:cNvCxnSpPr>
                  <a:cxnSpLocks/>
                </p:cNvCxnSpPr>
                <p:nvPr/>
              </p:nvCxnSpPr>
              <p:spPr>
                <a:xfrm>
                  <a:off x="6038755" y="3003510"/>
                  <a:ext cx="0" cy="2234608"/>
                </a:xfrm>
                <a:prstGeom prst="line">
                  <a:avLst/>
                </a:prstGeom>
                <a:ln w="10033">
                  <a:solidFill>
                    <a:srgbClr val="1B90FF">
                      <a:alpha val="50000"/>
                    </a:srgb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9683CECE-7824-01F2-579F-5EAF1D6214FC}"/>
                    </a:ext>
                  </a:extLst>
                </p:cNvPr>
                <p:cNvCxnSpPr>
                  <a:cxnSpLocks/>
                </p:cNvCxnSpPr>
                <p:nvPr/>
              </p:nvCxnSpPr>
              <p:spPr>
                <a:xfrm>
                  <a:off x="6190609" y="3003510"/>
                  <a:ext cx="0" cy="2234608"/>
                </a:xfrm>
                <a:prstGeom prst="line">
                  <a:avLst/>
                </a:prstGeom>
                <a:ln w="10033">
                  <a:solidFill>
                    <a:srgbClr val="1B90FF">
                      <a:alpha val="50000"/>
                    </a:srgb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8C3AF58-42D3-F42F-ADC2-43731F9D45B3}"/>
                    </a:ext>
                  </a:extLst>
                </p:cNvPr>
                <p:cNvCxnSpPr>
                  <a:cxnSpLocks/>
                </p:cNvCxnSpPr>
                <p:nvPr/>
              </p:nvCxnSpPr>
              <p:spPr>
                <a:xfrm>
                  <a:off x="6342463" y="3003510"/>
                  <a:ext cx="0" cy="2234608"/>
                </a:xfrm>
                <a:prstGeom prst="line">
                  <a:avLst/>
                </a:prstGeom>
                <a:ln w="10033">
                  <a:solidFill>
                    <a:srgbClr val="1B90FF">
                      <a:alpha val="50000"/>
                    </a:srgb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3BA619C4-B7CA-C65D-4EC4-9CAE7750D362}"/>
                    </a:ext>
                  </a:extLst>
                </p:cNvPr>
                <p:cNvCxnSpPr>
                  <a:cxnSpLocks/>
                </p:cNvCxnSpPr>
                <p:nvPr/>
              </p:nvCxnSpPr>
              <p:spPr>
                <a:xfrm>
                  <a:off x="6494317" y="3003510"/>
                  <a:ext cx="0" cy="2234608"/>
                </a:xfrm>
                <a:prstGeom prst="line">
                  <a:avLst/>
                </a:prstGeom>
                <a:ln w="10033">
                  <a:solidFill>
                    <a:srgbClr val="1B90FF">
                      <a:alpha val="50000"/>
                    </a:srgb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5BD45159-39BA-06AB-E887-A5F9CA3E1DC6}"/>
                    </a:ext>
                  </a:extLst>
                </p:cNvPr>
                <p:cNvCxnSpPr>
                  <a:cxnSpLocks/>
                </p:cNvCxnSpPr>
                <p:nvPr/>
              </p:nvCxnSpPr>
              <p:spPr>
                <a:xfrm>
                  <a:off x="6646171" y="3003510"/>
                  <a:ext cx="0" cy="2234608"/>
                </a:xfrm>
                <a:prstGeom prst="line">
                  <a:avLst/>
                </a:prstGeom>
                <a:ln w="10033">
                  <a:solidFill>
                    <a:srgbClr val="1B90FF">
                      <a:alpha val="50000"/>
                    </a:srgb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551C5424-0594-5E1A-B9CA-599FEC397396}"/>
                    </a:ext>
                  </a:extLst>
                </p:cNvPr>
                <p:cNvCxnSpPr>
                  <a:cxnSpLocks/>
                </p:cNvCxnSpPr>
                <p:nvPr/>
              </p:nvCxnSpPr>
              <p:spPr>
                <a:xfrm>
                  <a:off x="6798025" y="3003510"/>
                  <a:ext cx="0" cy="2234608"/>
                </a:xfrm>
                <a:prstGeom prst="line">
                  <a:avLst/>
                </a:prstGeom>
                <a:ln w="10033">
                  <a:solidFill>
                    <a:srgbClr val="1B90FF">
                      <a:alpha val="50000"/>
                    </a:srgb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39AB9F24-C264-D28F-6ED4-F88075D32F5B}"/>
                    </a:ext>
                  </a:extLst>
                </p:cNvPr>
                <p:cNvCxnSpPr>
                  <a:cxnSpLocks/>
                </p:cNvCxnSpPr>
                <p:nvPr/>
              </p:nvCxnSpPr>
              <p:spPr>
                <a:xfrm>
                  <a:off x="6949879" y="3003510"/>
                  <a:ext cx="0" cy="2234608"/>
                </a:xfrm>
                <a:prstGeom prst="line">
                  <a:avLst/>
                </a:prstGeom>
                <a:ln w="10033">
                  <a:solidFill>
                    <a:srgbClr val="1B90FF">
                      <a:alpha val="50000"/>
                    </a:srgb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A949D2A7-E7B1-EAFC-6405-767B76A2AB7C}"/>
                    </a:ext>
                  </a:extLst>
                </p:cNvPr>
                <p:cNvCxnSpPr>
                  <a:cxnSpLocks/>
                </p:cNvCxnSpPr>
                <p:nvPr/>
              </p:nvCxnSpPr>
              <p:spPr>
                <a:xfrm>
                  <a:off x="7101733" y="3003510"/>
                  <a:ext cx="0" cy="2234608"/>
                </a:xfrm>
                <a:prstGeom prst="line">
                  <a:avLst/>
                </a:prstGeom>
                <a:ln w="10033">
                  <a:solidFill>
                    <a:srgbClr val="1B90FF">
                      <a:alpha val="50000"/>
                    </a:srgb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A110C4BA-762A-475E-8333-B1B591A762A5}"/>
                    </a:ext>
                  </a:extLst>
                </p:cNvPr>
                <p:cNvCxnSpPr>
                  <a:cxnSpLocks/>
                </p:cNvCxnSpPr>
                <p:nvPr/>
              </p:nvCxnSpPr>
              <p:spPr>
                <a:xfrm>
                  <a:off x="7253587" y="3003510"/>
                  <a:ext cx="0" cy="2234608"/>
                </a:xfrm>
                <a:prstGeom prst="line">
                  <a:avLst/>
                </a:prstGeom>
                <a:ln w="10033">
                  <a:solidFill>
                    <a:srgbClr val="1B90FF">
                      <a:alpha val="50000"/>
                    </a:srgb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8520F691-71A7-2CBA-0C46-4BFDB43CF75E}"/>
                    </a:ext>
                  </a:extLst>
                </p:cNvPr>
                <p:cNvCxnSpPr>
                  <a:cxnSpLocks/>
                </p:cNvCxnSpPr>
                <p:nvPr/>
              </p:nvCxnSpPr>
              <p:spPr>
                <a:xfrm>
                  <a:off x="7405441" y="3003510"/>
                  <a:ext cx="0" cy="2234608"/>
                </a:xfrm>
                <a:prstGeom prst="line">
                  <a:avLst/>
                </a:prstGeom>
                <a:ln w="10033">
                  <a:solidFill>
                    <a:srgbClr val="1B90FF">
                      <a:alpha val="50000"/>
                    </a:srgb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D4088735-1ABE-CE2E-423E-6F5972147ABE}"/>
                    </a:ext>
                  </a:extLst>
                </p:cNvPr>
                <p:cNvCxnSpPr>
                  <a:cxnSpLocks/>
                </p:cNvCxnSpPr>
                <p:nvPr/>
              </p:nvCxnSpPr>
              <p:spPr>
                <a:xfrm>
                  <a:off x="7557295" y="3003510"/>
                  <a:ext cx="0" cy="2234608"/>
                </a:xfrm>
                <a:prstGeom prst="line">
                  <a:avLst/>
                </a:prstGeom>
                <a:ln w="10033">
                  <a:solidFill>
                    <a:srgbClr val="1B90FF">
                      <a:alpha val="50000"/>
                    </a:srgb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D154B971-C61E-CC80-00C0-15B06A1E63AF}"/>
                    </a:ext>
                  </a:extLst>
                </p:cNvPr>
                <p:cNvCxnSpPr>
                  <a:cxnSpLocks/>
                </p:cNvCxnSpPr>
                <p:nvPr/>
              </p:nvCxnSpPr>
              <p:spPr>
                <a:xfrm>
                  <a:off x="7709149" y="3003510"/>
                  <a:ext cx="0" cy="2234608"/>
                </a:xfrm>
                <a:prstGeom prst="line">
                  <a:avLst/>
                </a:prstGeom>
                <a:ln w="10033">
                  <a:solidFill>
                    <a:srgbClr val="1B90FF">
                      <a:alpha val="50000"/>
                    </a:srgb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C32E6D49-3E4C-9A85-32D6-4F3D986FE3C6}"/>
                    </a:ext>
                  </a:extLst>
                </p:cNvPr>
                <p:cNvCxnSpPr>
                  <a:cxnSpLocks/>
                </p:cNvCxnSpPr>
                <p:nvPr/>
              </p:nvCxnSpPr>
              <p:spPr>
                <a:xfrm>
                  <a:off x="7861003" y="3003510"/>
                  <a:ext cx="0" cy="2234608"/>
                </a:xfrm>
                <a:prstGeom prst="line">
                  <a:avLst/>
                </a:prstGeom>
                <a:ln w="10033">
                  <a:solidFill>
                    <a:srgbClr val="1B90FF">
                      <a:alpha val="50000"/>
                    </a:srgb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1C8496F9-E106-67A9-6802-56C2F13844B6}"/>
                    </a:ext>
                  </a:extLst>
                </p:cNvPr>
                <p:cNvCxnSpPr>
                  <a:cxnSpLocks/>
                </p:cNvCxnSpPr>
                <p:nvPr/>
              </p:nvCxnSpPr>
              <p:spPr>
                <a:xfrm>
                  <a:off x="5659120" y="3003510"/>
                  <a:ext cx="0" cy="2234608"/>
                </a:xfrm>
                <a:prstGeom prst="line">
                  <a:avLst/>
                </a:prstGeom>
                <a:ln w="10033">
                  <a:solidFill>
                    <a:srgbClr val="1B90FF">
                      <a:alpha val="50000"/>
                    </a:srgb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A88E276E-8C9F-0E99-A69C-4FDA29D9183D}"/>
                    </a:ext>
                  </a:extLst>
                </p:cNvPr>
                <p:cNvCxnSpPr>
                  <a:cxnSpLocks/>
                </p:cNvCxnSpPr>
                <p:nvPr/>
              </p:nvCxnSpPr>
              <p:spPr>
                <a:xfrm>
                  <a:off x="5810974" y="3003510"/>
                  <a:ext cx="0" cy="2234608"/>
                </a:xfrm>
                <a:prstGeom prst="line">
                  <a:avLst/>
                </a:prstGeom>
                <a:ln w="10033">
                  <a:solidFill>
                    <a:srgbClr val="1B90FF">
                      <a:alpha val="50000"/>
                    </a:srgb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27992C65-6BD0-F643-BBD8-F4B1DB5A8AB7}"/>
                    </a:ext>
                  </a:extLst>
                </p:cNvPr>
                <p:cNvCxnSpPr>
                  <a:cxnSpLocks/>
                </p:cNvCxnSpPr>
                <p:nvPr/>
              </p:nvCxnSpPr>
              <p:spPr>
                <a:xfrm>
                  <a:off x="5962828" y="3003510"/>
                  <a:ext cx="0" cy="2234608"/>
                </a:xfrm>
                <a:prstGeom prst="line">
                  <a:avLst/>
                </a:prstGeom>
                <a:ln w="10033">
                  <a:solidFill>
                    <a:srgbClr val="1B90FF">
                      <a:alpha val="50000"/>
                    </a:srgb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F2D35198-F943-8A70-9DE0-53C8BC4609E1}"/>
                    </a:ext>
                  </a:extLst>
                </p:cNvPr>
                <p:cNvCxnSpPr>
                  <a:cxnSpLocks/>
                </p:cNvCxnSpPr>
                <p:nvPr/>
              </p:nvCxnSpPr>
              <p:spPr>
                <a:xfrm>
                  <a:off x="6114682" y="3003510"/>
                  <a:ext cx="0" cy="2234608"/>
                </a:xfrm>
                <a:prstGeom prst="line">
                  <a:avLst/>
                </a:prstGeom>
                <a:ln w="10033">
                  <a:solidFill>
                    <a:srgbClr val="1B90FF">
                      <a:alpha val="50000"/>
                    </a:srgb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6CBFA73C-288C-1265-F259-109DD573E7E2}"/>
                    </a:ext>
                  </a:extLst>
                </p:cNvPr>
                <p:cNvCxnSpPr>
                  <a:cxnSpLocks/>
                </p:cNvCxnSpPr>
                <p:nvPr/>
              </p:nvCxnSpPr>
              <p:spPr>
                <a:xfrm>
                  <a:off x="6266536" y="3003510"/>
                  <a:ext cx="0" cy="2234608"/>
                </a:xfrm>
                <a:prstGeom prst="line">
                  <a:avLst/>
                </a:prstGeom>
                <a:ln w="10033">
                  <a:solidFill>
                    <a:srgbClr val="1B90FF">
                      <a:alpha val="50000"/>
                    </a:srgb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FC61A4AA-6D0D-A7FD-13E1-79B3D9C2B63A}"/>
                    </a:ext>
                  </a:extLst>
                </p:cNvPr>
                <p:cNvCxnSpPr>
                  <a:cxnSpLocks/>
                </p:cNvCxnSpPr>
                <p:nvPr/>
              </p:nvCxnSpPr>
              <p:spPr>
                <a:xfrm>
                  <a:off x="6418390" y="3003510"/>
                  <a:ext cx="0" cy="2234608"/>
                </a:xfrm>
                <a:prstGeom prst="line">
                  <a:avLst/>
                </a:prstGeom>
                <a:ln w="10033">
                  <a:solidFill>
                    <a:srgbClr val="1B90FF">
                      <a:alpha val="50000"/>
                    </a:srgb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A8A17812-BC8A-EB9D-26C0-DD7C940407A0}"/>
                    </a:ext>
                  </a:extLst>
                </p:cNvPr>
                <p:cNvCxnSpPr>
                  <a:cxnSpLocks/>
                </p:cNvCxnSpPr>
                <p:nvPr/>
              </p:nvCxnSpPr>
              <p:spPr>
                <a:xfrm>
                  <a:off x="6570244" y="3003510"/>
                  <a:ext cx="0" cy="2234608"/>
                </a:xfrm>
                <a:prstGeom prst="line">
                  <a:avLst/>
                </a:prstGeom>
                <a:ln w="10033">
                  <a:solidFill>
                    <a:srgbClr val="1B90FF">
                      <a:alpha val="50000"/>
                    </a:srgb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62D9714E-BD66-4D23-CE5E-2CBED1AA4AFF}"/>
                    </a:ext>
                  </a:extLst>
                </p:cNvPr>
                <p:cNvCxnSpPr>
                  <a:cxnSpLocks/>
                </p:cNvCxnSpPr>
                <p:nvPr/>
              </p:nvCxnSpPr>
              <p:spPr>
                <a:xfrm>
                  <a:off x="6722098" y="3003510"/>
                  <a:ext cx="0" cy="2234608"/>
                </a:xfrm>
                <a:prstGeom prst="line">
                  <a:avLst/>
                </a:prstGeom>
                <a:ln w="10033">
                  <a:solidFill>
                    <a:srgbClr val="1B90FF">
                      <a:alpha val="50000"/>
                    </a:srgb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5594C134-922B-BAC9-52E0-2F8CA308CDFB}"/>
                    </a:ext>
                  </a:extLst>
                </p:cNvPr>
                <p:cNvCxnSpPr>
                  <a:cxnSpLocks/>
                </p:cNvCxnSpPr>
                <p:nvPr/>
              </p:nvCxnSpPr>
              <p:spPr>
                <a:xfrm>
                  <a:off x="6873952" y="3003510"/>
                  <a:ext cx="0" cy="2234608"/>
                </a:xfrm>
                <a:prstGeom prst="line">
                  <a:avLst/>
                </a:prstGeom>
                <a:ln w="10033">
                  <a:solidFill>
                    <a:srgbClr val="1B90FF">
                      <a:alpha val="50000"/>
                    </a:srgb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3DA4F8F1-6D91-80DD-7CDF-2C061FA85361}"/>
                    </a:ext>
                  </a:extLst>
                </p:cNvPr>
                <p:cNvCxnSpPr>
                  <a:cxnSpLocks/>
                </p:cNvCxnSpPr>
                <p:nvPr/>
              </p:nvCxnSpPr>
              <p:spPr>
                <a:xfrm>
                  <a:off x="7025806" y="3003510"/>
                  <a:ext cx="0" cy="2234608"/>
                </a:xfrm>
                <a:prstGeom prst="line">
                  <a:avLst/>
                </a:prstGeom>
                <a:ln w="10033">
                  <a:solidFill>
                    <a:srgbClr val="1B90FF">
                      <a:alpha val="50000"/>
                    </a:srgb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855CE905-5930-ED45-5F55-02EA29DFA90D}"/>
                    </a:ext>
                  </a:extLst>
                </p:cNvPr>
                <p:cNvCxnSpPr>
                  <a:cxnSpLocks/>
                </p:cNvCxnSpPr>
                <p:nvPr/>
              </p:nvCxnSpPr>
              <p:spPr>
                <a:xfrm>
                  <a:off x="7177660" y="3003510"/>
                  <a:ext cx="0" cy="2234608"/>
                </a:xfrm>
                <a:prstGeom prst="line">
                  <a:avLst/>
                </a:prstGeom>
                <a:ln w="10033">
                  <a:solidFill>
                    <a:srgbClr val="1B90FF">
                      <a:alpha val="50000"/>
                    </a:srgb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DEBFD7EA-9FFA-403F-2660-8ED88383289A}"/>
                    </a:ext>
                  </a:extLst>
                </p:cNvPr>
                <p:cNvCxnSpPr>
                  <a:cxnSpLocks/>
                </p:cNvCxnSpPr>
                <p:nvPr/>
              </p:nvCxnSpPr>
              <p:spPr>
                <a:xfrm>
                  <a:off x="7329514" y="3003510"/>
                  <a:ext cx="0" cy="2234608"/>
                </a:xfrm>
                <a:prstGeom prst="line">
                  <a:avLst/>
                </a:prstGeom>
                <a:ln w="10033">
                  <a:solidFill>
                    <a:srgbClr val="1B90FF">
                      <a:alpha val="50000"/>
                    </a:srgb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4D1F908A-FF80-3124-40E3-EE6BC7611291}"/>
                    </a:ext>
                  </a:extLst>
                </p:cNvPr>
                <p:cNvCxnSpPr>
                  <a:cxnSpLocks/>
                </p:cNvCxnSpPr>
                <p:nvPr/>
              </p:nvCxnSpPr>
              <p:spPr>
                <a:xfrm>
                  <a:off x="7481368" y="3003510"/>
                  <a:ext cx="0" cy="2234608"/>
                </a:xfrm>
                <a:prstGeom prst="line">
                  <a:avLst/>
                </a:prstGeom>
                <a:ln w="10033">
                  <a:solidFill>
                    <a:srgbClr val="1B90FF">
                      <a:alpha val="50000"/>
                    </a:srgb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4CDBDEFC-A62E-0C84-5363-7FF670D23C5C}"/>
                    </a:ext>
                  </a:extLst>
                </p:cNvPr>
                <p:cNvCxnSpPr>
                  <a:cxnSpLocks/>
                </p:cNvCxnSpPr>
                <p:nvPr/>
              </p:nvCxnSpPr>
              <p:spPr>
                <a:xfrm>
                  <a:off x="7633222" y="3003510"/>
                  <a:ext cx="0" cy="2234608"/>
                </a:xfrm>
                <a:prstGeom prst="line">
                  <a:avLst/>
                </a:prstGeom>
                <a:ln w="10033">
                  <a:solidFill>
                    <a:srgbClr val="1B90FF">
                      <a:alpha val="50000"/>
                    </a:srgb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225F7C26-8ED4-D205-967B-A580D65F5720}"/>
                    </a:ext>
                  </a:extLst>
                </p:cNvPr>
                <p:cNvCxnSpPr>
                  <a:cxnSpLocks/>
                </p:cNvCxnSpPr>
                <p:nvPr/>
              </p:nvCxnSpPr>
              <p:spPr>
                <a:xfrm>
                  <a:off x="7785076" y="3003510"/>
                  <a:ext cx="0" cy="2234608"/>
                </a:xfrm>
                <a:prstGeom prst="line">
                  <a:avLst/>
                </a:prstGeom>
                <a:ln w="10033">
                  <a:solidFill>
                    <a:srgbClr val="1B90FF">
                      <a:alpha val="50000"/>
                    </a:srgb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715F2FFD-45A4-9E3C-7876-22FD04A00039}"/>
                    </a:ext>
                  </a:extLst>
                </p:cNvPr>
                <p:cNvCxnSpPr>
                  <a:cxnSpLocks/>
                </p:cNvCxnSpPr>
                <p:nvPr/>
              </p:nvCxnSpPr>
              <p:spPr>
                <a:xfrm>
                  <a:off x="7936930" y="3003510"/>
                  <a:ext cx="0" cy="2234608"/>
                </a:xfrm>
                <a:prstGeom prst="line">
                  <a:avLst/>
                </a:prstGeom>
                <a:ln w="10033">
                  <a:solidFill>
                    <a:srgbClr val="1B90FF">
                      <a:alpha val="50000"/>
                    </a:srgb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8" name="Group 7">
                <a:extLst>
                  <a:ext uri="{FF2B5EF4-FFF2-40B4-BE49-F238E27FC236}">
                    <a16:creationId xmlns:a16="http://schemas.microsoft.com/office/drawing/2014/main" id="{6B70394A-A104-8119-4FAD-DA86B4BC0E80}"/>
                  </a:ext>
                </a:extLst>
              </p:cNvPr>
              <p:cNvGrpSpPr/>
              <p:nvPr/>
            </p:nvGrpSpPr>
            <p:grpSpPr>
              <a:xfrm>
                <a:off x="2816515" y="2301014"/>
                <a:ext cx="3187563" cy="2983644"/>
                <a:chOff x="5274637" y="3403741"/>
                <a:chExt cx="3153670" cy="2120981"/>
              </a:xfrm>
            </p:grpSpPr>
            <p:cxnSp>
              <p:nvCxnSpPr>
                <p:cNvPr id="9" name="Straight Connector 8">
                  <a:extLst>
                    <a:ext uri="{FF2B5EF4-FFF2-40B4-BE49-F238E27FC236}">
                      <a16:creationId xmlns:a16="http://schemas.microsoft.com/office/drawing/2014/main" id="{C0E93997-B330-6EBA-8D12-C07CBCE16728}"/>
                    </a:ext>
                  </a:extLst>
                </p:cNvPr>
                <p:cNvCxnSpPr>
                  <a:cxnSpLocks/>
                </p:cNvCxnSpPr>
                <p:nvPr/>
              </p:nvCxnSpPr>
              <p:spPr>
                <a:xfrm flipV="1">
                  <a:off x="5274637" y="3479490"/>
                  <a:ext cx="3153670" cy="0"/>
                </a:xfrm>
                <a:prstGeom prst="line">
                  <a:avLst/>
                </a:prstGeom>
                <a:ln w="10033">
                  <a:solidFill>
                    <a:schemeClr val="tx2">
                      <a:alpha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7B5E6AAD-6F93-A3BA-736F-B7E7D8030FE9}"/>
                    </a:ext>
                  </a:extLst>
                </p:cNvPr>
                <p:cNvCxnSpPr>
                  <a:cxnSpLocks/>
                </p:cNvCxnSpPr>
                <p:nvPr/>
              </p:nvCxnSpPr>
              <p:spPr>
                <a:xfrm flipV="1">
                  <a:off x="5274637" y="3630988"/>
                  <a:ext cx="3153670" cy="0"/>
                </a:xfrm>
                <a:prstGeom prst="line">
                  <a:avLst/>
                </a:prstGeom>
                <a:ln w="10033">
                  <a:solidFill>
                    <a:schemeClr val="tx2">
                      <a:alpha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F884943A-EE0E-FBE6-C816-7BDEC4047CEC}"/>
                    </a:ext>
                  </a:extLst>
                </p:cNvPr>
                <p:cNvCxnSpPr>
                  <a:cxnSpLocks/>
                </p:cNvCxnSpPr>
                <p:nvPr/>
              </p:nvCxnSpPr>
              <p:spPr>
                <a:xfrm flipV="1">
                  <a:off x="5274637" y="3782486"/>
                  <a:ext cx="3153670" cy="0"/>
                </a:xfrm>
                <a:prstGeom prst="line">
                  <a:avLst/>
                </a:prstGeom>
                <a:ln w="10033">
                  <a:solidFill>
                    <a:schemeClr val="tx2">
                      <a:alpha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1974BA7D-A028-7C91-17A3-B37F89E950D5}"/>
                    </a:ext>
                  </a:extLst>
                </p:cNvPr>
                <p:cNvCxnSpPr>
                  <a:cxnSpLocks/>
                </p:cNvCxnSpPr>
                <p:nvPr/>
              </p:nvCxnSpPr>
              <p:spPr>
                <a:xfrm flipV="1">
                  <a:off x="5274637" y="3933984"/>
                  <a:ext cx="3153670" cy="0"/>
                </a:xfrm>
                <a:prstGeom prst="line">
                  <a:avLst/>
                </a:prstGeom>
                <a:ln w="10033">
                  <a:solidFill>
                    <a:schemeClr val="tx2">
                      <a:alpha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0DF9E9F8-A049-7308-C700-C871C337F7FB}"/>
                    </a:ext>
                  </a:extLst>
                </p:cNvPr>
                <p:cNvCxnSpPr>
                  <a:cxnSpLocks/>
                </p:cNvCxnSpPr>
                <p:nvPr/>
              </p:nvCxnSpPr>
              <p:spPr>
                <a:xfrm flipV="1">
                  <a:off x="5274637" y="4085482"/>
                  <a:ext cx="3153670" cy="0"/>
                </a:xfrm>
                <a:prstGeom prst="line">
                  <a:avLst/>
                </a:prstGeom>
                <a:ln w="10033">
                  <a:solidFill>
                    <a:schemeClr val="tx2">
                      <a:alpha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9F623BCA-D817-5CEE-0E25-7DBB89731901}"/>
                    </a:ext>
                  </a:extLst>
                </p:cNvPr>
                <p:cNvCxnSpPr>
                  <a:cxnSpLocks/>
                </p:cNvCxnSpPr>
                <p:nvPr/>
              </p:nvCxnSpPr>
              <p:spPr>
                <a:xfrm flipV="1">
                  <a:off x="5274637" y="4236980"/>
                  <a:ext cx="3153670" cy="0"/>
                </a:xfrm>
                <a:prstGeom prst="line">
                  <a:avLst/>
                </a:prstGeom>
                <a:ln w="10033">
                  <a:solidFill>
                    <a:schemeClr val="tx2">
                      <a:alpha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0CADB5EF-52A0-F1E3-21E7-268C2CA8E35B}"/>
                    </a:ext>
                  </a:extLst>
                </p:cNvPr>
                <p:cNvCxnSpPr>
                  <a:cxnSpLocks/>
                </p:cNvCxnSpPr>
                <p:nvPr/>
              </p:nvCxnSpPr>
              <p:spPr>
                <a:xfrm flipV="1">
                  <a:off x="5274637" y="4388478"/>
                  <a:ext cx="3153670" cy="0"/>
                </a:xfrm>
                <a:prstGeom prst="line">
                  <a:avLst/>
                </a:prstGeom>
                <a:ln w="10033">
                  <a:solidFill>
                    <a:schemeClr val="tx2">
                      <a:alpha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87E57736-61A7-278F-60AB-A53D46D77A6A}"/>
                    </a:ext>
                  </a:extLst>
                </p:cNvPr>
                <p:cNvCxnSpPr>
                  <a:cxnSpLocks/>
                </p:cNvCxnSpPr>
                <p:nvPr/>
              </p:nvCxnSpPr>
              <p:spPr>
                <a:xfrm flipV="1">
                  <a:off x="5274637" y="4539976"/>
                  <a:ext cx="3153670" cy="0"/>
                </a:xfrm>
                <a:prstGeom prst="line">
                  <a:avLst/>
                </a:prstGeom>
                <a:ln w="10033">
                  <a:solidFill>
                    <a:schemeClr val="tx2">
                      <a:alpha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06E243E-5A5F-10C1-69A8-ED88F8489ACE}"/>
                    </a:ext>
                  </a:extLst>
                </p:cNvPr>
                <p:cNvCxnSpPr>
                  <a:cxnSpLocks/>
                </p:cNvCxnSpPr>
                <p:nvPr/>
              </p:nvCxnSpPr>
              <p:spPr>
                <a:xfrm flipV="1">
                  <a:off x="5274637" y="4691474"/>
                  <a:ext cx="3153670" cy="0"/>
                </a:xfrm>
                <a:prstGeom prst="line">
                  <a:avLst/>
                </a:prstGeom>
                <a:ln w="10033">
                  <a:solidFill>
                    <a:schemeClr val="tx2">
                      <a:alpha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C07A4956-D388-0E57-6B74-55271F9463FC}"/>
                    </a:ext>
                  </a:extLst>
                </p:cNvPr>
                <p:cNvCxnSpPr>
                  <a:cxnSpLocks/>
                </p:cNvCxnSpPr>
                <p:nvPr/>
              </p:nvCxnSpPr>
              <p:spPr>
                <a:xfrm flipV="1">
                  <a:off x="5274637" y="4842972"/>
                  <a:ext cx="3153670" cy="0"/>
                </a:xfrm>
                <a:prstGeom prst="line">
                  <a:avLst/>
                </a:prstGeom>
                <a:ln w="10033">
                  <a:solidFill>
                    <a:schemeClr val="tx2">
                      <a:alpha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BFCE90F8-0A16-F466-414C-39A876CC35E5}"/>
                    </a:ext>
                  </a:extLst>
                </p:cNvPr>
                <p:cNvCxnSpPr>
                  <a:cxnSpLocks/>
                </p:cNvCxnSpPr>
                <p:nvPr/>
              </p:nvCxnSpPr>
              <p:spPr>
                <a:xfrm flipV="1">
                  <a:off x="5274637" y="4994470"/>
                  <a:ext cx="3153670" cy="0"/>
                </a:xfrm>
                <a:prstGeom prst="line">
                  <a:avLst/>
                </a:prstGeom>
                <a:ln w="10033">
                  <a:solidFill>
                    <a:schemeClr val="tx2">
                      <a:alpha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F34DBAEF-BBCB-C10E-5086-366E2D7A3BE7}"/>
                    </a:ext>
                  </a:extLst>
                </p:cNvPr>
                <p:cNvCxnSpPr>
                  <a:cxnSpLocks/>
                </p:cNvCxnSpPr>
                <p:nvPr/>
              </p:nvCxnSpPr>
              <p:spPr>
                <a:xfrm flipV="1">
                  <a:off x="5274637" y="5145968"/>
                  <a:ext cx="3153670" cy="0"/>
                </a:xfrm>
                <a:prstGeom prst="line">
                  <a:avLst/>
                </a:prstGeom>
                <a:ln w="10033">
                  <a:solidFill>
                    <a:schemeClr val="tx2">
                      <a:alpha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61A5F9BB-8633-B8E7-58EF-80D6D50B2782}"/>
                    </a:ext>
                  </a:extLst>
                </p:cNvPr>
                <p:cNvCxnSpPr>
                  <a:cxnSpLocks/>
                </p:cNvCxnSpPr>
                <p:nvPr/>
              </p:nvCxnSpPr>
              <p:spPr>
                <a:xfrm flipV="1">
                  <a:off x="5274637" y="5297466"/>
                  <a:ext cx="3153670" cy="0"/>
                </a:xfrm>
                <a:prstGeom prst="line">
                  <a:avLst/>
                </a:prstGeom>
                <a:ln w="10033">
                  <a:solidFill>
                    <a:schemeClr val="tx2">
                      <a:alpha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49A135E3-4743-DE62-131B-933678F6F832}"/>
                    </a:ext>
                  </a:extLst>
                </p:cNvPr>
                <p:cNvCxnSpPr>
                  <a:cxnSpLocks/>
                </p:cNvCxnSpPr>
                <p:nvPr/>
              </p:nvCxnSpPr>
              <p:spPr>
                <a:xfrm flipV="1">
                  <a:off x="5274637" y="5448964"/>
                  <a:ext cx="3153670" cy="0"/>
                </a:xfrm>
                <a:prstGeom prst="line">
                  <a:avLst/>
                </a:prstGeom>
                <a:ln w="10033">
                  <a:solidFill>
                    <a:schemeClr val="tx2">
                      <a:alpha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80727D21-22F3-5F2D-C8D9-C85365D58494}"/>
                    </a:ext>
                  </a:extLst>
                </p:cNvPr>
                <p:cNvCxnSpPr>
                  <a:cxnSpLocks/>
                </p:cNvCxnSpPr>
                <p:nvPr/>
              </p:nvCxnSpPr>
              <p:spPr>
                <a:xfrm flipV="1">
                  <a:off x="5274637" y="3403741"/>
                  <a:ext cx="3153670" cy="0"/>
                </a:xfrm>
                <a:prstGeom prst="line">
                  <a:avLst/>
                </a:prstGeom>
                <a:ln w="10033">
                  <a:solidFill>
                    <a:schemeClr val="tx2">
                      <a:alpha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5984EFF2-334F-A5C3-34F9-506D29EB77B8}"/>
                    </a:ext>
                  </a:extLst>
                </p:cNvPr>
                <p:cNvCxnSpPr>
                  <a:cxnSpLocks/>
                </p:cNvCxnSpPr>
                <p:nvPr/>
              </p:nvCxnSpPr>
              <p:spPr>
                <a:xfrm flipV="1">
                  <a:off x="5274637" y="3555239"/>
                  <a:ext cx="3153670" cy="0"/>
                </a:xfrm>
                <a:prstGeom prst="line">
                  <a:avLst/>
                </a:prstGeom>
                <a:ln w="10033">
                  <a:solidFill>
                    <a:schemeClr val="tx2">
                      <a:alpha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5888AE8C-41BF-04BA-9059-0DCE1C82381F}"/>
                    </a:ext>
                  </a:extLst>
                </p:cNvPr>
                <p:cNvCxnSpPr>
                  <a:cxnSpLocks/>
                </p:cNvCxnSpPr>
                <p:nvPr/>
              </p:nvCxnSpPr>
              <p:spPr>
                <a:xfrm flipV="1">
                  <a:off x="5274637" y="3706737"/>
                  <a:ext cx="3153670" cy="0"/>
                </a:xfrm>
                <a:prstGeom prst="line">
                  <a:avLst/>
                </a:prstGeom>
                <a:ln w="10033">
                  <a:solidFill>
                    <a:schemeClr val="tx2">
                      <a:alpha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CEDC7B00-521B-6AF2-1B3F-1709BDEADCC6}"/>
                    </a:ext>
                  </a:extLst>
                </p:cNvPr>
                <p:cNvCxnSpPr>
                  <a:cxnSpLocks/>
                </p:cNvCxnSpPr>
                <p:nvPr/>
              </p:nvCxnSpPr>
              <p:spPr>
                <a:xfrm flipV="1">
                  <a:off x="5274637" y="3858235"/>
                  <a:ext cx="3153670" cy="0"/>
                </a:xfrm>
                <a:prstGeom prst="line">
                  <a:avLst/>
                </a:prstGeom>
                <a:ln w="10033">
                  <a:solidFill>
                    <a:schemeClr val="tx2">
                      <a:alpha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0CA2C6E4-743D-9A43-F80D-6C4703391378}"/>
                    </a:ext>
                  </a:extLst>
                </p:cNvPr>
                <p:cNvCxnSpPr>
                  <a:cxnSpLocks/>
                </p:cNvCxnSpPr>
                <p:nvPr/>
              </p:nvCxnSpPr>
              <p:spPr>
                <a:xfrm flipV="1">
                  <a:off x="5274637" y="4009733"/>
                  <a:ext cx="3153670" cy="0"/>
                </a:xfrm>
                <a:prstGeom prst="line">
                  <a:avLst/>
                </a:prstGeom>
                <a:ln w="10033">
                  <a:solidFill>
                    <a:schemeClr val="tx2">
                      <a:alpha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BADB3E37-4CF5-5C00-F2E0-ED161A3A7133}"/>
                    </a:ext>
                  </a:extLst>
                </p:cNvPr>
                <p:cNvCxnSpPr>
                  <a:cxnSpLocks/>
                </p:cNvCxnSpPr>
                <p:nvPr/>
              </p:nvCxnSpPr>
              <p:spPr>
                <a:xfrm flipV="1">
                  <a:off x="5274637" y="4161231"/>
                  <a:ext cx="3153670" cy="0"/>
                </a:xfrm>
                <a:prstGeom prst="line">
                  <a:avLst/>
                </a:prstGeom>
                <a:ln w="10033">
                  <a:solidFill>
                    <a:schemeClr val="tx2">
                      <a:alpha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DA3CC5EF-3010-D595-E6FA-9359AE7C4439}"/>
                    </a:ext>
                  </a:extLst>
                </p:cNvPr>
                <p:cNvCxnSpPr>
                  <a:cxnSpLocks/>
                </p:cNvCxnSpPr>
                <p:nvPr/>
              </p:nvCxnSpPr>
              <p:spPr>
                <a:xfrm flipV="1">
                  <a:off x="5274637" y="4312729"/>
                  <a:ext cx="3153670" cy="0"/>
                </a:xfrm>
                <a:prstGeom prst="line">
                  <a:avLst/>
                </a:prstGeom>
                <a:ln w="10033">
                  <a:solidFill>
                    <a:schemeClr val="tx2">
                      <a:alpha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716221BF-28E4-E438-104B-FBB482BC50C5}"/>
                    </a:ext>
                  </a:extLst>
                </p:cNvPr>
                <p:cNvCxnSpPr>
                  <a:cxnSpLocks/>
                </p:cNvCxnSpPr>
                <p:nvPr/>
              </p:nvCxnSpPr>
              <p:spPr>
                <a:xfrm flipV="1">
                  <a:off x="5274637" y="4464227"/>
                  <a:ext cx="3153670" cy="0"/>
                </a:xfrm>
                <a:prstGeom prst="line">
                  <a:avLst/>
                </a:prstGeom>
                <a:ln w="10033">
                  <a:solidFill>
                    <a:schemeClr val="tx2">
                      <a:alpha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AADFFF1D-3F4B-C3F7-F0D0-3D4FF1BD346C}"/>
                    </a:ext>
                  </a:extLst>
                </p:cNvPr>
                <p:cNvCxnSpPr>
                  <a:cxnSpLocks/>
                </p:cNvCxnSpPr>
                <p:nvPr/>
              </p:nvCxnSpPr>
              <p:spPr>
                <a:xfrm flipV="1">
                  <a:off x="5274637" y="4615725"/>
                  <a:ext cx="3153670" cy="0"/>
                </a:xfrm>
                <a:prstGeom prst="line">
                  <a:avLst/>
                </a:prstGeom>
                <a:ln w="10033">
                  <a:solidFill>
                    <a:schemeClr val="tx2">
                      <a:alpha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1FFF5B56-6E11-2531-B13C-195ACB4D80FB}"/>
                    </a:ext>
                  </a:extLst>
                </p:cNvPr>
                <p:cNvCxnSpPr>
                  <a:cxnSpLocks/>
                </p:cNvCxnSpPr>
                <p:nvPr/>
              </p:nvCxnSpPr>
              <p:spPr>
                <a:xfrm flipV="1">
                  <a:off x="5274637" y="4767223"/>
                  <a:ext cx="3153670" cy="0"/>
                </a:xfrm>
                <a:prstGeom prst="line">
                  <a:avLst/>
                </a:prstGeom>
                <a:ln w="10033">
                  <a:solidFill>
                    <a:schemeClr val="tx2">
                      <a:alpha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DC79A097-9C12-C45E-24F1-57F7FC61D23D}"/>
                    </a:ext>
                  </a:extLst>
                </p:cNvPr>
                <p:cNvCxnSpPr>
                  <a:cxnSpLocks/>
                </p:cNvCxnSpPr>
                <p:nvPr/>
              </p:nvCxnSpPr>
              <p:spPr>
                <a:xfrm flipV="1">
                  <a:off x="5274637" y="4918721"/>
                  <a:ext cx="3153670" cy="0"/>
                </a:xfrm>
                <a:prstGeom prst="line">
                  <a:avLst/>
                </a:prstGeom>
                <a:ln w="10033">
                  <a:solidFill>
                    <a:schemeClr val="tx2">
                      <a:alpha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EC1EED00-BAAA-E24D-4059-E0202661B7C1}"/>
                    </a:ext>
                  </a:extLst>
                </p:cNvPr>
                <p:cNvCxnSpPr>
                  <a:cxnSpLocks/>
                </p:cNvCxnSpPr>
                <p:nvPr/>
              </p:nvCxnSpPr>
              <p:spPr>
                <a:xfrm flipV="1">
                  <a:off x="5274637" y="5070219"/>
                  <a:ext cx="3153670" cy="0"/>
                </a:xfrm>
                <a:prstGeom prst="line">
                  <a:avLst/>
                </a:prstGeom>
                <a:ln w="10033">
                  <a:solidFill>
                    <a:schemeClr val="tx2">
                      <a:alpha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7AA81D8F-7B2F-1E33-C8BC-F11F1F395CAB}"/>
                    </a:ext>
                  </a:extLst>
                </p:cNvPr>
                <p:cNvCxnSpPr>
                  <a:cxnSpLocks/>
                </p:cNvCxnSpPr>
                <p:nvPr/>
              </p:nvCxnSpPr>
              <p:spPr>
                <a:xfrm flipV="1">
                  <a:off x="5274637" y="5221717"/>
                  <a:ext cx="3153670" cy="0"/>
                </a:xfrm>
                <a:prstGeom prst="line">
                  <a:avLst/>
                </a:prstGeom>
                <a:ln w="10033">
                  <a:solidFill>
                    <a:schemeClr val="tx2">
                      <a:alpha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63609A21-29C6-3FD7-2E0E-EC67E0FE071C}"/>
                    </a:ext>
                  </a:extLst>
                </p:cNvPr>
                <p:cNvCxnSpPr>
                  <a:cxnSpLocks/>
                </p:cNvCxnSpPr>
                <p:nvPr/>
              </p:nvCxnSpPr>
              <p:spPr>
                <a:xfrm flipV="1">
                  <a:off x="5274637" y="5373215"/>
                  <a:ext cx="3153670" cy="0"/>
                </a:xfrm>
                <a:prstGeom prst="line">
                  <a:avLst/>
                </a:prstGeom>
                <a:ln w="10033">
                  <a:solidFill>
                    <a:schemeClr val="tx2">
                      <a:alpha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1E8F7A7F-B810-B54E-8D08-73A6CBB8789C}"/>
                    </a:ext>
                  </a:extLst>
                </p:cNvPr>
                <p:cNvCxnSpPr>
                  <a:cxnSpLocks/>
                </p:cNvCxnSpPr>
                <p:nvPr/>
              </p:nvCxnSpPr>
              <p:spPr>
                <a:xfrm flipV="1">
                  <a:off x="5274637" y="5524722"/>
                  <a:ext cx="3153670" cy="0"/>
                </a:xfrm>
                <a:prstGeom prst="line">
                  <a:avLst/>
                </a:prstGeom>
                <a:ln w="10033">
                  <a:solidFill>
                    <a:schemeClr val="tx2">
                      <a:alpha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sp>
          <p:nvSpPr>
            <p:cNvPr id="6" name="Rectangle 5">
              <a:extLst>
                <a:ext uri="{FF2B5EF4-FFF2-40B4-BE49-F238E27FC236}">
                  <a16:creationId xmlns:a16="http://schemas.microsoft.com/office/drawing/2014/main" id="{411AECBB-0477-6EED-F924-DBEB4125CAE2}"/>
                </a:ext>
              </a:extLst>
            </p:cNvPr>
            <p:cNvSpPr/>
            <p:nvPr/>
          </p:nvSpPr>
          <p:spPr>
            <a:xfrm>
              <a:off x="3871803" y="2726645"/>
              <a:ext cx="1062308" cy="430887"/>
            </a:xfrm>
            <a:prstGeom prst="rect">
              <a:avLst/>
            </a:prstGeom>
            <a:solidFill>
              <a:schemeClr val="bg1"/>
            </a:solidFill>
            <a:ln>
              <a:solidFill>
                <a:schemeClr val="tx2"/>
              </a:solidFill>
            </a:ln>
          </p:spPr>
          <p:txBody>
            <a:bodyPr wrap="square">
              <a:spAutoFit/>
            </a:bodyPr>
            <a:lstStyle/>
            <a:p>
              <a:pPr algn="ctr" defTabSz="818904">
                <a:defRPr/>
              </a:pPr>
              <a:r>
                <a:rPr lang="en-US" sz="1100" b="1">
                  <a:solidFill>
                    <a:schemeClr val="tx2"/>
                  </a:solidFill>
                  <a:latin typeface="72 Brand" panose="020B0504030603020204" pitchFamily="34" charset="0"/>
                  <a:ea typeface="Gill Sans"/>
                  <a:cs typeface="72" panose="020B0503030000000003" pitchFamily="34" charset="0"/>
                  <a:sym typeface="Gill Sans"/>
                </a:rPr>
                <a:t>Advanced</a:t>
              </a:r>
              <a:br>
                <a:rPr lang="en-US" sz="1100" b="1">
                  <a:solidFill>
                    <a:schemeClr val="tx2"/>
                  </a:solidFill>
                  <a:latin typeface="72 Brand" panose="020B0504030603020204" pitchFamily="34" charset="0"/>
                  <a:ea typeface="Gill Sans"/>
                  <a:cs typeface="72" panose="020B0503030000000003" pitchFamily="34" charset="0"/>
                  <a:sym typeface="Gill Sans"/>
                </a:rPr>
              </a:br>
              <a:r>
                <a:rPr lang="en-US" sz="1100" b="1">
                  <a:solidFill>
                    <a:schemeClr val="tx2"/>
                  </a:solidFill>
                  <a:latin typeface="72 Brand" panose="020B0504030603020204" pitchFamily="34" charset="0"/>
                  <a:ea typeface="Gill Sans"/>
                  <a:cs typeface="72" panose="020B0503030000000003" pitchFamily="34" charset="0"/>
                  <a:sym typeface="Gill Sans"/>
                </a:rPr>
                <a:t>event mesh</a:t>
              </a:r>
            </a:p>
          </p:txBody>
        </p:sp>
      </p:grpSp>
      <p:cxnSp>
        <p:nvCxnSpPr>
          <p:cNvPr id="69" name="Straight Connector 1659">
            <a:extLst>
              <a:ext uri="{FF2B5EF4-FFF2-40B4-BE49-F238E27FC236}">
                <a16:creationId xmlns:a16="http://schemas.microsoft.com/office/drawing/2014/main" id="{CB4084B9-682C-0F2B-E50A-BA49917AEC61}"/>
              </a:ext>
            </a:extLst>
          </p:cNvPr>
          <p:cNvCxnSpPr>
            <a:cxnSpLocks/>
          </p:cNvCxnSpPr>
          <p:nvPr/>
        </p:nvCxnSpPr>
        <p:spPr>
          <a:xfrm flipH="1">
            <a:off x="3238944" y="4759132"/>
            <a:ext cx="579" cy="207957"/>
          </a:xfrm>
          <a:prstGeom prst="line">
            <a:avLst/>
          </a:prstGeom>
          <a:ln w="28575" cap="flat" cmpd="sng" algn="ctr">
            <a:solidFill>
              <a:schemeClr val="accent2"/>
            </a:solidFill>
            <a:prstDash val="sysDot"/>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70" name="Rectangle 69">
            <a:extLst>
              <a:ext uri="{FF2B5EF4-FFF2-40B4-BE49-F238E27FC236}">
                <a16:creationId xmlns:a16="http://schemas.microsoft.com/office/drawing/2014/main" id="{4E420A6B-894D-24D2-0B76-31B3D0B2CE5A}"/>
              </a:ext>
            </a:extLst>
          </p:cNvPr>
          <p:cNvSpPr/>
          <p:nvPr/>
        </p:nvSpPr>
        <p:spPr>
          <a:xfrm>
            <a:off x="2570039" y="1171720"/>
            <a:ext cx="1344920" cy="169277"/>
          </a:xfrm>
          <a:prstGeom prst="rect">
            <a:avLst/>
          </a:prstGeom>
        </p:spPr>
        <p:txBody>
          <a:bodyPr wrap="none" lIns="0" tIns="0" rIns="0" bIns="0">
            <a:spAutoFit/>
          </a:bodyPr>
          <a:lstStyle/>
          <a:p>
            <a:pPr algn="ctr" defTabSz="818904">
              <a:defRPr/>
            </a:pPr>
            <a:r>
              <a:rPr lang="en-US" sz="1100">
                <a:solidFill>
                  <a:schemeClr val="accent2"/>
                </a:solidFill>
                <a:latin typeface="72 Brand" panose="020B0504030603020204" pitchFamily="34" charset="0"/>
                <a:ea typeface="Gill Sans"/>
                <a:cs typeface="72" panose="020B0503030000000003" pitchFamily="34" charset="0"/>
                <a:sym typeface="Gill Sans"/>
              </a:rPr>
              <a:t>Customer Experience</a:t>
            </a:r>
          </a:p>
        </p:txBody>
      </p:sp>
      <p:sp>
        <p:nvSpPr>
          <p:cNvPr id="71" name="Rectangle 70">
            <a:extLst>
              <a:ext uri="{FF2B5EF4-FFF2-40B4-BE49-F238E27FC236}">
                <a16:creationId xmlns:a16="http://schemas.microsoft.com/office/drawing/2014/main" id="{5EECFEB2-E0F2-A403-F47B-A17E4EE9A127}"/>
              </a:ext>
            </a:extLst>
          </p:cNvPr>
          <p:cNvSpPr/>
          <p:nvPr/>
        </p:nvSpPr>
        <p:spPr>
          <a:xfrm>
            <a:off x="4933438" y="1185544"/>
            <a:ext cx="1213474" cy="169277"/>
          </a:xfrm>
          <a:prstGeom prst="rect">
            <a:avLst/>
          </a:prstGeom>
        </p:spPr>
        <p:txBody>
          <a:bodyPr wrap="none" lIns="0" tIns="0" rIns="0" bIns="0">
            <a:spAutoFit/>
          </a:bodyPr>
          <a:lstStyle/>
          <a:p>
            <a:pPr algn="ctr" defTabSz="818904">
              <a:defRPr/>
            </a:pPr>
            <a:r>
              <a:rPr lang="en-US" sz="1100">
                <a:solidFill>
                  <a:schemeClr val="accent2"/>
                </a:solidFill>
                <a:latin typeface="72 Brand" panose="020B0504030603020204" pitchFamily="34" charset="0"/>
                <a:ea typeface="Gill Sans"/>
                <a:cs typeface="72" panose="020B0503030000000003" pitchFamily="34" charset="0"/>
                <a:sym typeface="Gill Sans"/>
              </a:rPr>
              <a:t>Factories anywhere</a:t>
            </a:r>
          </a:p>
        </p:txBody>
      </p:sp>
      <p:cxnSp>
        <p:nvCxnSpPr>
          <p:cNvPr id="72" name="Straight Connector 71">
            <a:extLst>
              <a:ext uri="{FF2B5EF4-FFF2-40B4-BE49-F238E27FC236}">
                <a16:creationId xmlns:a16="http://schemas.microsoft.com/office/drawing/2014/main" id="{8D5A45CB-40B5-6DE2-8E57-0DF05CE787F5}"/>
              </a:ext>
            </a:extLst>
          </p:cNvPr>
          <p:cNvCxnSpPr>
            <a:cxnSpLocks/>
          </p:cNvCxnSpPr>
          <p:nvPr/>
        </p:nvCxnSpPr>
        <p:spPr>
          <a:xfrm flipH="1">
            <a:off x="3242210" y="1789891"/>
            <a:ext cx="579" cy="207957"/>
          </a:xfrm>
          <a:prstGeom prst="line">
            <a:avLst/>
          </a:prstGeom>
          <a:ln w="28575" cap="flat" cmpd="sng" algn="ctr">
            <a:solidFill>
              <a:schemeClr val="accent2"/>
            </a:solidFill>
            <a:prstDash val="sysDot"/>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73" name="Straight Connector 72">
            <a:extLst>
              <a:ext uri="{FF2B5EF4-FFF2-40B4-BE49-F238E27FC236}">
                <a16:creationId xmlns:a16="http://schemas.microsoft.com/office/drawing/2014/main" id="{24412539-93DF-062E-9EE5-AE67D945EE28}"/>
              </a:ext>
            </a:extLst>
          </p:cNvPr>
          <p:cNvCxnSpPr>
            <a:cxnSpLocks/>
          </p:cNvCxnSpPr>
          <p:nvPr/>
        </p:nvCxnSpPr>
        <p:spPr>
          <a:xfrm flipH="1">
            <a:off x="5571972" y="1763414"/>
            <a:ext cx="579" cy="207957"/>
          </a:xfrm>
          <a:prstGeom prst="line">
            <a:avLst/>
          </a:prstGeom>
          <a:ln w="28575" cap="flat" cmpd="sng" algn="ctr">
            <a:solidFill>
              <a:schemeClr val="accent2"/>
            </a:solidFill>
            <a:prstDash val="sysDot"/>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74" name="Rectangle 73">
            <a:extLst>
              <a:ext uri="{FF2B5EF4-FFF2-40B4-BE49-F238E27FC236}">
                <a16:creationId xmlns:a16="http://schemas.microsoft.com/office/drawing/2014/main" id="{548748DC-2C87-C26E-F72F-52AF3A54C2E7}"/>
              </a:ext>
            </a:extLst>
          </p:cNvPr>
          <p:cNvSpPr/>
          <p:nvPr/>
        </p:nvSpPr>
        <p:spPr>
          <a:xfrm>
            <a:off x="2301536" y="5365633"/>
            <a:ext cx="1881926" cy="338554"/>
          </a:xfrm>
          <a:prstGeom prst="rect">
            <a:avLst/>
          </a:prstGeom>
        </p:spPr>
        <p:txBody>
          <a:bodyPr wrap="none" lIns="0" tIns="0" rIns="0" bIns="0">
            <a:spAutoFit/>
          </a:bodyPr>
          <a:lstStyle/>
          <a:p>
            <a:pPr algn="ctr" defTabSz="818904">
              <a:defRPr/>
            </a:pPr>
            <a:r>
              <a:rPr lang="en-US" sz="1100">
                <a:solidFill>
                  <a:schemeClr val="accent2"/>
                </a:solidFill>
                <a:latin typeface="72 Brand" panose="020B0504030603020204" pitchFamily="34" charset="0"/>
                <a:ea typeface="Gill Sans"/>
                <a:cs typeface="72" panose="020B0503030000000003" pitchFamily="34" charset="0"/>
                <a:sym typeface="Gill Sans"/>
              </a:rPr>
              <a:t>SAP Cloud solutions</a:t>
            </a:r>
            <a:br>
              <a:rPr lang="en-US" sz="1100">
                <a:solidFill>
                  <a:schemeClr val="accent2"/>
                </a:solidFill>
                <a:latin typeface="72 Brand" panose="020B0504030603020204" pitchFamily="34" charset="0"/>
                <a:ea typeface="Gill Sans"/>
                <a:cs typeface="72" panose="020B0503030000000003" pitchFamily="34" charset="0"/>
                <a:sym typeface="Gill Sans"/>
              </a:rPr>
            </a:br>
            <a:r>
              <a:rPr lang="en-US" sz="1100">
                <a:solidFill>
                  <a:schemeClr val="accent2"/>
                </a:solidFill>
                <a:latin typeface="72 Brand" panose="020B0504030603020204" pitchFamily="34" charset="0"/>
                <a:ea typeface="Gill Sans"/>
                <a:cs typeface="72" panose="020B0503030000000003" pitchFamily="34" charset="0"/>
                <a:sym typeface="Gill Sans"/>
              </a:rPr>
              <a:t> and on-premises applications</a:t>
            </a:r>
          </a:p>
        </p:txBody>
      </p:sp>
      <p:sp>
        <p:nvSpPr>
          <p:cNvPr id="75" name="TextBox 74">
            <a:extLst>
              <a:ext uri="{FF2B5EF4-FFF2-40B4-BE49-F238E27FC236}">
                <a16:creationId xmlns:a16="http://schemas.microsoft.com/office/drawing/2014/main" id="{F774557F-1333-DD9F-12BA-62A6C079F1E0}"/>
              </a:ext>
            </a:extLst>
          </p:cNvPr>
          <p:cNvSpPr txBox="1"/>
          <p:nvPr/>
        </p:nvSpPr>
        <p:spPr>
          <a:xfrm>
            <a:off x="5252721" y="5365633"/>
            <a:ext cx="631583" cy="338554"/>
          </a:xfrm>
          <a:prstGeom prst="rect">
            <a:avLst/>
          </a:prstGeom>
          <a:noFill/>
        </p:spPr>
        <p:txBody>
          <a:bodyPr wrap="none" lIns="0" tIns="0" rIns="0" bIns="0" rtlCol="0">
            <a:spAutoFit/>
          </a:bodyPr>
          <a:lstStyle/>
          <a:p>
            <a:pPr algn="ctr"/>
            <a:r>
              <a:rPr lang="en-US" sz="1100">
                <a:solidFill>
                  <a:schemeClr val="accent2"/>
                </a:solidFill>
                <a:latin typeface="72 Brand" panose="020B0504030603020204" pitchFamily="34" charset="0"/>
                <a:cs typeface="72" panose="020B0503030000000003" pitchFamily="34" charset="0"/>
              </a:rPr>
              <a:t>Azure,</a:t>
            </a:r>
            <a:br>
              <a:rPr lang="en-US" sz="1100">
                <a:solidFill>
                  <a:schemeClr val="accent2"/>
                </a:solidFill>
                <a:latin typeface="72 Brand" panose="020B0504030603020204" pitchFamily="34" charset="0"/>
                <a:cs typeface="72" panose="020B0503030000000003" pitchFamily="34" charset="0"/>
              </a:rPr>
            </a:br>
            <a:r>
              <a:rPr lang="en-US" sz="1100">
                <a:solidFill>
                  <a:schemeClr val="accent2"/>
                </a:solidFill>
                <a:latin typeface="72 Brand" panose="020B0504030603020204" pitchFamily="34" charset="0"/>
                <a:cs typeface="72" panose="020B0503030000000003" pitchFamily="34" charset="0"/>
              </a:rPr>
              <a:t>AWS, GCP</a:t>
            </a:r>
            <a:endParaRPr lang="en-DE" sz="1100">
              <a:solidFill>
                <a:schemeClr val="accent2"/>
              </a:solidFill>
              <a:latin typeface="72 Brand" panose="020B0504030603020204" pitchFamily="34" charset="0"/>
              <a:cs typeface="72" panose="020B0503030000000003" pitchFamily="34" charset="0"/>
            </a:endParaRPr>
          </a:p>
        </p:txBody>
      </p:sp>
      <p:cxnSp>
        <p:nvCxnSpPr>
          <p:cNvPr id="76" name="Straight Arrow Connector 75">
            <a:extLst>
              <a:ext uri="{FF2B5EF4-FFF2-40B4-BE49-F238E27FC236}">
                <a16:creationId xmlns:a16="http://schemas.microsoft.com/office/drawing/2014/main" id="{95EC6A6E-A901-F9CA-BFA8-C57BB1A1E4CA}"/>
              </a:ext>
            </a:extLst>
          </p:cNvPr>
          <p:cNvCxnSpPr>
            <a:cxnSpLocks/>
          </p:cNvCxnSpPr>
          <p:nvPr/>
        </p:nvCxnSpPr>
        <p:spPr>
          <a:xfrm>
            <a:off x="2570039" y="3006865"/>
            <a:ext cx="621290" cy="0"/>
          </a:xfrm>
          <a:prstGeom prst="straightConnector1">
            <a:avLst/>
          </a:prstGeom>
          <a:ln w="28575">
            <a:solidFill>
              <a:schemeClr val="accent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77" name="Rounded Rectangle 434">
            <a:extLst>
              <a:ext uri="{FF2B5EF4-FFF2-40B4-BE49-F238E27FC236}">
                <a16:creationId xmlns:a16="http://schemas.microsoft.com/office/drawing/2014/main" id="{A0195928-50CC-6255-A9ED-A825342A50FB}"/>
              </a:ext>
            </a:extLst>
          </p:cNvPr>
          <p:cNvSpPr/>
          <p:nvPr/>
        </p:nvSpPr>
        <p:spPr bwMode="gray">
          <a:xfrm>
            <a:off x="8110292" y="4894317"/>
            <a:ext cx="2655265" cy="533479"/>
          </a:xfrm>
          <a:prstGeom prst="roundRect">
            <a:avLst/>
          </a:prstGeom>
          <a:noFill/>
          <a:ln w="25400" algn="ctr">
            <a:noFill/>
            <a:miter lim="800000"/>
            <a:headEnd/>
            <a:tailEnd/>
          </a:ln>
        </p:spPr>
        <p:txBody>
          <a:bodyPr wrap="none" lIns="0" tIns="0" rIns="0" bIns="0" rtlCol="0" anchor="ctr">
            <a:spAutoFit/>
          </a:bodyPr>
          <a:lstStyle/>
          <a:p>
            <a:pPr algn="ctr" defTabSz="914126">
              <a:spcBef>
                <a:spcPct val="50000"/>
              </a:spcBef>
              <a:buClr>
                <a:srgbClr val="F0AB00"/>
              </a:buClr>
              <a:buSzPct val="80000"/>
              <a:defRPr/>
            </a:pPr>
            <a:r>
              <a:rPr lang="en-US" sz="1600" kern="0">
                <a:solidFill>
                  <a:schemeClr val="accent2"/>
                </a:solidFill>
                <a:latin typeface="72 Brand Medium" panose="020B0504030603020204" pitchFamily="34" charset="0"/>
                <a:ea typeface="Arial Unicode MS" pitchFamily="34" charset="-128"/>
                <a:cs typeface="72" panose="020B0503030000000003" pitchFamily="34" charset="0"/>
              </a:rPr>
              <a:t>Event management</a:t>
            </a:r>
          </a:p>
          <a:p>
            <a:pPr defTabSz="914126">
              <a:spcBef>
                <a:spcPts val="400"/>
              </a:spcBef>
              <a:buClr>
                <a:srgbClr val="F0AB00"/>
              </a:buClr>
              <a:buSzPct val="80000"/>
              <a:defRPr/>
            </a:pPr>
            <a:r>
              <a:rPr lang="en-US" sz="1200" kern="0">
                <a:solidFill>
                  <a:srgbClr val="000000"/>
                </a:solidFill>
                <a:latin typeface="72 Brand" panose="020B0504030603020204" pitchFamily="34" charset="0"/>
                <a:ea typeface="Arial Unicode MS" pitchFamily="34" charset="-128"/>
                <a:cs typeface="72" panose="020B0503030000000003" pitchFamily="34" charset="0"/>
              </a:rPr>
              <a:t>Design • Catalog • Discovery •  Monitor</a:t>
            </a:r>
          </a:p>
        </p:txBody>
      </p:sp>
      <p:sp>
        <p:nvSpPr>
          <p:cNvPr id="78" name="Rectangle 77">
            <a:extLst>
              <a:ext uri="{FF2B5EF4-FFF2-40B4-BE49-F238E27FC236}">
                <a16:creationId xmlns:a16="http://schemas.microsoft.com/office/drawing/2014/main" id="{5C9767BB-0091-9D16-70DC-7824BD35E650}"/>
              </a:ext>
            </a:extLst>
          </p:cNvPr>
          <p:cNvSpPr/>
          <p:nvPr/>
        </p:nvSpPr>
        <p:spPr>
          <a:xfrm>
            <a:off x="590550" y="2863057"/>
            <a:ext cx="2040819" cy="1036181"/>
          </a:xfrm>
          <a:prstGeom prst="rect">
            <a:avLst/>
          </a:prstGeom>
        </p:spPr>
        <p:txBody>
          <a:bodyPr wrap="square" lIns="0" tIns="0" rIns="0" bIns="0">
            <a:spAutoFit/>
          </a:bodyPr>
          <a:lstStyle/>
          <a:p>
            <a:pPr algn="ctr" defTabSz="818904">
              <a:defRPr/>
            </a:pPr>
            <a:r>
              <a:rPr lang="en-US" sz="1600">
                <a:solidFill>
                  <a:schemeClr val="accent2"/>
                </a:solidFill>
                <a:latin typeface="72 Brand Medium" panose="020B0504030603020204" pitchFamily="34" charset="0"/>
                <a:ea typeface="Gill Sans"/>
                <a:cs typeface="72" panose="020B0503030000000003" pitchFamily="34" charset="0"/>
                <a:sym typeface="Gill Sans"/>
              </a:rPr>
              <a:t>Event streaming</a:t>
            </a:r>
          </a:p>
          <a:p>
            <a:pPr algn="ctr" defTabSz="914126">
              <a:spcBef>
                <a:spcPts val="400"/>
              </a:spcBef>
              <a:buClr>
                <a:srgbClr val="F0AB00"/>
              </a:buClr>
              <a:buSzPct val="80000"/>
              <a:defRPr/>
            </a:pPr>
            <a:r>
              <a:rPr lang="en-US" sz="1200" kern="0">
                <a:solidFill>
                  <a:srgbClr val="000000"/>
                </a:solidFill>
                <a:latin typeface="72 Brand" panose="020B0504030603020204" pitchFamily="34" charset="0"/>
                <a:ea typeface="Arial Unicode MS" pitchFamily="34" charset="-128"/>
                <a:cs typeface="72" panose="020B0503030000000003" pitchFamily="34" charset="0"/>
                <a:sym typeface="Gill Sans"/>
              </a:rPr>
              <a:t>Real-time routing of filtered events across geographically distributed, heterogenous landscapes </a:t>
            </a:r>
          </a:p>
        </p:txBody>
      </p:sp>
      <p:cxnSp>
        <p:nvCxnSpPr>
          <p:cNvPr id="79" name="Straight Arrow Connector 78">
            <a:extLst>
              <a:ext uri="{FF2B5EF4-FFF2-40B4-BE49-F238E27FC236}">
                <a16:creationId xmlns:a16="http://schemas.microsoft.com/office/drawing/2014/main" id="{F73D2C5D-4EFF-4FCB-46B5-3401CDE4680F}"/>
              </a:ext>
            </a:extLst>
          </p:cNvPr>
          <p:cNvCxnSpPr>
            <a:cxnSpLocks/>
          </p:cNvCxnSpPr>
          <p:nvPr/>
        </p:nvCxnSpPr>
        <p:spPr>
          <a:xfrm>
            <a:off x="6085087" y="3379022"/>
            <a:ext cx="1275398" cy="4251"/>
          </a:xfrm>
          <a:prstGeom prst="straightConnector1">
            <a:avLst/>
          </a:prstGeom>
          <a:ln w="28575">
            <a:solidFill>
              <a:schemeClr val="accent2"/>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0" name="Straight Arrow Connector 79">
            <a:extLst>
              <a:ext uri="{FF2B5EF4-FFF2-40B4-BE49-F238E27FC236}">
                <a16:creationId xmlns:a16="http://schemas.microsoft.com/office/drawing/2014/main" id="{4FDC4CB0-22C5-85D2-4AF0-DDF4FE172A9C}"/>
              </a:ext>
            </a:extLst>
          </p:cNvPr>
          <p:cNvCxnSpPr>
            <a:cxnSpLocks/>
          </p:cNvCxnSpPr>
          <p:nvPr/>
        </p:nvCxnSpPr>
        <p:spPr>
          <a:xfrm>
            <a:off x="2327582" y="3929020"/>
            <a:ext cx="762276" cy="977882"/>
          </a:xfrm>
          <a:prstGeom prst="straightConnector1">
            <a:avLst/>
          </a:prstGeom>
          <a:ln w="28575">
            <a:solidFill>
              <a:schemeClr val="accent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EB71DEFB-8B63-CCC4-1F54-7251B261B996}"/>
              </a:ext>
            </a:extLst>
          </p:cNvPr>
          <p:cNvCxnSpPr>
            <a:cxnSpLocks/>
          </p:cNvCxnSpPr>
          <p:nvPr/>
        </p:nvCxnSpPr>
        <p:spPr>
          <a:xfrm>
            <a:off x="3249879" y="2212197"/>
            <a:ext cx="2314685" cy="2326037"/>
          </a:xfrm>
          <a:prstGeom prst="line">
            <a:avLst/>
          </a:prstGeom>
          <a:ln w="28575" cap="flat" cmpd="sng" algn="ctr">
            <a:solidFill>
              <a:schemeClr val="tx2"/>
            </a:solidFill>
            <a:prstDash val="sys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82" name="Straight Connector 81">
            <a:extLst>
              <a:ext uri="{FF2B5EF4-FFF2-40B4-BE49-F238E27FC236}">
                <a16:creationId xmlns:a16="http://schemas.microsoft.com/office/drawing/2014/main" id="{B1568EF3-49FA-AB76-C978-0DE8E67774BC}"/>
              </a:ext>
            </a:extLst>
          </p:cNvPr>
          <p:cNvCxnSpPr>
            <a:cxnSpLocks/>
          </p:cNvCxnSpPr>
          <p:nvPr/>
        </p:nvCxnSpPr>
        <p:spPr>
          <a:xfrm flipH="1">
            <a:off x="3255784" y="2221331"/>
            <a:ext cx="2327908" cy="2316904"/>
          </a:xfrm>
          <a:prstGeom prst="line">
            <a:avLst/>
          </a:prstGeom>
          <a:ln w="28575" cap="flat" cmpd="sng" algn="ctr">
            <a:solidFill>
              <a:schemeClr val="tx2"/>
            </a:solidFill>
            <a:prstDash val="sys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83" name="Rechteck 32">
            <a:extLst>
              <a:ext uri="{FF2B5EF4-FFF2-40B4-BE49-F238E27FC236}">
                <a16:creationId xmlns:a16="http://schemas.microsoft.com/office/drawing/2014/main" id="{63EF01C0-5FE1-5D84-6532-EB8CDD480780}"/>
              </a:ext>
            </a:extLst>
          </p:cNvPr>
          <p:cNvSpPr/>
          <p:nvPr/>
        </p:nvSpPr>
        <p:spPr bwMode="gray">
          <a:xfrm>
            <a:off x="3248117" y="2214166"/>
            <a:ext cx="2330512" cy="2330512"/>
          </a:xfrm>
          <a:prstGeom prst="rect">
            <a:avLst/>
          </a:prstGeom>
          <a:noFill/>
          <a:ln w="28575" algn="ctr">
            <a:solidFill>
              <a:schemeClr val="tx2"/>
            </a:solidFill>
            <a:prstDash val="sysDash"/>
            <a:miter lim="800000"/>
            <a:headEnd/>
            <a:tailEnd/>
          </a:ln>
        </p:spPr>
        <p:txBody>
          <a:bodyPr lIns="90000" tIns="72000" rIns="90000" bIns="72000" rtlCol="0" anchor="ctr"/>
          <a:lstStyle/>
          <a:p>
            <a:pPr algn="ctr" defTabSz="914400" fontAlgn="base">
              <a:spcBef>
                <a:spcPct val="50000"/>
              </a:spcBef>
              <a:spcAft>
                <a:spcPct val="0"/>
              </a:spcAft>
              <a:buClr>
                <a:srgbClr val="F0AB00"/>
              </a:buClr>
              <a:buSzPct val="80000"/>
            </a:pPr>
            <a:endParaRPr lang="de-DE" sz="1800" kern="0" err="1">
              <a:ea typeface="Arial Unicode MS" pitchFamily="34" charset="-128"/>
              <a:cs typeface="Arial Unicode MS" pitchFamily="34" charset="-128"/>
            </a:endParaRPr>
          </a:p>
        </p:txBody>
      </p:sp>
      <p:grpSp>
        <p:nvGrpSpPr>
          <p:cNvPr id="84" name="Gruppieren 3">
            <a:extLst>
              <a:ext uri="{FF2B5EF4-FFF2-40B4-BE49-F238E27FC236}">
                <a16:creationId xmlns:a16="http://schemas.microsoft.com/office/drawing/2014/main" id="{1D7017C8-8413-B5C7-08C8-29FBE07D292A}"/>
              </a:ext>
            </a:extLst>
          </p:cNvPr>
          <p:cNvGrpSpPr/>
          <p:nvPr/>
        </p:nvGrpSpPr>
        <p:grpSpPr>
          <a:xfrm>
            <a:off x="5307675" y="1969374"/>
            <a:ext cx="508209" cy="508210"/>
            <a:chOff x="5591957" y="2541793"/>
            <a:chExt cx="364241" cy="364241"/>
          </a:xfrm>
        </p:grpSpPr>
        <p:sp>
          <p:nvSpPr>
            <p:cNvPr id="85" name="Ellipse 37">
              <a:extLst>
                <a:ext uri="{FF2B5EF4-FFF2-40B4-BE49-F238E27FC236}">
                  <a16:creationId xmlns:a16="http://schemas.microsoft.com/office/drawing/2014/main" id="{161EF1A2-B1A0-E36A-E391-56B9C31CAEE9}"/>
                </a:ext>
              </a:extLst>
            </p:cNvPr>
            <p:cNvSpPr/>
            <p:nvPr/>
          </p:nvSpPr>
          <p:spPr bwMode="auto">
            <a:xfrm>
              <a:off x="5591957" y="2541793"/>
              <a:ext cx="364241" cy="364241"/>
            </a:xfrm>
            <a:prstGeom prst="ellipse">
              <a:avLst/>
            </a:prstGeom>
            <a:solidFill>
              <a:schemeClr val="bg1"/>
            </a:solid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de-DE" sz="2000">
                <a:gradFill>
                  <a:gsLst>
                    <a:gs pos="0">
                      <a:schemeClr val="bg1"/>
                    </a:gs>
                    <a:gs pos="100000">
                      <a:schemeClr val="bg1"/>
                    </a:gs>
                  </a:gsLst>
                  <a:lin ang="5400000" scaled="1"/>
                </a:gradFill>
                <a:latin typeface="72" panose="020B0503030000000003" pitchFamily="34" charset="0"/>
                <a:ea typeface="Segoe UI" pitchFamily="34" charset="0"/>
                <a:cs typeface="72" panose="020B0503030000000003" pitchFamily="34" charset="0"/>
              </a:endParaRPr>
            </a:p>
          </p:txBody>
        </p:sp>
        <p:grpSp>
          <p:nvGrpSpPr>
            <p:cNvPr id="86" name="Gruppieren 1">
              <a:extLst>
                <a:ext uri="{FF2B5EF4-FFF2-40B4-BE49-F238E27FC236}">
                  <a16:creationId xmlns:a16="http://schemas.microsoft.com/office/drawing/2014/main" id="{FA91DE4D-F604-5D67-F553-58ADB3173B4D}"/>
                </a:ext>
              </a:extLst>
            </p:cNvPr>
            <p:cNvGrpSpPr/>
            <p:nvPr/>
          </p:nvGrpSpPr>
          <p:grpSpPr>
            <a:xfrm>
              <a:off x="5684971" y="2626678"/>
              <a:ext cx="178212" cy="194470"/>
              <a:chOff x="5683610" y="2634680"/>
              <a:chExt cx="178212" cy="194470"/>
            </a:xfrm>
          </p:grpSpPr>
          <p:cxnSp>
            <p:nvCxnSpPr>
              <p:cNvPr id="87" name="Gerader Verbinder 36">
                <a:extLst>
                  <a:ext uri="{FF2B5EF4-FFF2-40B4-BE49-F238E27FC236}">
                    <a16:creationId xmlns:a16="http://schemas.microsoft.com/office/drawing/2014/main" id="{DEE12D02-77F9-A67F-DE97-A214E59C5E97}"/>
                  </a:ext>
                </a:extLst>
              </p:cNvPr>
              <p:cNvCxnSpPr>
                <a:cxnSpLocks/>
              </p:cNvCxnSpPr>
              <p:nvPr/>
            </p:nvCxnSpPr>
            <p:spPr>
              <a:xfrm>
                <a:off x="5720251" y="2664059"/>
                <a:ext cx="0" cy="137316"/>
              </a:xfrm>
              <a:prstGeom prst="line">
                <a:avLst/>
              </a:prstGeom>
              <a:ln w="9525">
                <a:solidFill>
                  <a:schemeClr val="tx2"/>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88" name="Rechteck: abgerundete Ecken 34">
                <a:extLst>
                  <a:ext uri="{FF2B5EF4-FFF2-40B4-BE49-F238E27FC236}">
                    <a16:creationId xmlns:a16="http://schemas.microsoft.com/office/drawing/2014/main" id="{EDD27B86-6B9B-8653-1E13-DB760E7A5C1D}"/>
                  </a:ext>
                </a:extLst>
              </p:cNvPr>
              <p:cNvSpPr/>
              <p:nvPr/>
            </p:nvSpPr>
            <p:spPr bwMode="auto">
              <a:xfrm>
                <a:off x="5683610" y="2701153"/>
                <a:ext cx="178212" cy="55838"/>
              </a:xfrm>
              <a:prstGeom prst="round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de-DE" sz="2000">
                  <a:gradFill>
                    <a:gsLst>
                      <a:gs pos="0">
                        <a:schemeClr val="bg1"/>
                      </a:gs>
                      <a:gs pos="100000">
                        <a:schemeClr val="bg1"/>
                      </a:gs>
                    </a:gsLst>
                    <a:lin ang="5400000" scaled="1"/>
                  </a:gradFill>
                  <a:latin typeface="72" panose="020B0503030000000003" pitchFamily="34" charset="0"/>
                  <a:ea typeface="Segoe UI" pitchFamily="34" charset="0"/>
                  <a:cs typeface="72" panose="020B0503030000000003" pitchFamily="34" charset="0"/>
                </a:endParaRPr>
              </a:p>
            </p:txBody>
          </p:sp>
          <p:cxnSp>
            <p:nvCxnSpPr>
              <p:cNvPr id="89" name="Gerader Verbinder 42">
                <a:extLst>
                  <a:ext uri="{FF2B5EF4-FFF2-40B4-BE49-F238E27FC236}">
                    <a16:creationId xmlns:a16="http://schemas.microsoft.com/office/drawing/2014/main" id="{161CD9CB-FA67-E61E-49F4-AFD7B437D13C}"/>
                  </a:ext>
                </a:extLst>
              </p:cNvPr>
              <p:cNvCxnSpPr>
                <a:cxnSpLocks/>
              </p:cNvCxnSpPr>
              <p:nvPr/>
            </p:nvCxnSpPr>
            <p:spPr>
              <a:xfrm>
                <a:off x="5772716" y="2634680"/>
                <a:ext cx="0" cy="194470"/>
              </a:xfrm>
              <a:prstGeom prst="line">
                <a:avLst/>
              </a:prstGeom>
              <a:ln w="9525">
                <a:solidFill>
                  <a:schemeClr val="tx2"/>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90" name="Gerader Verbinder 49">
                <a:extLst>
                  <a:ext uri="{FF2B5EF4-FFF2-40B4-BE49-F238E27FC236}">
                    <a16:creationId xmlns:a16="http://schemas.microsoft.com/office/drawing/2014/main" id="{77CB2571-73BB-24A4-AD85-4698B1F91D90}"/>
                  </a:ext>
                </a:extLst>
              </p:cNvPr>
              <p:cNvCxnSpPr>
                <a:cxnSpLocks/>
              </p:cNvCxnSpPr>
              <p:nvPr/>
            </p:nvCxnSpPr>
            <p:spPr>
              <a:xfrm>
                <a:off x="5825189" y="2657451"/>
                <a:ext cx="0" cy="142749"/>
              </a:xfrm>
              <a:prstGeom prst="line">
                <a:avLst/>
              </a:prstGeom>
              <a:ln w="9525">
                <a:solidFill>
                  <a:schemeClr val="tx2"/>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grpSp>
      </p:grpSp>
      <p:grpSp>
        <p:nvGrpSpPr>
          <p:cNvPr id="91" name="Gruppieren 5">
            <a:extLst>
              <a:ext uri="{FF2B5EF4-FFF2-40B4-BE49-F238E27FC236}">
                <a16:creationId xmlns:a16="http://schemas.microsoft.com/office/drawing/2014/main" id="{10E14400-8F8C-7787-EECE-106E7BEFA6F3}"/>
              </a:ext>
            </a:extLst>
          </p:cNvPr>
          <p:cNvGrpSpPr/>
          <p:nvPr/>
        </p:nvGrpSpPr>
        <p:grpSpPr>
          <a:xfrm>
            <a:off x="5307675" y="4286232"/>
            <a:ext cx="508209" cy="508210"/>
            <a:chOff x="5591957" y="2541793"/>
            <a:chExt cx="364241" cy="364241"/>
          </a:xfrm>
        </p:grpSpPr>
        <p:sp>
          <p:nvSpPr>
            <p:cNvPr id="92" name="Ellipse 37">
              <a:extLst>
                <a:ext uri="{FF2B5EF4-FFF2-40B4-BE49-F238E27FC236}">
                  <a16:creationId xmlns:a16="http://schemas.microsoft.com/office/drawing/2014/main" id="{45A1592B-F7CF-822A-9FB7-6BF26A0F2ECF}"/>
                </a:ext>
              </a:extLst>
            </p:cNvPr>
            <p:cNvSpPr/>
            <p:nvPr/>
          </p:nvSpPr>
          <p:spPr bwMode="auto">
            <a:xfrm>
              <a:off x="5591957" y="2541793"/>
              <a:ext cx="364241" cy="364241"/>
            </a:xfrm>
            <a:prstGeom prst="ellipse">
              <a:avLst/>
            </a:prstGeom>
            <a:solidFill>
              <a:schemeClr val="bg1"/>
            </a:solid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de-DE" sz="2000">
                <a:gradFill>
                  <a:gsLst>
                    <a:gs pos="0">
                      <a:schemeClr val="bg1"/>
                    </a:gs>
                    <a:gs pos="100000">
                      <a:schemeClr val="bg1"/>
                    </a:gs>
                  </a:gsLst>
                  <a:lin ang="5400000" scaled="1"/>
                </a:gradFill>
                <a:latin typeface="72" panose="020B0503030000000003" pitchFamily="34" charset="0"/>
                <a:ea typeface="Segoe UI" pitchFamily="34" charset="0"/>
                <a:cs typeface="72" panose="020B0503030000000003" pitchFamily="34" charset="0"/>
              </a:endParaRPr>
            </a:p>
          </p:txBody>
        </p:sp>
        <p:grpSp>
          <p:nvGrpSpPr>
            <p:cNvPr id="93" name="Gruppieren 7">
              <a:extLst>
                <a:ext uri="{FF2B5EF4-FFF2-40B4-BE49-F238E27FC236}">
                  <a16:creationId xmlns:a16="http://schemas.microsoft.com/office/drawing/2014/main" id="{9C47560A-4FFE-1316-3799-1261226F53D0}"/>
                </a:ext>
              </a:extLst>
            </p:cNvPr>
            <p:cNvGrpSpPr/>
            <p:nvPr/>
          </p:nvGrpSpPr>
          <p:grpSpPr>
            <a:xfrm>
              <a:off x="5684971" y="2626678"/>
              <a:ext cx="178212" cy="194470"/>
              <a:chOff x="5683610" y="2634680"/>
              <a:chExt cx="178212" cy="194470"/>
            </a:xfrm>
          </p:grpSpPr>
          <p:cxnSp>
            <p:nvCxnSpPr>
              <p:cNvPr id="94" name="Gerader Verbinder 36">
                <a:extLst>
                  <a:ext uri="{FF2B5EF4-FFF2-40B4-BE49-F238E27FC236}">
                    <a16:creationId xmlns:a16="http://schemas.microsoft.com/office/drawing/2014/main" id="{E72B6229-37BB-F703-C91A-E2B59DE9D704}"/>
                  </a:ext>
                </a:extLst>
              </p:cNvPr>
              <p:cNvCxnSpPr>
                <a:cxnSpLocks/>
              </p:cNvCxnSpPr>
              <p:nvPr/>
            </p:nvCxnSpPr>
            <p:spPr>
              <a:xfrm>
                <a:off x="5720251" y="2664059"/>
                <a:ext cx="0" cy="137316"/>
              </a:xfrm>
              <a:prstGeom prst="line">
                <a:avLst/>
              </a:prstGeom>
              <a:ln w="9525">
                <a:solidFill>
                  <a:schemeClr val="tx2"/>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95" name="Rechteck: abgerundete Ecken 34">
                <a:extLst>
                  <a:ext uri="{FF2B5EF4-FFF2-40B4-BE49-F238E27FC236}">
                    <a16:creationId xmlns:a16="http://schemas.microsoft.com/office/drawing/2014/main" id="{1949D3F3-89E0-874D-00D3-4EA2E2867AB4}"/>
                  </a:ext>
                </a:extLst>
              </p:cNvPr>
              <p:cNvSpPr/>
              <p:nvPr/>
            </p:nvSpPr>
            <p:spPr bwMode="auto">
              <a:xfrm>
                <a:off x="5683610" y="2701153"/>
                <a:ext cx="178212" cy="55838"/>
              </a:xfrm>
              <a:prstGeom prst="round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de-DE" sz="2000">
                  <a:gradFill>
                    <a:gsLst>
                      <a:gs pos="0">
                        <a:schemeClr val="bg1"/>
                      </a:gs>
                      <a:gs pos="100000">
                        <a:schemeClr val="bg1"/>
                      </a:gs>
                    </a:gsLst>
                    <a:lin ang="5400000" scaled="1"/>
                  </a:gradFill>
                  <a:latin typeface="72" panose="020B0503030000000003" pitchFamily="34" charset="0"/>
                  <a:ea typeface="Segoe UI" pitchFamily="34" charset="0"/>
                  <a:cs typeface="72" panose="020B0503030000000003" pitchFamily="34" charset="0"/>
                </a:endParaRPr>
              </a:p>
            </p:txBody>
          </p:sp>
          <p:cxnSp>
            <p:nvCxnSpPr>
              <p:cNvPr id="96" name="Gerader Verbinder 42">
                <a:extLst>
                  <a:ext uri="{FF2B5EF4-FFF2-40B4-BE49-F238E27FC236}">
                    <a16:creationId xmlns:a16="http://schemas.microsoft.com/office/drawing/2014/main" id="{1911E207-2AB9-A81D-64F1-D1485D662D9D}"/>
                  </a:ext>
                </a:extLst>
              </p:cNvPr>
              <p:cNvCxnSpPr>
                <a:cxnSpLocks/>
              </p:cNvCxnSpPr>
              <p:nvPr/>
            </p:nvCxnSpPr>
            <p:spPr>
              <a:xfrm>
                <a:off x="5772716" y="2634680"/>
                <a:ext cx="0" cy="194470"/>
              </a:xfrm>
              <a:prstGeom prst="line">
                <a:avLst/>
              </a:prstGeom>
              <a:ln w="9525">
                <a:solidFill>
                  <a:schemeClr val="tx2"/>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97" name="Gerader Verbinder 49">
                <a:extLst>
                  <a:ext uri="{FF2B5EF4-FFF2-40B4-BE49-F238E27FC236}">
                    <a16:creationId xmlns:a16="http://schemas.microsoft.com/office/drawing/2014/main" id="{49067DE8-654D-18EE-2175-758AAB282ABD}"/>
                  </a:ext>
                </a:extLst>
              </p:cNvPr>
              <p:cNvCxnSpPr>
                <a:cxnSpLocks/>
              </p:cNvCxnSpPr>
              <p:nvPr/>
            </p:nvCxnSpPr>
            <p:spPr>
              <a:xfrm>
                <a:off x="5825189" y="2657451"/>
                <a:ext cx="0" cy="142749"/>
              </a:xfrm>
              <a:prstGeom prst="line">
                <a:avLst/>
              </a:prstGeom>
              <a:ln w="9525">
                <a:solidFill>
                  <a:schemeClr val="tx2"/>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grpSp>
      </p:grpSp>
      <p:grpSp>
        <p:nvGrpSpPr>
          <p:cNvPr id="98" name="Gruppieren 12">
            <a:extLst>
              <a:ext uri="{FF2B5EF4-FFF2-40B4-BE49-F238E27FC236}">
                <a16:creationId xmlns:a16="http://schemas.microsoft.com/office/drawing/2014/main" id="{779B9A0C-01B0-87EE-A97F-5B0AA2A7792C}"/>
              </a:ext>
            </a:extLst>
          </p:cNvPr>
          <p:cNvGrpSpPr/>
          <p:nvPr/>
        </p:nvGrpSpPr>
        <p:grpSpPr>
          <a:xfrm>
            <a:off x="2977528" y="1969374"/>
            <a:ext cx="508209" cy="508210"/>
            <a:chOff x="5591957" y="2541793"/>
            <a:chExt cx="364241" cy="364241"/>
          </a:xfrm>
        </p:grpSpPr>
        <p:sp>
          <p:nvSpPr>
            <p:cNvPr id="99" name="Ellipse 37">
              <a:extLst>
                <a:ext uri="{FF2B5EF4-FFF2-40B4-BE49-F238E27FC236}">
                  <a16:creationId xmlns:a16="http://schemas.microsoft.com/office/drawing/2014/main" id="{207C3C1F-41A1-3368-19EB-4F1AF3DEECFD}"/>
                </a:ext>
              </a:extLst>
            </p:cNvPr>
            <p:cNvSpPr/>
            <p:nvPr/>
          </p:nvSpPr>
          <p:spPr bwMode="auto">
            <a:xfrm>
              <a:off x="5591957" y="2541793"/>
              <a:ext cx="364241" cy="364241"/>
            </a:xfrm>
            <a:prstGeom prst="ellipse">
              <a:avLst/>
            </a:prstGeom>
            <a:solidFill>
              <a:schemeClr val="bg1"/>
            </a:solid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de-DE" sz="2000">
                <a:gradFill>
                  <a:gsLst>
                    <a:gs pos="0">
                      <a:schemeClr val="bg1"/>
                    </a:gs>
                    <a:gs pos="100000">
                      <a:schemeClr val="bg1"/>
                    </a:gs>
                  </a:gsLst>
                  <a:lin ang="5400000" scaled="1"/>
                </a:gradFill>
                <a:latin typeface="72" panose="020B0503030000000003" pitchFamily="34" charset="0"/>
                <a:ea typeface="Segoe UI" pitchFamily="34" charset="0"/>
                <a:cs typeface="72" panose="020B0503030000000003" pitchFamily="34" charset="0"/>
              </a:endParaRPr>
            </a:p>
          </p:txBody>
        </p:sp>
        <p:grpSp>
          <p:nvGrpSpPr>
            <p:cNvPr id="100" name="Gruppieren 14">
              <a:extLst>
                <a:ext uri="{FF2B5EF4-FFF2-40B4-BE49-F238E27FC236}">
                  <a16:creationId xmlns:a16="http://schemas.microsoft.com/office/drawing/2014/main" id="{0F5858B3-9C3E-2CA6-1510-E82074CEED72}"/>
                </a:ext>
              </a:extLst>
            </p:cNvPr>
            <p:cNvGrpSpPr/>
            <p:nvPr/>
          </p:nvGrpSpPr>
          <p:grpSpPr>
            <a:xfrm>
              <a:off x="5684971" y="2626678"/>
              <a:ext cx="178212" cy="194470"/>
              <a:chOff x="5683610" y="2634680"/>
              <a:chExt cx="178212" cy="194470"/>
            </a:xfrm>
          </p:grpSpPr>
          <p:cxnSp>
            <p:nvCxnSpPr>
              <p:cNvPr id="101" name="Gerader Verbinder 36">
                <a:extLst>
                  <a:ext uri="{FF2B5EF4-FFF2-40B4-BE49-F238E27FC236}">
                    <a16:creationId xmlns:a16="http://schemas.microsoft.com/office/drawing/2014/main" id="{7D1D137E-F3AA-7137-6BF4-C1700CDE90FC}"/>
                  </a:ext>
                </a:extLst>
              </p:cNvPr>
              <p:cNvCxnSpPr>
                <a:cxnSpLocks/>
              </p:cNvCxnSpPr>
              <p:nvPr/>
            </p:nvCxnSpPr>
            <p:spPr>
              <a:xfrm>
                <a:off x="5720251" y="2664059"/>
                <a:ext cx="0" cy="137316"/>
              </a:xfrm>
              <a:prstGeom prst="line">
                <a:avLst/>
              </a:prstGeom>
              <a:ln w="9525">
                <a:solidFill>
                  <a:schemeClr val="tx2"/>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102" name="Rechteck: abgerundete Ecken 34">
                <a:extLst>
                  <a:ext uri="{FF2B5EF4-FFF2-40B4-BE49-F238E27FC236}">
                    <a16:creationId xmlns:a16="http://schemas.microsoft.com/office/drawing/2014/main" id="{827D2B34-D25F-AA36-E1D1-666BA2749AA4}"/>
                  </a:ext>
                </a:extLst>
              </p:cNvPr>
              <p:cNvSpPr/>
              <p:nvPr/>
            </p:nvSpPr>
            <p:spPr bwMode="auto">
              <a:xfrm>
                <a:off x="5683610" y="2701153"/>
                <a:ext cx="178212" cy="55838"/>
              </a:xfrm>
              <a:prstGeom prst="round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de-DE" sz="2000">
                  <a:gradFill>
                    <a:gsLst>
                      <a:gs pos="0">
                        <a:schemeClr val="bg1"/>
                      </a:gs>
                      <a:gs pos="100000">
                        <a:schemeClr val="bg1"/>
                      </a:gs>
                    </a:gsLst>
                    <a:lin ang="5400000" scaled="1"/>
                  </a:gradFill>
                  <a:latin typeface="72" panose="020B0503030000000003" pitchFamily="34" charset="0"/>
                  <a:ea typeface="Segoe UI" pitchFamily="34" charset="0"/>
                  <a:cs typeface="72" panose="020B0503030000000003" pitchFamily="34" charset="0"/>
                </a:endParaRPr>
              </a:p>
            </p:txBody>
          </p:sp>
          <p:cxnSp>
            <p:nvCxnSpPr>
              <p:cNvPr id="103" name="Gerader Verbinder 42">
                <a:extLst>
                  <a:ext uri="{FF2B5EF4-FFF2-40B4-BE49-F238E27FC236}">
                    <a16:creationId xmlns:a16="http://schemas.microsoft.com/office/drawing/2014/main" id="{85FFDF4C-4379-81BE-2F16-958C0AE48D21}"/>
                  </a:ext>
                </a:extLst>
              </p:cNvPr>
              <p:cNvCxnSpPr>
                <a:cxnSpLocks/>
              </p:cNvCxnSpPr>
              <p:nvPr/>
            </p:nvCxnSpPr>
            <p:spPr>
              <a:xfrm>
                <a:off x="5772716" y="2634680"/>
                <a:ext cx="0" cy="194470"/>
              </a:xfrm>
              <a:prstGeom prst="line">
                <a:avLst/>
              </a:prstGeom>
              <a:ln w="9525">
                <a:solidFill>
                  <a:schemeClr val="tx2"/>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104" name="Gerader Verbinder 49">
                <a:extLst>
                  <a:ext uri="{FF2B5EF4-FFF2-40B4-BE49-F238E27FC236}">
                    <a16:creationId xmlns:a16="http://schemas.microsoft.com/office/drawing/2014/main" id="{C6439F03-F9DD-33E5-E297-02FB56AB0714}"/>
                  </a:ext>
                </a:extLst>
              </p:cNvPr>
              <p:cNvCxnSpPr>
                <a:cxnSpLocks/>
              </p:cNvCxnSpPr>
              <p:nvPr/>
            </p:nvCxnSpPr>
            <p:spPr>
              <a:xfrm>
                <a:off x="5825189" y="2657451"/>
                <a:ext cx="0" cy="142749"/>
              </a:xfrm>
              <a:prstGeom prst="line">
                <a:avLst/>
              </a:prstGeom>
              <a:ln w="9525">
                <a:solidFill>
                  <a:schemeClr val="tx2"/>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grpSp>
      </p:grpSp>
      <p:grpSp>
        <p:nvGrpSpPr>
          <p:cNvPr id="105" name="Gruppieren 19">
            <a:extLst>
              <a:ext uri="{FF2B5EF4-FFF2-40B4-BE49-F238E27FC236}">
                <a16:creationId xmlns:a16="http://schemas.microsoft.com/office/drawing/2014/main" id="{BC5ADCC9-6712-2672-4605-D5CECF60423F}"/>
              </a:ext>
            </a:extLst>
          </p:cNvPr>
          <p:cNvGrpSpPr/>
          <p:nvPr/>
        </p:nvGrpSpPr>
        <p:grpSpPr>
          <a:xfrm>
            <a:off x="2977528" y="4286232"/>
            <a:ext cx="508209" cy="508210"/>
            <a:chOff x="5591957" y="2541793"/>
            <a:chExt cx="364241" cy="364241"/>
          </a:xfrm>
        </p:grpSpPr>
        <p:sp>
          <p:nvSpPr>
            <p:cNvPr id="106" name="Ellipse 37">
              <a:extLst>
                <a:ext uri="{FF2B5EF4-FFF2-40B4-BE49-F238E27FC236}">
                  <a16:creationId xmlns:a16="http://schemas.microsoft.com/office/drawing/2014/main" id="{76174D79-E330-38CF-D4F1-4A86C00AA78C}"/>
                </a:ext>
              </a:extLst>
            </p:cNvPr>
            <p:cNvSpPr/>
            <p:nvPr/>
          </p:nvSpPr>
          <p:spPr bwMode="auto">
            <a:xfrm>
              <a:off x="5591957" y="2541793"/>
              <a:ext cx="364241" cy="364241"/>
            </a:xfrm>
            <a:prstGeom prst="ellipse">
              <a:avLst/>
            </a:prstGeom>
            <a:solidFill>
              <a:schemeClr val="bg1"/>
            </a:solid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de-DE" sz="2000">
                <a:gradFill>
                  <a:gsLst>
                    <a:gs pos="0">
                      <a:schemeClr val="bg1"/>
                    </a:gs>
                    <a:gs pos="100000">
                      <a:schemeClr val="bg1"/>
                    </a:gs>
                  </a:gsLst>
                  <a:lin ang="5400000" scaled="1"/>
                </a:gradFill>
                <a:latin typeface="72" panose="020B0503030000000003" pitchFamily="34" charset="0"/>
                <a:ea typeface="Segoe UI" pitchFamily="34" charset="0"/>
                <a:cs typeface="72" panose="020B0503030000000003" pitchFamily="34" charset="0"/>
              </a:endParaRPr>
            </a:p>
          </p:txBody>
        </p:sp>
        <p:grpSp>
          <p:nvGrpSpPr>
            <p:cNvPr id="107" name="Gruppieren 22">
              <a:extLst>
                <a:ext uri="{FF2B5EF4-FFF2-40B4-BE49-F238E27FC236}">
                  <a16:creationId xmlns:a16="http://schemas.microsoft.com/office/drawing/2014/main" id="{548AE8FE-C305-3D77-228C-8222CBAFC2A6}"/>
                </a:ext>
              </a:extLst>
            </p:cNvPr>
            <p:cNvGrpSpPr/>
            <p:nvPr/>
          </p:nvGrpSpPr>
          <p:grpSpPr>
            <a:xfrm>
              <a:off x="5684971" y="2626678"/>
              <a:ext cx="178212" cy="194470"/>
              <a:chOff x="5683610" y="2634680"/>
              <a:chExt cx="178212" cy="194470"/>
            </a:xfrm>
          </p:grpSpPr>
          <p:cxnSp>
            <p:nvCxnSpPr>
              <p:cNvPr id="108" name="Gerader Verbinder 36">
                <a:extLst>
                  <a:ext uri="{FF2B5EF4-FFF2-40B4-BE49-F238E27FC236}">
                    <a16:creationId xmlns:a16="http://schemas.microsoft.com/office/drawing/2014/main" id="{1A193888-2E00-382D-7D7A-8A8A29FFE255}"/>
                  </a:ext>
                </a:extLst>
              </p:cNvPr>
              <p:cNvCxnSpPr>
                <a:cxnSpLocks/>
              </p:cNvCxnSpPr>
              <p:nvPr/>
            </p:nvCxnSpPr>
            <p:spPr>
              <a:xfrm>
                <a:off x="5720251" y="2664059"/>
                <a:ext cx="0" cy="137316"/>
              </a:xfrm>
              <a:prstGeom prst="line">
                <a:avLst/>
              </a:prstGeom>
              <a:ln w="9525">
                <a:solidFill>
                  <a:schemeClr val="tx2"/>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109" name="Rechteck: abgerundete Ecken 34">
                <a:extLst>
                  <a:ext uri="{FF2B5EF4-FFF2-40B4-BE49-F238E27FC236}">
                    <a16:creationId xmlns:a16="http://schemas.microsoft.com/office/drawing/2014/main" id="{0D92FA1D-63D7-D61E-B26D-4FAD8333CD32}"/>
                  </a:ext>
                </a:extLst>
              </p:cNvPr>
              <p:cNvSpPr/>
              <p:nvPr/>
            </p:nvSpPr>
            <p:spPr bwMode="auto">
              <a:xfrm>
                <a:off x="5683610" y="2701153"/>
                <a:ext cx="178212" cy="55838"/>
              </a:xfrm>
              <a:prstGeom prst="round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de-DE" sz="2000">
                  <a:gradFill>
                    <a:gsLst>
                      <a:gs pos="0">
                        <a:schemeClr val="bg1"/>
                      </a:gs>
                      <a:gs pos="100000">
                        <a:schemeClr val="bg1"/>
                      </a:gs>
                    </a:gsLst>
                    <a:lin ang="5400000" scaled="1"/>
                  </a:gradFill>
                  <a:latin typeface="72" panose="020B0503030000000003" pitchFamily="34" charset="0"/>
                  <a:ea typeface="Segoe UI" pitchFamily="34" charset="0"/>
                  <a:cs typeface="72" panose="020B0503030000000003" pitchFamily="34" charset="0"/>
                </a:endParaRPr>
              </a:p>
            </p:txBody>
          </p:sp>
          <p:cxnSp>
            <p:nvCxnSpPr>
              <p:cNvPr id="110" name="Gerader Verbinder 42">
                <a:extLst>
                  <a:ext uri="{FF2B5EF4-FFF2-40B4-BE49-F238E27FC236}">
                    <a16:creationId xmlns:a16="http://schemas.microsoft.com/office/drawing/2014/main" id="{442281E3-6186-950E-4946-C356A8A679E5}"/>
                  </a:ext>
                </a:extLst>
              </p:cNvPr>
              <p:cNvCxnSpPr>
                <a:cxnSpLocks/>
              </p:cNvCxnSpPr>
              <p:nvPr/>
            </p:nvCxnSpPr>
            <p:spPr>
              <a:xfrm>
                <a:off x="5772716" y="2634680"/>
                <a:ext cx="0" cy="194470"/>
              </a:xfrm>
              <a:prstGeom prst="line">
                <a:avLst/>
              </a:prstGeom>
              <a:ln w="9525">
                <a:solidFill>
                  <a:schemeClr val="tx2"/>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111" name="Gerader Verbinder 49">
                <a:extLst>
                  <a:ext uri="{FF2B5EF4-FFF2-40B4-BE49-F238E27FC236}">
                    <a16:creationId xmlns:a16="http://schemas.microsoft.com/office/drawing/2014/main" id="{83ABDE28-D335-939D-85BD-E4B026D4FF73}"/>
                  </a:ext>
                </a:extLst>
              </p:cNvPr>
              <p:cNvCxnSpPr>
                <a:cxnSpLocks/>
              </p:cNvCxnSpPr>
              <p:nvPr/>
            </p:nvCxnSpPr>
            <p:spPr>
              <a:xfrm>
                <a:off x="5825189" y="2657451"/>
                <a:ext cx="0" cy="142749"/>
              </a:xfrm>
              <a:prstGeom prst="line">
                <a:avLst/>
              </a:prstGeom>
              <a:ln w="9525">
                <a:solidFill>
                  <a:schemeClr val="tx2"/>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grpSp>
      </p:grpSp>
      <p:cxnSp>
        <p:nvCxnSpPr>
          <p:cNvPr id="112" name="Straight Connector 1985">
            <a:extLst>
              <a:ext uri="{FF2B5EF4-FFF2-40B4-BE49-F238E27FC236}">
                <a16:creationId xmlns:a16="http://schemas.microsoft.com/office/drawing/2014/main" id="{8F98FEB7-A36F-0B16-DC0E-F1720463084E}"/>
              </a:ext>
            </a:extLst>
          </p:cNvPr>
          <p:cNvCxnSpPr>
            <a:cxnSpLocks/>
          </p:cNvCxnSpPr>
          <p:nvPr/>
        </p:nvCxnSpPr>
        <p:spPr>
          <a:xfrm flipH="1">
            <a:off x="5571972" y="4799383"/>
            <a:ext cx="579" cy="207957"/>
          </a:xfrm>
          <a:prstGeom prst="line">
            <a:avLst/>
          </a:prstGeom>
          <a:ln w="28575" cap="flat" cmpd="sng" algn="ctr">
            <a:solidFill>
              <a:schemeClr val="accent2"/>
            </a:solidFill>
            <a:prstDash val="sysDot"/>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113" name="Freihandform 61">
            <a:extLst>
              <a:ext uri="{FF2B5EF4-FFF2-40B4-BE49-F238E27FC236}">
                <a16:creationId xmlns:a16="http://schemas.microsoft.com/office/drawing/2014/main" id="{202739F1-3A78-1B2D-7C44-C49435D8E4A3}"/>
              </a:ext>
            </a:extLst>
          </p:cNvPr>
          <p:cNvSpPr/>
          <p:nvPr/>
        </p:nvSpPr>
        <p:spPr>
          <a:xfrm>
            <a:off x="3081522" y="4977457"/>
            <a:ext cx="316726" cy="362237"/>
          </a:xfrm>
          <a:custGeom>
            <a:avLst/>
            <a:gdLst>
              <a:gd name="connsiteX0" fmla="*/ 415766 w 441483"/>
              <a:gd name="connsiteY0" fmla="*/ 263176 h 504920"/>
              <a:gd name="connsiteX1" fmla="*/ 433768 w 441483"/>
              <a:gd name="connsiteY1" fmla="*/ 270034 h 504920"/>
              <a:gd name="connsiteX2" fmla="*/ 441484 w 441483"/>
              <a:gd name="connsiteY2" fmla="*/ 288036 h 504920"/>
              <a:gd name="connsiteX3" fmla="*/ 441484 w 441483"/>
              <a:gd name="connsiteY3" fmla="*/ 479203 h 504920"/>
              <a:gd name="connsiteX4" fmla="*/ 433768 w 441483"/>
              <a:gd name="connsiteY4" fmla="*/ 497205 h 504920"/>
              <a:gd name="connsiteX5" fmla="*/ 415766 w 441483"/>
              <a:gd name="connsiteY5" fmla="*/ 504920 h 504920"/>
              <a:gd name="connsiteX6" fmla="*/ 25718 w 441483"/>
              <a:gd name="connsiteY6" fmla="*/ 504920 h 504920"/>
              <a:gd name="connsiteX7" fmla="*/ 7715 w 441483"/>
              <a:gd name="connsiteY7" fmla="*/ 497205 h 504920"/>
              <a:gd name="connsiteX8" fmla="*/ 0 w 441483"/>
              <a:gd name="connsiteY8" fmla="*/ 479203 h 504920"/>
              <a:gd name="connsiteX9" fmla="*/ 0 w 441483"/>
              <a:gd name="connsiteY9" fmla="*/ 192024 h 504920"/>
              <a:gd name="connsiteX10" fmla="*/ 7715 w 441483"/>
              <a:gd name="connsiteY10" fmla="*/ 174022 h 504920"/>
              <a:gd name="connsiteX11" fmla="*/ 25718 w 441483"/>
              <a:gd name="connsiteY11" fmla="*/ 167164 h 504920"/>
              <a:gd name="connsiteX12" fmla="*/ 126016 w 441483"/>
              <a:gd name="connsiteY12" fmla="*/ 167164 h 504920"/>
              <a:gd name="connsiteX13" fmla="*/ 126016 w 441483"/>
              <a:gd name="connsiteY13" fmla="*/ 120872 h 504920"/>
              <a:gd name="connsiteX14" fmla="*/ 138017 w 441483"/>
              <a:gd name="connsiteY14" fmla="*/ 99441 h 504920"/>
              <a:gd name="connsiteX15" fmla="*/ 195453 w 441483"/>
              <a:gd name="connsiteY15" fmla="*/ 59150 h 504920"/>
              <a:gd name="connsiteX16" fmla="*/ 195453 w 441483"/>
              <a:gd name="connsiteY16" fmla="*/ 25718 h 504920"/>
              <a:gd name="connsiteX17" fmla="*/ 203168 w 441483"/>
              <a:gd name="connsiteY17" fmla="*/ 7715 h 504920"/>
              <a:gd name="connsiteX18" fmla="*/ 221170 w 441483"/>
              <a:gd name="connsiteY18" fmla="*/ 0 h 504920"/>
              <a:gd name="connsiteX19" fmla="*/ 239172 w 441483"/>
              <a:gd name="connsiteY19" fmla="*/ 7715 h 504920"/>
              <a:gd name="connsiteX20" fmla="*/ 246888 w 441483"/>
              <a:gd name="connsiteY20" fmla="*/ 25718 h 504920"/>
              <a:gd name="connsiteX21" fmla="*/ 246888 w 441483"/>
              <a:gd name="connsiteY21" fmla="*/ 59150 h 504920"/>
              <a:gd name="connsiteX22" fmla="*/ 304324 w 441483"/>
              <a:gd name="connsiteY22" fmla="*/ 99441 h 504920"/>
              <a:gd name="connsiteX23" fmla="*/ 316325 w 441483"/>
              <a:gd name="connsiteY23" fmla="*/ 120872 h 504920"/>
              <a:gd name="connsiteX24" fmla="*/ 316325 w 441483"/>
              <a:gd name="connsiteY24" fmla="*/ 263176 h 504920"/>
              <a:gd name="connsiteX25" fmla="*/ 415766 w 441483"/>
              <a:gd name="connsiteY25" fmla="*/ 263176 h 504920"/>
              <a:gd name="connsiteX26" fmla="*/ 49720 w 441483"/>
              <a:gd name="connsiteY26" fmla="*/ 217741 h 504920"/>
              <a:gd name="connsiteX27" fmla="*/ 49720 w 441483"/>
              <a:gd name="connsiteY27" fmla="*/ 263176 h 504920"/>
              <a:gd name="connsiteX28" fmla="*/ 126016 w 441483"/>
              <a:gd name="connsiteY28" fmla="*/ 263176 h 504920"/>
              <a:gd name="connsiteX29" fmla="*/ 126016 w 441483"/>
              <a:gd name="connsiteY29" fmla="*/ 217741 h 504920"/>
              <a:gd name="connsiteX30" fmla="*/ 49720 w 441483"/>
              <a:gd name="connsiteY30" fmla="*/ 217741 h 504920"/>
              <a:gd name="connsiteX31" fmla="*/ 49720 w 441483"/>
              <a:gd name="connsiteY31" fmla="*/ 358331 h 504920"/>
              <a:gd name="connsiteX32" fmla="*/ 126016 w 441483"/>
              <a:gd name="connsiteY32" fmla="*/ 358331 h 504920"/>
              <a:gd name="connsiteX33" fmla="*/ 126016 w 441483"/>
              <a:gd name="connsiteY33" fmla="*/ 312896 h 504920"/>
              <a:gd name="connsiteX34" fmla="*/ 49720 w 441483"/>
              <a:gd name="connsiteY34" fmla="*/ 312896 h 504920"/>
              <a:gd name="connsiteX35" fmla="*/ 49720 w 441483"/>
              <a:gd name="connsiteY35" fmla="*/ 358331 h 504920"/>
              <a:gd name="connsiteX36" fmla="*/ 49720 w 441483"/>
              <a:gd name="connsiteY36" fmla="*/ 454342 h 504920"/>
              <a:gd name="connsiteX37" fmla="*/ 126016 w 441483"/>
              <a:gd name="connsiteY37" fmla="*/ 454342 h 504920"/>
              <a:gd name="connsiteX38" fmla="*/ 126016 w 441483"/>
              <a:gd name="connsiteY38" fmla="*/ 408908 h 504920"/>
              <a:gd name="connsiteX39" fmla="*/ 49720 w 441483"/>
              <a:gd name="connsiteY39" fmla="*/ 408908 h 504920"/>
              <a:gd name="connsiteX40" fmla="*/ 49720 w 441483"/>
              <a:gd name="connsiteY40" fmla="*/ 454342 h 504920"/>
              <a:gd name="connsiteX41" fmla="*/ 175736 w 441483"/>
              <a:gd name="connsiteY41" fmla="*/ 167164 h 504920"/>
              <a:gd name="connsiteX42" fmla="*/ 264890 w 441483"/>
              <a:gd name="connsiteY42" fmla="*/ 167164 h 504920"/>
              <a:gd name="connsiteX43" fmla="*/ 264890 w 441483"/>
              <a:gd name="connsiteY43" fmla="*/ 134588 h 504920"/>
              <a:gd name="connsiteX44" fmla="*/ 220313 w 441483"/>
              <a:gd name="connsiteY44" fmla="*/ 102870 h 504920"/>
              <a:gd name="connsiteX45" fmla="*/ 175736 w 441483"/>
              <a:gd name="connsiteY45" fmla="*/ 133731 h 504920"/>
              <a:gd name="connsiteX46" fmla="*/ 175736 w 441483"/>
              <a:gd name="connsiteY46" fmla="*/ 167164 h 504920"/>
              <a:gd name="connsiteX47" fmla="*/ 264890 w 441483"/>
              <a:gd name="connsiteY47" fmla="*/ 217741 h 504920"/>
              <a:gd name="connsiteX48" fmla="*/ 175736 w 441483"/>
              <a:gd name="connsiteY48" fmla="*/ 217741 h 504920"/>
              <a:gd name="connsiteX49" fmla="*/ 175736 w 441483"/>
              <a:gd name="connsiteY49" fmla="*/ 263176 h 504920"/>
              <a:gd name="connsiteX50" fmla="*/ 264890 w 441483"/>
              <a:gd name="connsiteY50" fmla="*/ 263176 h 504920"/>
              <a:gd name="connsiteX51" fmla="*/ 264890 w 441483"/>
              <a:gd name="connsiteY51" fmla="*/ 217741 h 504920"/>
              <a:gd name="connsiteX52" fmla="*/ 264890 w 441483"/>
              <a:gd name="connsiteY52" fmla="*/ 358331 h 504920"/>
              <a:gd name="connsiteX53" fmla="*/ 264890 w 441483"/>
              <a:gd name="connsiteY53" fmla="*/ 312896 h 504920"/>
              <a:gd name="connsiteX54" fmla="*/ 175736 w 441483"/>
              <a:gd name="connsiteY54" fmla="*/ 312896 h 504920"/>
              <a:gd name="connsiteX55" fmla="*/ 175736 w 441483"/>
              <a:gd name="connsiteY55" fmla="*/ 358331 h 504920"/>
              <a:gd name="connsiteX56" fmla="*/ 264890 w 441483"/>
              <a:gd name="connsiteY56" fmla="*/ 358331 h 504920"/>
              <a:gd name="connsiteX57" fmla="*/ 264890 w 441483"/>
              <a:gd name="connsiteY57" fmla="*/ 453485 h 504920"/>
              <a:gd name="connsiteX58" fmla="*/ 264890 w 441483"/>
              <a:gd name="connsiteY58" fmla="*/ 408908 h 504920"/>
              <a:gd name="connsiteX59" fmla="*/ 175736 w 441483"/>
              <a:gd name="connsiteY59" fmla="*/ 408908 h 504920"/>
              <a:gd name="connsiteX60" fmla="*/ 175736 w 441483"/>
              <a:gd name="connsiteY60" fmla="*/ 453485 h 504920"/>
              <a:gd name="connsiteX61" fmla="*/ 264890 w 441483"/>
              <a:gd name="connsiteY61" fmla="*/ 453485 h 504920"/>
              <a:gd name="connsiteX62" fmla="*/ 314611 w 441483"/>
              <a:gd name="connsiteY62" fmla="*/ 313754 h 504920"/>
              <a:gd name="connsiteX63" fmla="*/ 314611 w 441483"/>
              <a:gd name="connsiteY63" fmla="*/ 359188 h 504920"/>
              <a:gd name="connsiteX64" fmla="*/ 390906 w 441483"/>
              <a:gd name="connsiteY64" fmla="*/ 359188 h 504920"/>
              <a:gd name="connsiteX65" fmla="*/ 390906 w 441483"/>
              <a:gd name="connsiteY65" fmla="*/ 313754 h 504920"/>
              <a:gd name="connsiteX66" fmla="*/ 314611 w 441483"/>
              <a:gd name="connsiteY66" fmla="*/ 313754 h 504920"/>
              <a:gd name="connsiteX67" fmla="*/ 390906 w 441483"/>
              <a:gd name="connsiteY67" fmla="*/ 454342 h 504920"/>
              <a:gd name="connsiteX68" fmla="*/ 390906 w 441483"/>
              <a:gd name="connsiteY68" fmla="*/ 408908 h 504920"/>
              <a:gd name="connsiteX69" fmla="*/ 314611 w 441483"/>
              <a:gd name="connsiteY69" fmla="*/ 408908 h 504920"/>
              <a:gd name="connsiteX70" fmla="*/ 314611 w 441483"/>
              <a:gd name="connsiteY70" fmla="*/ 454342 h 504920"/>
              <a:gd name="connsiteX71" fmla="*/ 390906 w 441483"/>
              <a:gd name="connsiteY71" fmla="*/ 454342 h 504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441483" h="504920">
                <a:moveTo>
                  <a:pt x="415766" y="263176"/>
                </a:moveTo>
                <a:cubicBezTo>
                  <a:pt x="422624" y="263176"/>
                  <a:pt x="429482" y="265747"/>
                  <a:pt x="433768" y="270034"/>
                </a:cubicBezTo>
                <a:cubicBezTo>
                  <a:pt x="438912" y="274320"/>
                  <a:pt x="441484" y="280321"/>
                  <a:pt x="441484" y="288036"/>
                </a:cubicBezTo>
                <a:lnTo>
                  <a:pt x="441484" y="479203"/>
                </a:lnTo>
                <a:cubicBezTo>
                  <a:pt x="441484" y="486061"/>
                  <a:pt x="438912" y="492919"/>
                  <a:pt x="433768" y="497205"/>
                </a:cubicBezTo>
                <a:cubicBezTo>
                  <a:pt x="428625" y="502349"/>
                  <a:pt x="422624" y="504920"/>
                  <a:pt x="415766" y="504920"/>
                </a:cubicBezTo>
                <a:lnTo>
                  <a:pt x="25718" y="504920"/>
                </a:lnTo>
                <a:cubicBezTo>
                  <a:pt x="18860" y="504920"/>
                  <a:pt x="12001" y="502349"/>
                  <a:pt x="7715" y="497205"/>
                </a:cubicBezTo>
                <a:cubicBezTo>
                  <a:pt x="2572" y="492061"/>
                  <a:pt x="0" y="486061"/>
                  <a:pt x="0" y="479203"/>
                </a:cubicBezTo>
                <a:lnTo>
                  <a:pt x="0" y="192024"/>
                </a:lnTo>
                <a:cubicBezTo>
                  <a:pt x="0" y="185166"/>
                  <a:pt x="2572" y="179165"/>
                  <a:pt x="7715" y="174022"/>
                </a:cubicBezTo>
                <a:cubicBezTo>
                  <a:pt x="12859" y="169735"/>
                  <a:pt x="18860" y="167164"/>
                  <a:pt x="25718" y="167164"/>
                </a:cubicBezTo>
                <a:lnTo>
                  <a:pt x="126016" y="167164"/>
                </a:lnTo>
                <a:lnTo>
                  <a:pt x="126016" y="120872"/>
                </a:lnTo>
                <a:cubicBezTo>
                  <a:pt x="126016" y="112300"/>
                  <a:pt x="130302" y="105442"/>
                  <a:pt x="138017" y="99441"/>
                </a:cubicBezTo>
                <a:lnTo>
                  <a:pt x="195453" y="59150"/>
                </a:lnTo>
                <a:lnTo>
                  <a:pt x="195453" y="25718"/>
                </a:lnTo>
                <a:cubicBezTo>
                  <a:pt x="195453" y="18859"/>
                  <a:pt x="198025" y="12001"/>
                  <a:pt x="203168" y="7715"/>
                </a:cubicBezTo>
                <a:cubicBezTo>
                  <a:pt x="208312" y="2572"/>
                  <a:pt x="214313" y="0"/>
                  <a:pt x="221170" y="0"/>
                </a:cubicBezTo>
                <a:cubicBezTo>
                  <a:pt x="228028" y="0"/>
                  <a:pt x="234886" y="2572"/>
                  <a:pt x="239172" y="7715"/>
                </a:cubicBezTo>
                <a:cubicBezTo>
                  <a:pt x="244316" y="12859"/>
                  <a:pt x="246888" y="18859"/>
                  <a:pt x="246888" y="25718"/>
                </a:cubicBezTo>
                <a:lnTo>
                  <a:pt x="246888" y="59150"/>
                </a:lnTo>
                <a:lnTo>
                  <a:pt x="304324" y="99441"/>
                </a:lnTo>
                <a:cubicBezTo>
                  <a:pt x="312039" y="103727"/>
                  <a:pt x="316325" y="111443"/>
                  <a:pt x="316325" y="120872"/>
                </a:cubicBezTo>
                <a:lnTo>
                  <a:pt x="316325" y="263176"/>
                </a:lnTo>
                <a:lnTo>
                  <a:pt x="415766" y="263176"/>
                </a:lnTo>
                <a:close/>
                <a:moveTo>
                  <a:pt x="49720" y="217741"/>
                </a:moveTo>
                <a:lnTo>
                  <a:pt x="49720" y="263176"/>
                </a:lnTo>
                <a:lnTo>
                  <a:pt x="126016" y="263176"/>
                </a:lnTo>
                <a:lnTo>
                  <a:pt x="126016" y="217741"/>
                </a:lnTo>
                <a:lnTo>
                  <a:pt x="49720" y="217741"/>
                </a:lnTo>
                <a:close/>
                <a:moveTo>
                  <a:pt x="49720" y="358331"/>
                </a:moveTo>
                <a:lnTo>
                  <a:pt x="126016" y="358331"/>
                </a:lnTo>
                <a:lnTo>
                  <a:pt x="126016" y="312896"/>
                </a:lnTo>
                <a:lnTo>
                  <a:pt x="49720" y="312896"/>
                </a:lnTo>
                <a:lnTo>
                  <a:pt x="49720" y="358331"/>
                </a:lnTo>
                <a:close/>
                <a:moveTo>
                  <a:pt x="49720" y="454342"/>
                </a:moveTo>
                <a:lnTo>
                  <a:pt x="126016" y="454342"/>
                </a:lnTo>
                <a:lnTo>
                  <a:pt x="126016" y="408908"/>
                </a:lnTo>
                <a:lnTo>
                  <a:pt x="49720" y="408908"/>
                </a:lnTo>
                <a:lnTo>
                  <a:pt x="49720" y="454342"/>
                </a:lnTo>
                <a:close/>
                <a:moveTo>
                  <a:pt x="175736" y="167164"/>
                </a:moveTo>
                <a:lnTo>
                  <a:pt x="264890" y="167164"/>
                </a:lnTo>
                <a:lnTo>
                  <a:pt x="264890" y="134588"/>
                </a:lnTo>
                <a:lnTo>
                  <a:pt x="220313" y="102870"/>
                </a:lnTo>
                <a:lnTo>
                  <a:pt x="175736" y="133731"/>
                </a:lnTo>
                <a:lnTo>
                  <a:pt x="175736" y="167164"/>
                </a:lnTo>
                <a:close/>
                <a:moveTo>
                  <a:pt x="264890" y="217741"/>
                </a:moveTo>
                <a:lnTo>
                  <a:pt x="175736" y="217741"/>
                </a:lnTo>
                <a:lnTo>
                  <a:pt x="175736" y="263176"/>
                </a:lnTo>
                <a:lnTo>
                  <a:pt x="264890" y="263176"/>
                </a:lnTo>
                <a:lnTo>
                  <a:pt x="264890" y="217741"/>
                </a:lnTo>
                <a:close/>
                <a:moveTo>
                  <a:pt x="264890" y="358331"/>
                </a:moveTo>
                <a:lnTo>
                  <a:pt x="264890" y="312896"/>
                </a:lnTo>
                <a:lnTo>
                  <a:pt x="175736" y="312896"/>
                </a:lnTo>
                <a:lnTo>
                  <a:pt x="175736" y="358331"/>
                </a:lnTo>
                <a:lnTo>
                  <a:pt x="264890" y="358331"/>
                </a:lnTo>
                <a:close/>
                <a:moveTo>
                  <a:pt x="264890" y="453485"/>
                </a:moveTo>
                <a:lnTo>
                  <a:pt x="264890" y="408908"/>
                </a:lnTo>
                <a:lnTo>
                  <a:pt x="175736" y="408908"/>
                </a:lnTo>
                <a:lnTo>
                  <a:pt x="175736" y="453485"/>
                </a:lnTo>
                <a:lnTo>
                  <a:pt x="264890" y="453485"/>
                </a:lnTo>
                <a:close/>
                <a:moveTo>
                  <a:pt x="314611" y="313754"/>
                </a:moveTo>
                <a:lnTo>
                  <a:pt x="314611" y="359188"/>
                </a:lnTo>
                <a:lnTo>
                  <a:pt x="390906" y="359188"/>
                </a:lnTo>
                <a:lnTo>
                  <a:pt x="390906" y="313754"/>
                </a:lnTo>
                <a:lnTo>
                  <a:pt x="314611" y="313754"/>
                </a:lnTo>
                <a:close/>
                <a:moveTo>
                  <a:pt x="390906" y="454342"/>
                </a:moveTo>
                <a:lnTo>
                  <a:pt x="390906" y="408908"/>
                </a:lnTo>
                <a:lnTo>
                  <a:pt x="314611" y="408908"/>
                </a:lnTo>
                <a:lnTo>
                  <a:pt x="314611" y="454342"/>
                </a:lnTo>
                <a:lnTo>
                  <a:pt x="390906" y="454342"/>
                </a:lnTo>
                <a:close/>
              </a:path>
            </a:pathLst>
          </a:custGeom>
          <a:solidFill>
            <a:schemeClr val="accent2"/>
          </a:solidFill>
          <a:ln w="8572" cap="flat">
            <a:noFill/>
            <a:prstDash val="solid"/>
            <a:miter/>
          </a:ln>
        </p:spPr>
        <p:txBody>
          <a:bodyPr rtlCol="0" anchor="ctr"/>
          <a:lstStyle/>
          <a:p>
            <a:endParaRPr lang="de-DE"/>
          </a:p>
        </p:txBody>
      </p:sp>
      <p:sp>
        <p:nvSpPr>
          <p:cNvPr id="114" name="Freihandform 62">
            <a:extLst>
              <a:ext uri="{FF2B5EF4-FFF2-40B4-BE49-F238E27FC236}">
                <a16:creationId xmlns:a16="http://schemas.microsoft.com/office/drawing/2014/main" id="{8635CD43-1CCF-BCD3-45BE-029E0746E5A0}"/>
              </a:ext>
            </a:extLst>
          </p:cNvPr>
          <p:cNvSpPr/>
          <p:nvPr/>
        </p:nvSpPr>
        <p:spPr>
          <a:xfrm>
            <a:off x="5387086" y="5068478"/>
            <a:ext cx="362851" cy="271216"/>
          </a:xfrm>
          <a:custGeom>
            <a:avLst/>
            <a:gdLst>
              <a:gd name="connsiteX0" fmla="*/ 372904 w 505777"/>
              <a:gd name="connsiteY0" fmla="*/ 378047 h 378047"/>
              <a:gd name="connsiteX1" fmla="*/ 110585 w 505777"/>
              <a:gd name="connsiteY1" fmla="*/ 378047 h 378047"/>
              <a:gd name="connsiteX2" fmla="*/ 67722 w 505777"/>
              <a:gd name="connsiteY2" fmla="*/ 369475 h 378047"/>
              <a:gd name="connsiteX3" fmla="*/ 32575 w 505777"/>
              <a:gd name="connsiteY3" fmla="*/ 345472 h 378047"/>
              <a:gd name="connsiteX4" fmla="*/ 8573 w 505777"/>
              <a:gd name="connsiteY4" fmla="*/ 310325 h 378047"/>
              <a:gd name="connsiteX5" fmla="*/ 0 w 505777"/>
              <a:gd name="connsiteY5" fmla="*/ 267462 h 378047"/>
              <a:gd name="connsiteX6" fmla="*/ 7715 w 505777"/>
              <a:gd name="connsiteY6" fmla="*/ 228028 h 378047"/>
              <a:gd name="connsiteX7" fmla="*/ 28289 w 505777"/>
              <a:gd name="connsiteY7" fmla="*/ 194596 h 378047"/>
              <a:gd name="connsiteX8" fmla="*/ 58293 w 505777"/>
              <a:gd name="connsiteY8" fmla="*/ 170593 h 378047"/>
              <a:gd name="connsiteX9" fmla="*/ 95155 w 505777"/>
              <a:gd name="connsiteY9" fmla="*/ 157734 h 378047"/>
              <a:gd name="connsiteX10" fmla="*/ 107156 w 505777"/>
              <a:gd name="connsiteY10" fmla="*/ 97726 h 378047"/>
              <a:gd name="connsiteX11" fmla="*/ 139732 w 505777"/>
              <a:gd name="connsiteY11" fmla="*/ 47149 h 378047"/>
              <a:gd name="connsiteX12" fmla="*/ 188595 w 505777"/>
              <a:gd name="connsiteY12" fmla="*/ 12859 h 378047"/>
              <a:gd name="connsiteX13" fmla="*/ 248603 w 505777"/>
              <a:gd name="connsiteY13" fmla="*/ 0 h 378047"/>
              <a:gd name="connsiteX14" fmla="*/ 334328 w 505777"/>
              <a:gd name="connsiteY14" fmla="*/ 27432 h 378047"/>
              <a:gd name="connsiteX15" fmla="*/ 390906 w 505777"/>
              <a:gd name="connsiteY15" fmla="*/ 98584 h 378047"/>
              <a:gd name="connsiteX16" fmla="*/ 436340 w 505777"/>
              <a:gd name="connsiteY16" fmla="*/ 115729 h 378047"/>
              <a:gd name="connsiteX17" fmla="*/ 473202 w 505777"/>
              <a:gd name="connsiteY17" fmla="*/ 146590 h 378047"/>
              <a:gd name="connsiteX18" fmla="*/ 497205 w 505777"/>
              <a:gd name="connsiteY18" fmla="*/ 188595 h 378047"/>
              <a:gd name="connsiteX19" fmla="*/ 505778 w 505777"/>
              <a:gd name="connsiteY19" fmla="*/ 238315 h 378047"/>
              <a:gd name="connsiteX20" fmla="*/ 489490 w 505777"/>
              <a:gd name="connsiteY20" fmla="*/ 303467 h 378047"/>
              <a:gd name="connsiteX21" fmla="*/ 444912 w 505777"/>
              <a:gd name="connsiteY21" fmla="*/ 354044 h 378047"/>
              <a:gd name="connsiteX22" fmla="*/ 372904 w 505777"/>
              <a:gd name="connsiteY22" fmla="*/ 378047 h 378047"/>
              <a:gd name="connsiteX23" fmla="*/ 110585 w 505777"/>
              <a:gd name="connsiteY23" fmla="*/ 206597 h 378047"/>
              <a:gd name="connsiteX24" fmla="*/ 66865 w 505777"/>
              <a:gd name="connsiteY24" fmla="*/ 224600 h 378047"/>
              <a:gd name="connsiteX25" fmla="*/ 48863 w 505777"/>
              <a:gd name="connsiteY25" fmla="*/ 266605 h 378047"/>
              <a:gd name="connsiteX26" fmla="*/ 66865 w 505777"/>
              <a:gd name="connsiteY26" fmla="*/ 310325 h 378047"/>
              <a:gd name="connsiteX27" fmla="*/ 110585 w 505777"/>
              <a:gd name="connsiteY27" fmla="*/ 328327 h 378047"/>
              <a:gd name="connsiteX28" fmla="*/ 372904 w 505777"/>
              <a:gd name="connsiteY28" fmla="*/ 328327 h 378047"/>
              <a:gd name="connsiteX29" fmla="*/ 403765 w 505777"/>
              <a:gd name="connsiteY29" fmla="*/ 319754 h 378047"/>
              <a:gd name="connsiteX30" fmla="*/ 429482 w 505777"/>
              <a:gd name="connsiteY30" fmla="*/ 297466 h 378047"/>
              <a:gd name="connsiteX31" fmla="*/ 447484 w 505777"/>
              <a:gd name="connsiteY31" fmla="*/ 266605 h 378047"/>
              <a:gd name="connsiteX32" fmla="*/ 453485 w 505777"/>
              <a:gd name="connsiteY32" fmla="*/ 233172 h 378047"/>
              <a:gd name="connsiteX33" fmla="*/ 447484 w 505777"/>
              <a:gd name="connsiteY33" fmla="*/ 201454 h 378047"/>
              <a:gd name="connsiteX34" fmla="*/ 430339 w 505777"/>
              <a:gd name="connsiteY34" fmla="*/ 174022 h 378047"/>
              <a:gd name="connsiteX35" fmla="*/ 405479 w 505777"/>
              <a:gd name="connsiteY35" fmla="*/ 155162 h 378047"/>
              <a:gd name="connsiteX36" fmla="*/ 375475 w 505777"/>
              <a:gd name="connsiteY36" fmla="*/ 147447 h 378047"/>
              <a:gd name="connsiteX37" fmla="*/ 343757 w 505777"/>
              <a:gd name="connsiteY37" fmla="*/ 120015 h 378047"/>
              <a:gd name="connsiteX38" fmla="*/ 308610 w 505777"/>
              <a:gd name="connsiteY38" fmla="*/ 70295 h 378047"/>
              <a:gd name="connsiteX39" fmla="*/ 246030 w 505777"/>
              <a:gd name="connsiteY39" fmla="*/ 49720 h 378047"/>
              <a:gd name="connsiteX40" fmla="*/ 174022 w 505777"/>
              <a:gd name="connsiteY40" fmla="*/ 79724 h 378047"/>
              <a:gd name="connsiteX41" fmla="*/ 144018 w 505777"/>
              <a:gd name="connsiteY41" fmla="*/ 155162 h 378047"/>
              <a:gd name="connsiteX42" fmla="*/ 144018 w 505777"/>
              <a:gd name="connsiteY42" fmla="*/ 176593 h 378047"/>
              <a:gd name="connsiteX43" fmla="*/ 138017 w 505777"/>
              <a:gd name="connsiteY43" fmla="*/ 197168 h 378047"/>
              <a:gd name="connsiteX44" fmla="*/ 118300 w 505777"/>
              <a:gd name="connsiteY44" fmla="*/ 205740 h 378047"/>
              <a:gd name="connsiteX45" fmla="*/ 110585 w 505777"/>
              <a:gd name="connsiteY45" fmla="*/ 205740 h 3780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505777" h="378047">
                <a:moveTo>
                  <a:pt x="372904" y="378047"/>
                </a:moveTo>
                <a:lnTo>
                  <a:pt x="110585" y="378047"/>
                </a:lnTo>
                <a:cubicBezTo>
                  <a:pt x="95155" y="378047"/>
                  <a:pt x="81439" y="375475"/>
                  <a:pt x="67722" y="369475"/>
                </a:cubicBezTo>
                <a:cubicBezTo>
                  <a:pt x="54007" y="363474"/>
                  <a:pt x="42005" y="355759"/>
                  <a:pt x="32575" y="345472"/>
                </a:cubicBezTo>
                <a:cubicBezTo>
                  <a:pt x="22288" y="335185"/>
                  <a:pt x="14573" y="323183"/>
                  <a:pt x="8573" y="310325"/>
                </a:cubicBezTo>
                <a:cubicBezTo>
                  <a:pt x="2572" y="296608"/>
                  <a:pt x="0" y="282893"/>
                  <a:pt x="0" y="267462"/>
                </a:cubicBezTo>
                <a:cubicBezTo>
                  <a:pt x="0" y="253746"/>
                  <a:pt x="2572" y="240887"/>
                  <a:pt x="7715" y="228028"/>
                </a:cubicBezTo>
                <a:cubicBezTo>
                  <a:pt x="12859" y="215170"/>
                  <a:pt x="19717" y="204883"/>
                  <a:pt x="28289" y="194596"/>
                </a:cubicBezTo>
                <a:cubicBezTo>
                  <a:pt x="36862" y="185166"/>
                  <a:pt x="47149" y="177451"/>
                  <a:pt x="58293" y="170593"/>
                </a:cubicBezTo>
                <a:cubicBezTo>
                  <a:pt x="69437" y="163735"/>
                  <a:pt x="82296" y="159448"/>
                  <a:pt x="95155" y="157734"/>
                </a:cubicBezTo>
                <a:cubicBezTo>
                  <a:pt x="95155" y="136303"/>
                  <a:pt x="99441" y="116586"/>
                  <a:pt x="107156" y="97726"/>
                </a:cubicBezTo>
                <a:cubicBezTo>
                  <a:pt x="114871" y="78867"/>
                  <a:pt x="126015" y="61722"/>
                  <a:pt x="139732" y="47149"/>
                </a:cubicBezTo>
                <a:cubicBezTo>
                  <a:pt x="153447" y="32575"/>
                  <a:pt x="169735" y="21431"/>
                  <a:pt x="188595" y="12859"/>
                </a:cubicBezTo>
                <a:cubicBezTo>
                  <a:pt x="207454" y="4286"/>
                  <a:pt x="227171" y="0"/>
                  <a:pt x="248603" y="0"/>
                </a:cubicBezTo>
                <a:cubicBezTo>
                  <a:pt x="279463" y="0"/>
                  <a:pt x="307752" y="9430"/>
                  <a:pt x="334328" y="27432"/>
                </a:cubicBezTo>
                <a:cubicBezTo>
                  <a:pt x="360902" y="45434"/>
                  <a:pt x="379762" y="69437"/>
                  <a:pt x="390906" y="98584"/>
                </a:cubicBezTo>
                <a:cubicBezTo>
                  <a:pt x="407194" y="101155"/>
                  <a:pt x="422624" y="107156"/>
                  <a:pt x="436340" y="115729"/>
                </a:cubicBezTo>
                <a:cubicBezTo>
                  <a:pt x="450056" y="124301"/>
                  <a:pt x="462915" y="134588"/>
                  <a:pt x="473202" y="146590"/>
                </a:cubicBezTo>
                <a:cubicBezTo>
                  <a:pt x="483489" y="158591"/>
                  <a:pt x="491204" y="172307"/>
                  <a:pt x="497205" y="188595"/>
                </a:cubicBezTo>
                <a:cubicBezTo>
                  <a:pt x="503205" y="204025"/>
                  <a:pt x="505778" y="221170"/>
                  <a:pt x="505778" y="238315"/>
                </a:cubicBezTo>
                <a:cubicBezTo>
                  <a:pt x="505778" y="261461"/>
                  <a:pt x="500634" y="282893"/>
                  <a:pt x="489490" y="303467"/>
                </a:cubicBezTo>
                <a:cubicBezTo>
                  <a:pt x="478345" y="324040"/>
                  <a:pt x="463772" y="341185"/>
                  <a:pt x="444912" y="354044"/>
                </a:cubicBezTo>
                <a:cubicBezTo>
                  <a:pt x="422624" y="370332"/>
                  <a:pt x="399478" y="378047"/>
                  <a:pt x="372904" y="378047"/>
                </a:cubicBezTo>
                <a:close/>
                <a:moveTo>
                  <a:pt x="110585" y="206597"/>
                </a:moveTo>
                <a:cubicBezTo>
                  <a:pt x="93440" y="206597"/>
                  <a:pt x="78867" y="212598"/>
                  <a:pt x="66865" y="224600"/>
                </a:cubicBezTo>
                <a:cubicBezTo>
                  <a:pt x="54864" y="236601"/>
                  <a:pt x="48863" y="250317"/>
                  <a:pt x="48863" y="266605"/>
                </a:cubicBezTo>
                <a:cubicBezTo>
                  <a:pt x="48863" y="283750"/>
                  <a:pt x="54864" y="298323"/>
                  <a:pt x="66865" y="310325"/>
                </a:cubicBezTo>
                <a:cubicBezTo>
                  <a:pt x="78867" y="322326"/>
                  <a:pt x="93440" y="328327"/>
                  <a:pt x="110585" y="328327"/>
                </a:cubicBezTo>
                <a:lnTo>
                  <a:pt x="372904" y="328327"/>
                </a:lnTo>
                <a:cubicBezTo>
                  <a:pt x="384048" y="328327"/>
                  <a:pt x="394335" y="325755"/>
                  <a:pt x="403765" y="319754"/>
                </a:cubicBezTo>
                <a:cubicBezTo>
                  <a:pt x="413194" y="313753"/>
                  <a:pt x="421767" y="306895"/>
                  <a:pt x="429482" y="297466"/>
                </a:cubicBezTo>
                <a:cubicBezTo>
                  <a:pt x="437198" y="288036"/>
                  <a:pt x="443198" y="277749"/>
                  <a:pt x="447484" y="266605"/>
                </a:cubicBezTo>
                <a:cubicBezTo>
                  <a:pt x="451770" y="255460"/>
                  <a:pt x="453485" y="244316"/>
                  <a:pt x="453485" y="233172"/>
                </a:cubicBezTo>
                <a:cubicBezTo>
                  <a:pt x="453485" y="222028"/>
                  <a:pt x="451770" y="211741"/>
                  <a:pt x="447484" y="201454"/>
                </a:cubicBezTo>
                <a:cubicBezTo>
                  <a:pt x="443198" y="191167"/>
                  <a:pt x="437198" y="182594"/>
                  <a:pt x="430339" y="174022"/>
                </a:cubicBezTo>
                <a:cubicBezTo>
                  <a:pt x="423481" y="166307"/>
                  <a:pt x="414909" y="160306"/>
                  <a:pt x="405479" y="155162"/>
                </a:cubicBezTo>
                <a:cubicBezTo>
                  <a:pt x="396049" y="150876"/>
                  <a:pt x="385763" y="148304"/>
                  <a:pt x="375475" y="147447"/>
                </a:cubicBezTo>
                <a:cubicBezTo>
                  <a:pt x="358330" y="146590"/>
                  <a:pt x="348043" y="137160"/>
                  <a:pt x="343757" y="120015"/>
                </a:cubicBezTo>
                <a:cubicBezTo>
                  <a:pt x="338614" y="101155"/>
                  <a:pt x="326612" y="84868"/>
                  <a:pt x="308610" y="70295"/>
                </a:cubicBezTo>
                <a:cubicBezTo>
                  <a:pt x="290607" y="56579"/>
                  <a:pt x="270034" y="49720"/>
                  <a:pt x="246030" y="49720"/>
                </a:cubicBezTo>
                <a:cubicBezTo>
                  <a:pt x="217741" y="49720"/>
                  <a:pt x="193738" y="60008"/>
                  <a:pt x="174022" y="79724"/>
                </a:cubicBezTo>
                <a:cubicBezTo>
                  <a:pt x="154305" y="99441"/>
                  <a:pt x="144018" y="125159"/>
                  <a:pt x="144018" y="155162"/>
                </a:cubicBezTo>
                <a:lnTo>
                  <a:pt x="144018" y="176593"/>
                </a:lnTo>
                <a:cubicBezTo>
                  <a:pt x="144018" y="184309"/>
                  <a:pt x="142303" y="191167"/>
                  <a:pt x="138017" y="197168"/>
                </a:cubicBezTo>
                <a:cubicBezTo>
                  <a:pt x="133731" y="203168"/>
                  <a:pt x="127730" y="205740"/>
                  <a:pt x="118300" y="205740"/>
                </a:cubicBezTo>
                <a:lnTo>
                  <a:pt x="110585" y="205740"/>
                </a:lnTo>
                <a:close/>
              </a:path>
            </a:pathLst>
          </a:custGeom>
          <a:solidFill>
            <a:schemeClr val="accent2"/>
          </a:solidFill>
          <a:ln w="8572" cap="flat">
            <a:noFill/>
            <a:prstDash val="solid"/>
            <a:miter/>
          </a:ln>
        </p:spPr>
        <p:txBody>
          <a:bodyPr rtlCol="0" anchor="ctr"/>
          <a:lstStyle/>
          <a:p>
            <a:endParaRPr lang="de-DE"/>
          </a:p>
        </p:txBody>
      </p:sp>
      <p:sp>
        <p:nvSpPr>
          <p:cNvPr id="115" name="Freihandform 127">
            <a:extLst>
              <a:ext uri="{FF2B5EF4-FFF2-40B4-BE49-F238E27FC236}">
                <a16:creationId xmlns:a16="http://schemas.microsoft.com/office/drawing/2014/main" id="{135A5B72-37C4-51C7-3879-5B3D0FC623D4}"/>
              </a:ext>
            </a:extLst>
          </p:cNvPr>
          <p:cNvSpPr/>
          <p:nvPr/>
        </p:nvSpPr>
        <p:spPr>
          <a:xfrm>
            <a:off x="3067549" y="1403660"/>
            <a:ext cx="361621" cy="361622"/>
          </a:xfrm>
          <a:custGeom>
            <a:avLst/>
            <a:gdLst>
              <a:gd name="connsiteX0" fmla="*/ 252032 w 504062"/>
              <a:gd name="connsiteY0" fmla="*/ 0 h 504063"/>
              <a:gd name="connsiteX1" fmla="*/ 349758 w 504062"/>
              <a:gd name="connsiteY1" fmla="*/ 19717 h 504063"/>
              <a:gd name="connsiteX2" fmla="*/ 430340 w 504062"/>
              <a:gd name="connsiteY2" fmla="*/ 73724 h 504063"/>
              <a:gd name="connsiteX3" fmla="*/ 484346 w 504062"/>
              <a:gd name="connsiteY3" fmla="*/ 154305 h 504063"/>
              <a:gd name="connsiteX4" fmla="*/ 504063 w 504062"/>
              <a:gd name="connsiteY4" fmla="*/ 252031 h 504063"/>
              <a:gd name="connsiteX5" fmla="*/ 484346 w 504062"/>
              <a:gd name="connsiteY5" fmla="*/ 349758 h 504063"/>
              <a:gd name="connsiteX6" fmla="*/ 430340 w 504062"/>
              <a:gd name="connsiteY6" fmla="*/ 430339 h 504063"/>
              <a:gd name="connsiteX7" fmla="*/ 349758 w 504062"/>
              <a:gd name="connsiteY7" fmla="*/ 484346 h 504063"/>
              <a:gd name="connsiteX8" fmla="*/ 252032 w 504062"/>
              <a:gd name="connsiteY8" fmla="*/ 504063 h 504063"/>
              <a:gd name="connsiteX9" fmla="*/ 154305 w 504062"/>
              <a:gd name="connsiteY9" fmla="*/ 484346 h 504063"/>
              <a:gd name="connsiteX10" fmla="*/ 73724 w 504062"/>
              <a:gd name="connsiteY10" fmla="*/ 430339 h 504063"/>
              <a:gd name="connsiteX11" fmla="*/ 19717 w 504062"/>
              <a:gd name="connsiteY11" fmla="*/ 349758 h 504063"/>
              <a:gd name="connsiteX12" fmla="*/ 0 w 504062"/>
              <a:gd name="connsiteY12" fmla="*/ 252031 h 504063"/>
              <a:gd name="connsiteX13" fmla="*/ 19717 w 504062"/>
              <a:gd name="connsiteY13" fmla="*/ 154305 h 504063"/>
              <a:gd name="connsiteX14" fmla="*/ 73724 w 504062"/>
              <a:gd name="connsiteY14" fmla="*/ 73724 h 504063"/>
              <a:gd name="connsiteX15" fmla="*/ 154305 w 504062"/>
              <a:gd name="connsiteY15" fmla="*/ 19717 h 504063"/>
              <a:gd name="connsiteX16" fmla="*/ 252032 w 504062"/>
              <a:gd name="connsiteY16" fmla="*/ 0 h 504063"/>
              <a:gd name="connsiteX17" fmla="*/ 410623 w 504062"/>
              <a:gd name="connsiteY17" fmla="*/ 376333 h 504063"/>
              <a:gd name="connsiteX18" fmla="*/ 442341 w 504062"/>
              <a:gd name="connsiteY18" fmla="*/ 318897 h 504063"/>
              <a:gd name="connsiteX19" fmla="*/ 453485 w 504062"/>
              <a:gd name="connsiteY19" fmla="*/ 252031 h 504063"/>
              <a:gd name="connsiteX20" fmla="*/ 438055 w 504062"/>
              <a:gd name="connsiteY20" fmla="*/ 174022 h 504063"/>
              <a:gd name="connsiteX21" fmla="*/ 394335 w 504062"/>
              <a:gd name="connsiteY21" fmla="*/ 109728 h 504063"/>
              <a:gd name="connsiteX22" fmla="*/ 330041 w 504062"/>
              <a:gd name="connsiteY22" fmla="*/ 66008 h 504063"/>
              <a:gd name="connsiteX23" fmla="*/ 252032 w 504062"/>
              <a:gd name="connsiteY23" fmla="*/ 50578 h 504063"/>
              <a:gd name="connsiteX24" fmla="*/ 174022 w 504062"/>
              <a:gd name="connsiteY24" fmla="*/ 66008 h 504063"/>
              <a:gd name="connsiteX25" fmla="*/ 109728 w 504062"/>
              <a:gd name="connsiteY25" fmla="*/ 109728 h 504063"/>
              <a:gd name="connsiteX26" fmla="*/ 66008 w 504062"/>
              <a:gd name="connsiteY26" fmla="*/ 174022 h 504063"/>
              <a:gd name="connsiteX27" fmla="*/ 50578 w 504062"/>
              <a:gd name="connsiteY27" fmla="*/ 252031 h 504063"/>
              <a:gd name="connsiteX28" fmla="*/ 61722 w 504062"/>
              <a:gd name="connsiteY28" fmla="*/ 318897 h 504063"/>
              <a:gd name="connsiteX29" fmla="*/ 93440 w 504062"/>
              <a:gd name="connsiteY29" fmla="*/ 376333 h 504063"/>
              <a:gd name="connsiteX30" fmla="*/ 138875 w 504062"/>
              <a:gd name="connsiteY30" fmla="*/ 331756 h 504063"/>
              <a:gd name="connsiteX31" fmla="*/ 201454 w 504062"/>
              <a:gd name="connsiteY31" fmla="*/ 315468 h 504063"/>
              <a:gd name="connsiteX32" fmla="*/ 301752 w 504062"/>
              <a:gd name="connsiteY32" fmla="*/ 315468 h 504063"/>
              <a:gd name="connsiteX33" fmla="*/ 365189 w 504062"/>
              <a:gd name="connsiteY33" fmla="*/ 332613 h 504063"/>
              <a:gd name="connsiteX34" fmla="*/ 410623 w 504062"/>
              <a:gd name="connsiteY34" fmla="*/ 376333 h 504063"/>
              <a:gd name="connsiteX35" fmla="*/ 130302 w 504062"/>
              <a:gd name="connsiteY35" fmla="*/ 414052 h 504063"/>
              <a:gd name="connsiteX36" fmla="*/ 186880 w 504062"/>
              <a:gd name="connsiteY36" fmla="*/ 444056 h 504063"/>
              <a:gd name="connsiteX37" fmla="*/ 252032 w 504062"/>
              <a:gd name="connsiteY37" fmla="*/ 455200 h 504063"/>
              <a:gd name="connsiteX38" fmla="*/ 317183 w 504062"/>
              <a:gd name="connsiteY38" fmla="*/ 444056 h 504063"/>
              <a:gd name="connsiteX39" fmla="*/ 373761 w 504062"/>
              <a:gd name="connsiteY39" fmla="*/ 414052 h 504063"/>
              <a:gd name="connsiteX40" fmla="*/ 345472 w 504062"/>
              <a:gd name="connsiteY40" fmla="*/ 378904 h 504063"/>
              <a:gd name="connsiteX41" fmla="*/ 302609 w 504062"/>
              <a:gd name="connsiteY41" fmla="*/ 365189 h 504063"/>
              <a:gd name="connsiteX42" fmla="*/ 202311 w 504062"/>
              <a:gd name="connsiteY42" fmla="*/ 365189 h 504063"/>
              <a:gd name="connsiteX43" fmla="*/ 159449 w 504062"/>
              <a:gd name="connsiteY43" fmla="*/ 378047 h 504063"/>
              <a:gd name="connsiteX44" fmla="*/ 130302 w 504062"/>
              <a:gd name="connsiteY44" fmla="*/ 414052 h 504063"/>
              <a:gd name="connsiteX45" fmla="*/ 252032 w 504062"/>
              <a:gd name="connsiteY45" fmla="*/ 94298 h 504063"/>
              <a:gd name="connsiteX46" fmla="*/ 319754 w 504062"/>
              <a:gd name="connsiteY46" fmla="*/ 121729 h 504063"/>
              <a:gd name="connsiteX47" fmla="*/ 347186 w 504062"/>
              <a:gd name="connsiteY47" fmla="*/ 189452 h 504063"/>
              <a:gd name="connsiteX48" fmla="*/ 319754 w 504062"/>
              <a:gd name="connsiteY48" fmla="*/ 257175 h 504063"/>
              <a:gd name="connsiteX49" fmla="*/ 252032 w 504062"/>
              <a:gd name="connsiteY49" fmla="*/ 284607 h 504063"/>
              <a:gd name="connsiteX50" fmla="*/ 184309 w 504062"/>
              <a:gd name="connsiteY50" fmla="*/ 257175 h 504063"/>
              <a:gd name="connsiteX51" fmla="*/ 156877 w 504062"/>
              <a:gd name="connsiteY51" fmla="*/ 189452 h 504063"/>
              <a:gd name="connsiteX52" fmla="*/ 184309 w 504062"/>
              <a:gd name="connsiteY52" fmla="*/ 121729 h 504063"/>
              <a:gd name="connsiteX53" fmla="*/ 252032 w 504062"/>
              <a:gd name="connsiteY53" fmla="*/ 94298 h 504063"/>
              <a:gd name="connsiteX54" fmla="*/ 252032 w 504062"/>
              <a:gd name="connsiteY54" fmla="*/ 233172 h 504063"/>
              <a:gd name="connsiteX55" fmla="*/ 283750 w 504062"/>
              <a:gd name="connsiteY55" fmla="*/ 220313 h 504063"/>
              <a:gd name="connsiteX56" fmla="*/ 295751 w 504062"/>
              <a:gd name="connsiteY56" fmla="*/ 188595 h 504063"/>
              <a:gd name="connsiteX57" fmla="*/ 283750 w 504062"/>
              <a:gd name="connsiteY57" fmla="*/ 156877 h 504063"/>
              <a:gd name="connsiteX58" fmla="*/ 252032 w 504062"/>
              <a:gd name="connsiteY58" fmla="*/ 144875 h 504063"/>
              <a:gd name="connsiteX59" fmla="*/ 220313 w 504062"/>
              <a:gd name="connsiteY59" fmla="*/ 156877 h 504063"/>
              <a:gd name="connsiteX60" fmla="*/ 207455 w 504062"/>
              <a:gd name="connsiteY60" fmla="*/ 188595 h 504063"/>
              <a:gd name="connsiteX61" fmla="*/ 220313 w 504062"/>
              <a:gd name="connsiteY61" fmla="*/ 220313 h 504063"/>
              <a:gd name="connsiteX62" fmla="*/ 252032 w 504062"/>
              <a:gd name="connsiteY62" fmla="*/ 233172 h 5040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504062" h="504063">
                <a:moveTo>
                  <a:pt x="252032" y="0"/>
                </a:moveTo>
                <a:cubicBezTo>
                  <a:pt x="287179" y="0"/>
                  <a:pt x="319754" y="6858"/>
                  <a:pt x="349758" y="19717"/>
                </a:cubicBezTo>
                <a:cubicBezTo>
                  <a:pt x="380619" y="32575"/>
                  <a:pt x="407194" y="50578"/>
                  <a:pt x="430340" y="73724"/>
                </a:cubicBezTo>
                <a:cubicBezTo>
                  <a:pt x="453485" y="96869"/>
                  <a:pt x="471488" y="123444"/>
                  <a:pt x="484346" y="154305"/>
                </a:cubicBezTo>
                <a:cubicBezTo>
                  <a:pt x="497205" y="185166"/>
                  <a:pt x="504063" y="217741"/>
                  <a:pt x="504063" y="252031"/>
                </a:cubicBezTo>
                <a:cubicBezTo>
                  <a:pt x="504063" y="287179"/>
                  <a:pt x="497205" y="319754"/>
                  <a:pt x="484346" y="349758"/>
                </a:cubicBezTo>
                <a:cubicBezTo>
                  <a:pt x="471488" y="380619"/>
                  <a:pt x="453485" y="407194"/>
                  <a:pt x="430340" y="430339"/>
                </a:cubicBezTo>
                <a:cubicBezTo>
                  <a:pt x="407194" y="453485"/>
                  <a:pt x="380619" y="471487"/>
                  <a:pt x="349758" y="484346"/>
                </a:cubicBezTo>
                <a:cubicBezTo>
                  <a:pt x="318897" y="497205"/>
                  <a:pt x="286322" y="504063"/>
                  <a:pt x="252032" y="504063"/>
                </a:cubicBezTo>
                <a:cubicBezTo>
                  <a:pt x="216884" y="504063"/>
                  <a:pt x="184309" y="497205"/>
                  <a:pt x="154305" y="484346"/>
                </a:cubicBezTo>
                <a:cubicBezTo>
                  <a:pt x="123444" y="471487"/>
                  <a:pt x="96869" y="453485"/>
                  <a:pt x="73724" y="430339"/>
                </a:cubicBezTo>
                <a:cubicBezTo>
                  <a:pt x="50578" y="407194"/>
                  <a:pt x="32575" y="380619"/>
                  <a:pt x="19717" y="349758"/>
                </a:cubicBezTo>
                <a:cubicBezTo>
                  <a:pt x="6858" y="318897"/>
                  <a:pt x="0" y="286321"/>
                  <a:pt x="0" y="252031"/>
                </a:cubicBezTo>
                <a:cubicBezTo>
                  <a:pt x="0" y="216884"/>
                  <a:pt x="6858" y="184309"/>
                  <a:pt x="19717" y="154305"/>
                </a:cubicBezTo>
                <a:cubicBezTo>
                  <a:pt x="32575" y="123444"/>
                  <a:pt x="50578" y="96869"/>
                  <a:pt x="73724" y="73724"/>
                </a:cubicBezTo>
                <a:cubicBezTo>
                  <a:pt x="96869" y="50578"/>
                  <a:pt x="123444" y="32575"/>
                  <a:pt x="154305" y="19717"/>
                </a:cubicBezTo>
                <a:cubicBezTo>
                  <a:pt x="184309" y="6858"/>
                  <a:pt x="216884" y="0"/>
                  <a:pt x="252032" y="0"/>
                </a:cubicBezTo>
                <a:close/>
                <a:moveTo>
                  <a:pt x="410623" y="376333"/>
                </a:moveTo>
                <a:cubicBezTo>
                  <a:pt x="424339" y="359188"/>
                  <a:pt x="435483" y="340328"/>
                  <a:pt x="442341" y="318897"/>
                </a:cubicBezTo>
                <a:cubicBezTo>
                  <a:pt x="450056" y="297466"/>
                  <a:pt x="453485" y="275177"/>
                  <a:pt x="453485" y="252031"/>
                </a:cubicBezTo>
                <a:cubicBezTo>
                  <a:pt x="453485" y="224599"/>
                  <a:pt x="448342" y="198025"/>
                  <a:pt x="438055" y="174022"/>
                </a:cubicBezTo>
                <a:cubicBezTo>
                  <a:pt x="427768" y="149161"/>
                  <a:pt x="413195" y="127730"/>
                  <a:pt x="394335" y="109728"/>
                </a:cubicBezTo>
                <a:cubicBezTo>
                  <a:pt x="376333" y="91726"/>
                  <a:pt x="354044" y="77153"/>
                  <a:pt x="330041" y="66008"/>
                </a:cubicBezTo>
                <a:cubicBezTo>
                  <a:pt x="305181" y="55721"/>
                  <a:pt x="279464" y="50578"/>
                  <a:pt x="252032" y="50578"/>
                </a:cubicBezTo>
                <a:cubicBezTo>
                  <a:pt x="224600" y="50578"/>
                  <a:pt x="198025" y="55721"/>
                  <a:pt x="174022" y="66008"/>
                </a:cubicBezTo>
                <a:cubicBezTo>
                  <a:pt x="149162" y="76295"/>
                  <a:pt x="127730" y="90869"/>
                  <a:pt x="109728" y="109728"/>
                </a:cubicBezTo>
                <a:cubicBezTo>
                  <a:pt x="91726" y="127730"/>
                  <a:pt x="77153" y="150019"/>
                  <a:pt x="66008" y="174022"/>
                </a:cubicBezTo>
                <a:cubicBezTo>
                  <a:pt x="55721" y="198882"/>
                  <a:pt x="50578" y="224599"/>
                  <a:pt x="50578" y="252031"/>
                </a:cubicBezTo>
                <a:cubicBezTo>
                  <a:pt x="50578" y="275177"/>
                  <a:pt x="54007" y="297466"/>
                  <a:pt x="61722" y="318897"/>
                </a:cubicBezTo>
                <a:cubicBezTo>
                  <a:pt x="69438" y="340328"/>
                  <a:pt x="79724" y="359188"/>
                  <a:pt x="93440" y="376333"/>
                </a:cubicBezTo>
                <a:cubicBezTo>
                  <a:pt x="104585" y="357473"/>
                  <a:pt x="120015" y="342043"/>
                  <a:pt x="138875" y="331756"/>
                </a:cubicBezTo>
                <a:cubicBezTo>
                  <a:pt x="158591" y="320611"/>
                  <a:pt x="179165" y="315468"/>
                  <a:pt x="201454" y="315468"/>
                </a:cubicBezTo>
                <a:lnTo>
                  <a:pt x="301752" y="315468"/>
                </a:lnTo>
                <a:cubicBezTo>
                  <a:pt x="324898" y="315468"/>
                  <a:pt x="345472" y="321469"/>
                  <a:pt x="365189" y="332613"/>
                </a:cubicBezTo>
                <a:cubicBezTo>
                  <a:pt x="384048" y="342900"/>
                  <a:pt x="399479" y="358331"/>
                  <a:pt x="410623" y="376333"/>
                </a:cubicBezTo>
                <a:close/>
                <a:moveTo>
                  <a:pt x="130302" y="414052"/>
                </a:moveTo>
                <a:cubicBezTo>
                  <a:pt x="147447" y="426911"/>
                  <a:pt x="166307" y="436340"/>
                  <a:pt x="186880" y="444056"/>
                </a:cubicBezTo>
                <a:cubicBezTo>
                  <a:pt x="207455" y="450914"/>
                  <a:pt x="228886" y="455200"/>
                  <a:pt x="252032" y="455200"/>
                </a:cubicBezTo>
                <a:cubicBezTo>
                  <a:pt x="275178" y="455200"/>
                  <a:pt x="296609" y="451771"/>
                  <a:pt x="317183" y="444056"/>
                </a:cubicBezTo>
                <a:cubicBezTo>
                  <a:pt x="337757" y="437197"/>
                  <a:pt x="356616" y="426911"/>
                  <a:pt x="373761" y="414052"/>
                </a:cubicBezTo>
                <a:cubicBezTo>
                  <a:pt x="368618" y="399479"/>
                  <a:pt x="359188" y="388334"/>
                  <a:pt x="345472" y="378904"/>
                </a:cubicBezTo>
                <a:cubicBezTo>
                  <a:pt x="331756" y="370332"/>
                  <a:pt x="318040" y="365189"/>
                  <a:pt x="302609" y="365189"/>
                </a:cubicBezTo>
                <a:lnTo>
                  <a:pt x="202311" y="365189"/>
                </a:lnTo>
                <a:cubicBezTo>
                  <a:pt x="186880" y="365189"/>
                  <a:pt x="172308" y="369475"/>
                  <a:pt x="159449" y="378047"/>
                </a:cubicBezTo>
                <a:cubicBezTo>
                  <a:pt x="145733" y="386620"/>
                  <a:pt x="136303" y="398621"/>
                  <a:pt x="130302" y="414052"/>
                </a:cubicBezTo>
                <a:close/>
                <a:moveTo>
                  <a:pt x="252032" y="94298"/>
                </a:moveTo>
                <a:cubicBezTo>
                  <a:pt x="278606" y="94298"/>
                  <a:pt x="301752" y="103727"/>
                  <a:pt x="319754" y="121729"/>
                </a:cubicBezTo>
                <a:cubicBezTo>
                  <a:pt x="337757" y="139732"/>
                  <a:pt x="347186" y="162020"/>
                  <a:pt x="347186" y="189452"/>
                </a:cubicBezTo>
                <a:cubicBezTo>
                  <a:pt x="347186" y="216027"/>
                  <a:pt x="337757" y="239173"/>
                  <a:pt x="319754" y="257175"/>
                </a:cubicBezTo>
                <a:cubicBezTo>
                  <a:pt x="301752" y="275177"/>
                  <a:pt x="279464" y="284607"/>
                  <a:pt x="252032" y="284607"/>
                </a:cubicBezTo>
                <a:cubicBezTo>
                  <a:pt x="225457" y="284607"/>
                  <a:pt x="202311" y="275177"/>
                  <a:pt x="184309" y="257175"/>
                </a:cubicBezTo>
                <a:cubicBezTo>
                  <a:pt x="166307" y="239173"/>
                  <a:pt x="156877" y="216884"/>
                  <a:pt x="156877" y="189452"/>
                </a:cubicBezTo>
                <a:cubicBezTo>
                  <a:pt x="156877" y="162878"/>
                  <a:pt x="166307" y="139732"/>
                  <a:pt x="184309" y="121729"/>
                </a:cubicBezTo>
                <a:cubicBezTo>
                  <a:pt x="202311" y="103727"/>
                  <a:pt x="224600" y="94298"/>
                  <a:pt x="252032" y="94298"/>
                </a:cubicBezTo>
                <a:close/>
                <a:moveTo>
                  <a:pt x="252032" y="233172"/>
                </a:moveTo>
                <a:cubicBezTo>
                  <a:pt x="264890" y="233172"/>
                  <a:pt x="276035" y="228886"/>
                  <a:pt x="283750" y="220313"/>
                </a:cubicBezTo>
                <a:cubicBezTo>
                  <a:pt x="292323" y="211741"/>
                  <a:pt x="295751" y="201453"/>
                  <a:pt x="295751" y="188595"/>
                </a:cubicBezTo>
                <a:cubicBezTo>
                  <a:pt x="295751" y="175736"/>
                  <a:pt x="291465" y="164592"/>
                  <a:pt x="283750" y="156877"/>
                </a:cubicBezTo>
                <a:cubicBezTo>
                  <a:pt x="275178" y="148304"/>
                  <a:pt x="264890" y="144875"/>
                  <a:pt x="252032" y="144875"/>
                </a:cubicBezTo>
                <a:cubicBezTo>
                  <a:pt x="239173" y="144875"/>
                  <a:pt x="228886" y="149161"/>
                  <a:pt x="220313" y="156877"/>
                </a:cubicBezTo>
                <a:cubicBezTo>
                  <a:pt x="211741" y="165449"/>
                  <a:pt x="207455" y="175736"/>
                  <a:pt x="207455" y="188595"/>
                </a:cubicBezTo>
                <a:cubicBezTo>
                  <a:pt x="207455" y="201453"/>
                  <a:pt x="211741" y="211741"/>
                  <a:pt x="220313" y="220313"/>
                </a:cubicBezTo>
                <a:cubicBezTo>
                  <a:pt x="228886" y="228886"/>
                  <a:pt x="239173" y="233172"/>
                  <a:pt x="252032" y="233172"/>
                </a:cubicBezTo>
                <a:close/>
              </a:path>
            </a:pathLst>
          </a:custGeom>
          <a:solidFill>
            <a:schemeClr val="accent2"/>
          </a:solidFill>
          <a:ln w="8572" cap="flat">
            <a:noFill/>
            <a:prstDash val="solid"/>
            <a:miter/>
          </a:ln>
        </p:spPr>
        <p:txBody>
          <a:bodyPr rtlCol="0" anchor="ctr"/>
          <a:lstStyle/>
          <a:p>
            <a:endParaRPr lang="de-DE"/>
          </a:p>
        </p:txBody>
      </p:sp>
      <p:sp>
        <p:nvSpPr>
          <p:cNvPr id="116" name="Freihandform 128">
            <a:extLst>
              <a:ext uri="{FF2B5EF4-FFF2-40B4-BE49-F238E27FC236}">
                <a16:creationId xmlns:a16="http://schemas.microsoft.com/office/drawing/2014/main" id="{A0A67FD2-A25D-7584-AB98-359773616683}"/>
              </a:ext>
            </a:extLst>
          </p:cNvPr>
          <p:cNvSpPr/>
          <p:nvPr/>
        </p:nvSpPr>
        <p:spPr>
          <a:xfrm>
            <a:off x="5380419" y="1417694"/>
            <a:ext cx="362236" cy="316726"/>
          </a:xfrm>
          <a:custGeom>
            <a:avLst/>
            <a:gdLst>
              <a:gd name="connsiteX0" fmla="*/ 494633 w 504919"/>
              <a:gd name="connsiteY0" fmla="*/ 200597 h 441483"/>
              <a:gd name="connsiteX1" fmla="*/ 504920 w 504919"/>
              <a:gd name="connsiteY1" fmla="*/ 220313 h 441483"/>
              <a:gd name="connsiteX2" fmla="*/ 504920 w 504919"/>
              <a:gd name="connsiteY2" fmla="*/ 415766 h 441483"/>
              <a:gd name="connsiteX3" fmla="*/ 497205 w 504919"/>
              <a:gd name="connsiteY3" fmla="*/ 433769 h 441483"/>
              <a:gd name="connsiteX4" fmla="*/ 479202 w 504919"/>
              <a:gd name="connsiteY4" fmla="*/ 441484 h 441483"/>
              <a:gd name="connsiteX5" fmla="*/ 25718 w 504919"/>
              <a:gd name="connsiteY5" fmla="*/ 441484 h 441483"/>
              <a:gd name="connsiteX6" fmla="*/ 7715 w 504919"/>
              <a:gd name="connsiteY6" fmla="*/ 433769 h 441483"/>
              <a:gd name="connsiteX7" fmla="*/ 0 w 504919"/>
              <a:gd name="connsiteY7" fmla="*/ 415766 h 441483"/>
              <a:gd name="connsiteX8" fmla="*/ 0 w 504919"/>
              <a:gd name="connsiteY8" fmla="*/ 25718 h 441483"/>
              <a:gd name="connsiteX9" fmla="*/ 7715 w 504919"/>
              <a:gd name="connsiteY9" fmla="*/ 7715 h 441483"/>
              <a:gd name="connsiteX10" fmla="*/ 25718 w 504919"/>
              <a:gd name="connsiteY10" fmla="*/ 0 h 441483"/>
              <a:gd name="connsiteX11" fmla="*/ 132016 w 504919"/>
              <a:gd name="connsiteY11" fmla="*/ 0 h 441483"/>
              <a:gd name="connsiteX12" fmla="*/ 150019 w 504919"/>
              <a:gd name="connsiteY12" fmla="*/ 7715 h 441483"/>
              <a:gd name="connsiteX13" fmla="*/ 157734 w 504919"/>
              <a:gd name="connsiteY13" fmla="*/ 25718 h 441483"/>
              <a:gd name="connsiteX14" fmla="*/ 157734 w 504919"/>
              <a:gd name="connsiteY14" fmla="*/ 189453 h 441483"/>
              <a:gd name="connsiteX15" fmla="*/ 201454 w 504919"/>
              <a:gd name="connsiteY15" fmla="*/ 189453 h 441483"/>
              <a:gd name="connsiteX16" fmla="*/ 201454 w 504919"/>
              <a:gd name="connsiteY16" fmla="*/ 120015 h 441483"/>
              <a:gd name="connsiteX17" fmla="*/ 209169 w 504919"/>
              <a:gd name="connsiteY17" fmla="*/ 102013 h 441483"/>
              <a:gd name="connsiteX18" fmla="*/ 227171 w 504919"/>
              <a:gd name="connsiteY18" fmla="*/ 94298 h 441483"/>
              <a:gd name="connsiteX19" fmla="*/ 242602 w 504919"/>
              <a:gd name="connsiteY19" fmla="*/ 100298 h 441483"/>
              <a:gd name="connsiteX20" fmla="*/ 328327 w 504919"/>
              <a:gd name="connsiteY20" fmla="*/ 168021 h 441483"/>
              <a:gd name="connsiteX21" fmla="*/ 328327 w 504919"/>
              <a:gd name="connsiteY21" fmla="*/ 120015 h 441483"/>
              <a:gd name="connsiteX22" fmla="*/ 336042 w 504919"/>
              <a:gd name="connsiteY22" fmla="*/ 102013 h 441483"/>
              <a:gd name="connsiteX23" fmla="*/ 353187 w 504919"/>
              <a:gd name="connsiteY23" fmla="*/ 94298 h 441483"/>
              <a:gd name="connsiteX24" fmla="*/ 368618 w 504919"/>
              <a:gd name="connsiteY24" fmla="*/ 100298 h 441483"/>
              <a:gd name="connsiteX25" fmla="*/ 494633 w 504919"/>
              <a:gd name="connsiteY25" fmla="*/ 200597 h 441483"/>
              <a:gd name="connsiteX26" fmla="*/ 50577 w 504919"/>
              <a:gd name="connsiteY26" fmla="*/ 49721 h 441483"/>
              <a:gd name="connsiteX27" fmla="*/ 50577 w 504919"/>
              <a:gd name="connsiteY27" fmla="*/ 94298 h 441483"/>
              <a:gd name="connsiteX28" fmla="*/ 108013 w 504919"/>
              <a:gd name="connsiteY28" fmla="*/ 94298 h 441483"/>
              <a:gd name="connsiteX29" fmla="*/ 108013 w 504919"/>
              <a:gd name="connsiteY29" fmla="*/ 49721 h 441483"/>
              <a:gd name="connsiteX30" fmla="*/ 50577 w 504919"/>
              <a:gd name="connsiteY30" fmla="*/ 49721 h 441483"/>
              <a:gd name="connsiteX31" fmla="*/ 107156 w 504919"/>
              <a:gd name="connsiteY31" fmla="*/ 188595 h 441483"/>
              <a:gd name="connsiteX32" fmla="*/ 107156 w 504919"/>
              <a:gd name="connsiteY32" fmla="*/ 144018 h 441483"/>
              <a:gd name="connsiteX33" fmla="*/ 49720 w 504919"/>
              <a:gd name="connsiteY33" fmla="*/ 144018 h 441483"/>
              <a:gd name="connsiteX34" fmla="*/ 49720 w 504919"/>
              <a:gd name="connsiteY34" fmla="*/ 188595 h 441483"/>
              <a:gd name="connsiteX35" fmla="*/ 107156 w 504919"/>
              <a:gd name="connsiteY35" fmla="*/ 188595 h 441483"/>
              <a:gd name="connsiteX36" fmla="*/ 50577 w 504919"/>
              <a:gd name="connsiteY36" fmla="*/ 283750 h 441483"/>
              <a:gd name="connsiteX37" fmla="*/ 108013 w 504919"/>
              <a:gd name="connsiteY37" fmla="*/ 283750 h 441483"/>
              <a:gd name="connsiteX38" fmla="*/ 108013 w 504919"/>
              <a:gd name="connsiteY38" fmla="*/ 240030 h 441483"/>
              <a:gd name="connsiteX39" fmla="*/ 50577 w 504919"/>
              <a:gd name="connsiteY39" fmla="*/ 240030 h 441483"/>
              <a:gd name="connsiteX40" fmla="*/ 50577 w 504919"/>
              <a:gd name="connsiteY40" fmla="*/ 283750 h 441483"/>
              <a:gd name="connsiteX41" fmla="*/ 50577 w 504919"/>
              <a:gd name="connsiteY41" fmla="*/ 390906 h 441483"/>
              <a:gd name="connsiteX42" fmla="*/ 108013 w 504919"/>
              <a:gd name="connsiteY42" fmla="*/ 390906 h 441483"/>
              <a:gd name="connsiteX43" fmla="*/ 108013 w 504919"/>
              <a:gd name="connsiteY43" fmla="*/ 333470 h 441483"/>
              <a:gd name="connsiteX44" fmla="*/ 50577 w 504919"/>
              <a:gd name="connsiteY44" fmla="*/ 333470 h 441483"/>
              <a:gd name="connsiteX45" fmla="*/ 50577 w 504919"/>
              <a:gd name="connsiteY45" fmla="*/ 390906 h 441483"/>
              <a:gd name="connsiteX46" fmla="*/ 454343 w 504919"/>
              <a:gd name="connsiteY46" fmla="*/ 232315 h 441483"/>
              <a:gd name="connsiteX47" fmla="*/ 378047 w 504919"/>
              <a:gd name="connsiteY47" fmla="*/ 172308 h 441483"/>
              <a:gd name="connsiteX48" fmla="*/ 378047 w 504919"/>
              <a:gd name="connsiteY48" fmla="*/ 220313 h 441483"/>
              <a:gd name="connsiteX49" fmla="*/ 370332 w 504919"/>
              <a:gd name="connsiteY49" fmla="*/ 238315 h 441483"/>
              <a:gd name="connsiteX50" fmla="*/ 352330 w 504919"/>
              <a:gd name="connsiteY50" fmla="*/ 246031 h 441483"/>
              <a:gd name="connsiteX51" fmla="*/ 336899 w 504919"/>
              <a:gd name="connsiteY51" fmla="*/ 240030 h 441483"/>
              <a:gd name="connsiteX52" fmla="*/ 252031 w 504919"/>
              <a:gd name="connsiteY52" fmla="*/ 172308 h 441483"/>
              <a:gd name="connsiteX53" fmla="*/ 252031 w 504919"/>
              <a:gd name="connsiteY53" fmla="*/ 214313 h 441483"/>
              <a:gd name="connsiteX54" fmla="*/ 244316 w 504919"/>
              <a:gd name="connsiteY54" fmla="*/ 232315 h 441483"/>
              <a:gd name="connsiteX55" fmla="*/ 226314 w 504919"/>
              <a:gd name="connsiteY55" fmla="*/ 240030 h 441483"/>
              <a:gd name="connsiteX56" fmla="*/ 156877 w 504919"/>
              <a:gd name="connsiteY56" fmla="*/ 240030 h 441483"/>
              <a:gd name="connsiteX57" fmla="*/ 156877 w 504919"/>
              <a:gd name="connsiteY57" fmla="*/ 283750 h 441483"/>
              <a:gd name="connsiteX58" fmla="*/ 162878 w 504919"/>
              <a:gd name="connsiteY58" fmla="*/ 283750 h 441483"/>
              <a:gd name="connsiteX59" fmla="*/ 180880 w 504919"/>
              <a:gd name="connsiteY59" fmla="*/ 291465 h 441483"/>
              <a:gd name="connsiteX60" fmla="*/ 188595 w 504919"/>
              <a:gd name="connsiteY60" fmla="*/ 309468 h 441483"/>
              <a:gd name="connsiteX61" fmla="*/ 180880 w 504919"/>
              <a:gd name="connsiteY61" fmla="*/ 327470 h 441483"/>
              <a:gd name="connsiteX62" fmla="*/ 162878 w 504919"/>
              <a:gd name="connsiteY62" fmla="*/ 334328 h 441483"/>
              <a:gd name="connsiteX63" fmla="*/ 156877 w 504919"/>
              <a:gd name="connsiteY63" fmla="*/ 334328 h 441483"/>
              <a:gd name="connsiteX64" fmla="*/ 156877 w 504919"/>
              <a:gd name="connsiteY64" fmla="*/ 391763 h 441483"/>
              <a:gd name="connsiteX65" fmla="*/ 453485 w 504919"/>
              <a:gd name="connsiteY65" fmla="*/ 391763 h 441483"/>
              <a:gd name="connsiteX66" fmla="*/ 453485 w 504919"/>
              <a:gd name="connsiteY66" fmla="*/ 232315 h 441483"/>
              <a:gd name="connsiteX67" fmla="*/ 283750 w 504919"/>
              <a:gd name="connsiteY67" fmla="*/ 283750 h 441483"/>
              <a:gd name="connsiteX68" fmla="*/ 306038 w 504919"/>
              <a:gd name="connsiteY68" fmla="*/ 293180 h 441483"/>
              <a:gd name="connsiteX69" fmla="*/ 315468 w 504919"/>
              <a:gd name="connsiteY69" fmla="*/ 315468 h 441483"/>
              <a:gd name="connsiteX70" fmla="*/ 306038 w 504919"/>
              <a:gd name="connsiteY70" fmla="*/ 337757 h 441483"/>
              <a:gd name="connsiteX71" fmla="*/ 283750 w 504919"/>
              <a:gd name="connsiteY71" fmla="*/ 347186 h 441483"/>
              <a:gd name="connsiteX72" fmla="*/ 261461 w 504919"/>
              <a:gd name="connsiteY72" fmla="*/ 337757 h 441483"/>
              <a:gd name="connsiteX73" fmla="*/ 252031 w 504919"/>
              <a:gd name="connsiteY73" fmla="*/ 315468 h 441483"/>
              <a:gd name="connsiteX74" fmla="*/ 261461 w 504919"/>
              <a:gd name="connsiteY74" fmla="*/ 293180 h 441483"/>
              <a:gd name="connsiteX75" fmla="*/ 283750 w 504919"/>
              <a:gd name="connsiteY75" fmla="*/ 283750 h 441483"/>
              <a:gd name="connsiteX76" fmla="*/ 347186 w 504919"/>
              <a:gd name="connsiteY76" fmla="*/ 315468 h 441483"/>
              <a:gd name="connsiteX77" fmla="*/ 356616 w 504919"/>
              <a:gd name="connsiteY77" fmla="*/ 293180 h 441483"/>
              <a:gd name="connsiteX78" fmla="*/ 378905 w 504919"/>
              <a:gd name="connsiteY78" fmla="*/ 283750 h 441483"/>
              <a:gd name="connsiteX79" fmla="*/ 401193 w 504919"/>
              <a:gd name="connsiteY79" fmla="*/ 293180 h 441483"/>
              <a:gd name="connsiteX80" fmla="*/ 410622 w 504919"/>
              <a:gd name="connsiteY80" fmla="*/ 315468 h 441483"/>
              <a:gd name="connsiteX81" fmla="*/ 401193 w 504919"/>
              <a:gd name="connsiteY81" fmla="*/ 337757 h 441483"/>
              <a:gd name="connsiteX82" fmla="*/ 378905 w 504919"/>
              <a:gd name="connsiteY82" fmla="*/ 347186 h 441483"/>
              <a:gd name="connsiteX83" fmla="*/ 356616 w 504919"/>
              <a:gd name="connsiteY83" fmla="*/ 337757 h 441483"/>
              <a:gd name="connsiteX84" fmla="*/ 347186 w 504919"/>
              <a:gd name="connsiteY84" fmla="*/ 315468 h 441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504919" h="441483">
                <a:moveTo>
                  <a:pt x="494633" y="200597"/>
                </a:moveTo>
                <a:cubicBezTo>
                  <a:pt x="501491" y="204883"/>
                  <a:pt x="504920" y="211741"/>
                  <a:pt x="504920" y="220313"/>
                </a:cubicBezTo>
                <a:lnTo>
                  <a:pt x="504920" y="415766"/>
                </a:lnTo>
                <a:cubicBezTo>
                  <a:pt x="504920" y="422624"/>
                  <a:pt x="502348" y="429483"/>
                  <a:pt x="497205" y="433769"/>
                </a:cubicBezTo>
                <a:cubicBezTo>
                  <a:pt x="492061" y="438912"/>
                  <a:pt x="486061" y="441484"/>
                  <a:pt x="479202" y="441484"/>
                </a:cubicBezTo>
                <a:lnTo>
                  <a:pt x="25718" y="441484"/>
                </a:lnTo>
                <a:cubicBezTo>
                  <a:pt x="18860" y="441484"/>
                  <a:pt x="12001" y="438912"/>
                  <a:pt x="7715" y="433769"/>
                </a:cubicBezTo>
                <a:cubicBezTo>
                  <a:pt x="3429" y="428625"/>
                  <a:pt x="0" y="422624"/>
                  <a:pt x="0" y="415766"/>
                </a:cubicBezTo>
                <a:lnTo>
                  <a:pt x="0" y="25718"/>
                </a:lnTo>
                <a:cubicBezTo>
                  <a:pt x="0" y="18860"/>
                  <a:pt x="2572" y="12002"/>
                  <a:pt x="7715" y="7715"/>
                </a:cubicBezTo>
                <a:cubicBezTo>
                  <a:pt x="12859" y="3429"/>
                  <a:pt x="18860" y="0"/>
                  <a:pt x="25718" y="0"/>
                </a:cubicBezTo>
                <a:lnTo>
                  <a:pt x="132016" y="0"/>
                </a:lnTo>
                <a:cubicBezTo>
                  <a:pt x="138875" y="0"/>
                  <a:pt x="145733" y="2572"/>
                  <a:pt x="150019" y="7715"/>
                </a:cubicBezTo>
                <a:cubicBezTo>
                  <a:pt x="154305" y="12859"/>
                  <a:pt x="157734" y="18860"/>
                  <a:pt x="157734" y="25718"/>
                </a:cubicBezTo>
                <a:lnTo>
                  <a:pt x="157734" y="189453"/>
                </a:lnTo>
                <a:lnTo>
                  <a:pt x="201454" y="189453"/>
                </a:lnTo>
                <a:lnTo>
                  <a:pt x="201454" y="120015"/>
                </a:lnTo>
                <a:cubicBezTo>
                  <a:pt x="201454" y="113157"/>
                  <a:pt x="204025" y="106299"/>
                  <a:pt x="209169" y="102013"/>
                </a:cubicBezTo>
                <a:cubicBezTo>
                  <a:pt x="214313" y="96869"/>
                  <a:pt x="220313" y="94298"/>
                  <a:pt x="227171" y="94298"/>
                </a:cubicBezTo>
                <a:cubicBezTo>
                  <a:pt x="233172" y="94298"/>
                  <a:pt x="238315" y="96012"/>
                  <a:pt x="242602" y="100298"/>
                </a:cubicBezTo>
                <a:lnTo>
                  <a:pt x="328327" y="168021"/>
                </a:lnTo>
                <a:lnTo>
                  <a:pt x="328327" y="120015"/>
                </a:lnTo>
                <a:cubicBezTo>
                  <a:pt x="328327" y="113157"/>
                  <a:pt x="330898" y="106299"/>
                  <a:pt x="336042" y="102013"/>
                </a:cubicBezTo>
                <a:cubicBezTo>
                  <a:pt x="341185" y="97727"/>
                  <a:pt x="346329" y="94298"/>
                  <a:pt x="353187" y="94298"/>
                </a:cubicBezTo>
                <a:cubicBezTo>
                  <a:pt x="360045" y="94298"/>
                  <a:pt x="365188" y="96012"/>
                  <a:pt x="368618" y="100298"/>
                </a:cubicBezTo>
                <a:lnTo>
                  <a:pt x="494633" y="200597"/>
                </a:lnTo>
                <a:close/>
                <a:moveTo>
                  <a:pt x="50577" y="49721"/>
                </a:moveTo>
                <a:lnTo>
                  <a:pt x="50577" y="94298"/>
                </a:lnTo>
                <a:lnTo>
                  <a:pt x="108013" y="94298"/>
                </a:lnTo>
                <a:lnTo>
                  <a:pt x="108013" y="49721"/>
                </a:lnTo>
                <a:lnTo>
                  <a:pt x="50577" y="49721"/>
                </a:lnTo>
                <a:close/>
                <a:moveTo>
                  <a:pt x="107156" y="188595"/>
                </a:moveTo>
                <a:lnTo>
                  <a:pt x="107156" y="144018"/>
                </a:lnTo>
                <a:lnTo>
                  <a:pt x="49720" y="144018"/>
                </a:lnTo>
                <a:lnTo>
                  <a:pt x="49720" y="188595"/>
                </a:lnTo>
                <a:lnTo>
                  <a:pt x="107156" y="188595"/>
                </a:lnTo>
                <a:close/>
                <a:moveTo>
                  <a:pt x="50577" y="283750"/>
                </a:moveTo>
                <a:lnTo>
                  <a:pt x="108013" y="283750"/>
                </a:lnTo>
                <a:lnTo>
                  <a:pt x="108013" y="240030"/>
                </a:lnTo>
                <a:lnTo>
                  <a:pt x="50577" y="240030"/>
                </a:lnTo>
                <a:lnTo>
                  <a:pt x="50577" y="283750"/>
                </a:lnTo>
                <a:close/>
                <a:moveTo>
                  <a:pt x="50577" y="390906"/>
                </a:moveTo>
                <a:lnTo>
                  <a:pt x="108013" y="390906"/>
                </a:lnTo>
                <a:lnTo>
                  <a:pt x="108013" y="333470"/>
                </a:lnTo>
                <a:lnTo>
                  <a:pt x="50577" y="333470"/>
                </a:lnTo>
                <a:lnTo>
                  <a:pt x="50577" y="390906"/>
                </a:lnTo>
                <a:close/>
                <a:moveTo>
                  <a:pt x="454343" y="232315"/>
                </a:moveTo>
                <a:lnTo>
                  <a:pt x="378047" y="172308"/>
                </a:lnTo>
                <a:lnTo>
                  <a:pt x="378047" y="220313"/>
                </a:lnTo>
                <a:cubicBezTo>
                  <a:pt x="378047" y="227171"/>
                  <a:pt x="375475" y="234029"/>
                  <a:pt x="370332" y="238315"/>
                </a:cubicBezTo>
                <a:cubicBezTo>
                  <a:pt x="365188" y="242602"/>
                  <a:pt x="359187" y="246031"/>
                  <a:pt x="352330" y="246031"/>
                </a:cubicBezTo>
                <a:cubicBezTo>
                  <a:pt x="347186" y="246031"/>
                  <a:pt x="342042" y="244316"/>
                  <a:pt x="336899" y="240030"/>
                </a:cubicBezTo>
                <a:lnTo>
                  <a:pt x="252031" y="172308"/>
                </a:lnTo>
                <a:lnTo>
                  <a:pt x="252031" y="214313"/>
                </a:lnTo>
                <a:cubicBezTo>
                  <a:pt x="252031" y="221170"/>
                  <a:pt x="249460" y="228029"/>
                  <a:pt x="244316" y="232315"/>
                </a:cubicBezTo>
                <a:cubicBezTo>
                  <a:pt x="239172" y="236601"/>
                  <a:pt x="233172" y="240030"/>
                  <a:pt x="226314" y="240030"/>
                </a:cubicBezTo>
                <a:lnTo>
                  <a:pt x="156877" y="240030"/>
                </a:lnTo>
                <a:lnTo>
                  <a:pt x="156877" y="283750"/>
                </a:lnTo>
                <a:lnTo>
                  <a:pt x="162878" y="283750"/>
                </a:lnTo>
                <a:cubicBezTo>
                  <a:pt x="169735" y="283750"/>
                  <a:pt x="176593" y="286322"/>
                  <a:pt x="180880" y="291465"/>
                </a:cubicBezTo>
                <a:cubicBezTo>
                  <a:pt x="185166" y="296609"/>
                  <a:pt x="188595" y="302609"/>
                  <a:pt x="188595" y="309468"/>
                </a:cubicBezTo>
                <a:cubicBezTo>
                  <a:pt x="188595" y="316325"/>
                  <a:pt x="186023" y="322326"/>
                  <a:pt x="180880" y="327470"/>
                </a:cubicBezTo>
                <a:cubicBezTo>
                  <a:pt x="175736" y="331756"/>
                  <a:pt x="169735" y="334328"/>
                  <a:pt x="162878" y="334328"/>
                </a:cubicBezTo>
                <a:lnTo>
                  <a:pt x="156877" y="334328"/>
                </a:lnTo>
                <a:lnTo>
                  <a:pt x="156877" y="391763"/>
                </a:lnTo>
                <a:lnTo>
                  <a:pt x="453485" y="391763"/>
                </a:lnTo>
                <a:lnTo>
                  <a:pt x="453485" y="232315"/>
                </a:lnTo>
                <a:close/>
                <a:moveTo>
                  <a:pt x="283750" y="283750"/>
                </a:moveTo>
                <a:cubicBezTo>
                  <a:pt x="292322" y="283750"/>
                  <a:pt x="300038" y="287179"/>
                  <a:pt x="306038" y="293180"/>
                </a:cubicBezTo>
                <a:cubicBezTo>
                  <a:pt x="312039" y="299180"/>
                  <a:pt x="315468" y="306895"/>
                  <a:pt x="315468" y="315468"/>
                </a:cubicBezTo>
                <a:cubicBezTo>
                  <a:pt x="315468" y="324040"/>
                  <a:pt x="312039" y="331756"/>
                  <a:pt x="306038" y="337757"/>
                </a:cubicBezTo>
                <a:cubicBezTo>
                  <a:pt x="300038" y="343758"/>
                  <a:pt x="292322" y="347186"/>
                  <a:pt x="283750" y="347186"/>
                </a:cubicBezTo>
                <a:cubicBezTo>
                  <a:pt x="275177" y="347186"/>
                  <a:pt x="267462" y="343758"/>
                  <a:pt x="261461" y="337757"/>
                </a:cubicBezTo>
                <a:cubicBezTo>
                  <a:pt x="255460" y="331756"/>
                  <a:pt x="252031" y="324040"/>
                  <a:pt x="252031" y="315468"/>
                </a:cubicBezTo>
                <a:cubicBezTo>
                  <a:pt x="252031" y="306895"/>
                  <a:pt x="255460" y="299180"/>
                  <a:pt x="261461" y="293180"/>
                </a:cubicBezTo>
                <a:cubicBezTo>
                  <a:pt x="268319" y="287179"/>
                  <a:pt x="275177" y="283750"/>
                  <a:pt x="283750" y="283750"/>
                </a:cubicBezTo>
                <a:close/>
                <a:moveTo>
                  <a:pt x="347186" y="315468"/>
                </a:moveTo>
                <a:cubicBezTo>
                  <a:pt x="347186" y="306895"/>
                  <a:pt x="350615" y="299180"/>
                  <a:pt x="356616" y="293180"/>
                </a:cubicBezTo>
                <a:cubicBezTo>
                  <a:pt x="362617" y="287179"/>
                  <a:pt x="370332" y="283750"/>
                  <a:pt x="378905" y="283750"/>
                </a:cubicBezTo>
                <a:cubicBezTo>
                  <a:pt x="387477" y="283750"/>
                  <a:pt x="395192" y="287179"/>
                  <a:pt x="401193" y="293180"/>
                </a:cubicBezTo>
                <a:cubicBezTo>
                  <a:pt x="407194" y="299180"/>
                  <a:pt x="410622" y="306895"/>
                  <a:pt x="410622" y="315468"/>
                </a:cubicBezTo>
                <a:cubicBezTo>
                  <a:pt x="410622" y="324040"/>
                  <a:pt x="407194" y="331756"/>
                  <a:pt x="401193" y="337757"/>
                </a:cubicBezTo>
                <a:cubicBezTo>
                  <a:pt x="395192" y="343758"/>
                  <a:pt x="387477" y="347186"/>
                  <a:pt x="378905" y="347186"/>
                </a:cubicBezTo>
                <a:cubicBezTo>
                  <a:pt x="370332" y="347186"/>
                  <a:pt x="362617" y="343758"/>
                  <a:pt x="356616" y="337757"/>
                </a:cubicBezTo>
                <a:cubicBezTo>
                  <a:pt x="350615" y="330899"/>
                  <a:pt x="347186" y="324040"/>
                  <a:pt x="347186" y="315468"/>
                </a:cubicBezTo>
                <a:close/>
              </a:path>
            </a:pathLst>
          </a:custGeom>
          <a:solidFill>
            <a:schemeClr val="accent2"/>
          </a:solidFill>
          <a:ln w="8572" cap="flat">
            <a:noFill/>
            <a:prstDash val="solid"/>
            <a:miter/>
          </a:ln>
        </p:spPr>
        <p:txBody>
          <a:bodyPr rtlCol="0" anchor="ctr"/>
          <a:lstStyle/>
          <a:p>
            <a:endParaRPr lang="de-DE"/>
          </a:p>
        </p:txBody>
      </p:sp>
      <p:grpSp>
        <p:nvGrpSpPr>
          <p:cNvPr id="117" name="Gruppieren 35">
            <a:extLst>
              <a:ext uri="{FF2B5EF4-FFF2-40B4-BE49-F238E27FC236}">
                <a16:creationId xmlns:a16="http://schemas.microsoft.com/office/drawing/2014/main" id="{45FB2C82-27A4-CAF5-3A88-789EFC4495D3}"/>
              </a:ext>
            </a:extLst>
          </p:cNvPr>
          <p:cNvGrpSpPr/>
          <p:nvPr/>
        </p:nvGrpSpPr>
        <p:grpSpPr>
          <a:xfrm>
            <a:off x="7359425" y="1185544"/>
            <a:ext cx="4312602" cy="3617680"/>
            <a:chOff x="4974979" y="2313773"/>
            <a:chExt cx="4312602" cy="3617680"/>
          </a:xfrm>
        </p:grpSpPr>
        <p:pic>
          <p:nvPicPr>
            <p:cNvPr id="118" name="Grafik 30" descr="Ein Bild, das Text, Ausgabegerät, Anzeigegerät, Flachbildschirm enthält.&#10;&#10;Automatisch generierte Beschreibung">
              <a:extLst>
                <a:ext uri="{FF2B5EF4-FFF2-40B4-BE49-F238E27FC236}">
                  <a16:creationId xmlns:a16="http://schemas.microsoft.com/office/drawing/2014/main" id="{583E655F-78EC-60A2-32BE-EBAF2FC25B07}"/>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974979" y="2313773"/>
              <a:ext cx="4312602" cy="3617680"/>
            </a:xfrm>
            <a:prstGeom prst="rect">
              <a:avLst/>
            </a:prstGeom>
          </p:spPr>
        </p:pic>
        <p:pic>
          <p:nvPicPr>
            <p:cNvPr id="119" name="Picture 36">
              <a:extLst>
                <a:ext uri="{FF2B5EF4-FFF2-40B4-BE49-F238E27FC236}">
                  <a16:creationId xmlns:a16="http://schemas.microsoft.com/office/drawing/2014/main" id="{DA547F87-63CE-05E6-5A84-BA83E25FA8DD}"/>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114721" y="2446221"/>
              <a:ext cx="4033118" cy="2387237"/>
            </a:xfrm>
            <a:prstGeom prst="rect">
              <a:avLst/>
            </a:prstGeom>
          </p:spPr>
        </p:pic>
      </p:grpSp>
      <p:sp>
        <p:nvSpPr>
          <p:cNvPr id="120" name="TextBox 119">
            <a:extLst>
              <a:ext uri="{FF2B5EF4-FFF2-40B4-BE49-F238E27FC236}">
                <a16:creationId xmlns:a16="http://schemas.microsoft.com/office/drawing/2014/main" id="{CCA720F5-97D8-3CAA-46AF-3FB8D5B955D7}"/>
              </a:ext>
            </a:extLst>
          </p:cNvPr>
          <p:cNvSpPr txBox="1"/>
          <p:nvPr/>
        </p:nvSpPr>
        <p:spPr>
          <a:xfrm>
            <a:off x="2541526" y="6022690"/>
            <a:ext cx="7112122" cy="400110"/>
          </a:xfrm>
          <a:prstGeom prst="rect">
            <a:avLst/>
          </a:prstGeom>
          <a:noFill/>
        </p:spPr>
        <p:txBody>
          <a:bodyPr wrap="square">
            <a:spAutoFit/>
          </a:bodyPr>
          <a:lstStyle/>
          <a:p>
            <a:pPr algn="ctr"/>
            <a:r>
              <a:rPr lang="en-US" sz="2000" b="1" dirty="0">
                <a:latin typeface="72 Brand Medium" panose="020B0504030603020204"/>
              </a:rPr>
              <a:t>Managing and processing events at enterprise scale</a:t>
            </a:r>
          </a:p>
        </p:txBody>
      </p:sp>
      <p:sp>
        <p:nvSpPr>
          <p:cNvPr id="2" name="Textfeld 1">
            <a:extLst>
              <a:ext uri="{FF2B5EF4-FFF2-40B4-BE49-F238E27FC236}">
                <a16:creationId xmlns:a16="http://schemas.microsoft.com/office/drawing/2014/main" id="{A3EF3A27-7D9C-AE51-992E-2BE3E673EA31}"/>
              </a:ext>
            </a:extLst>
          </p:cNvPr>
          <p:cNvSpPr txBox="1"/>
          <p:nvPr/>
        </p:nvSpPr>
        <p:spPr>
          <a:xfrm>
            <a:off x="9365107" y="836270"/>
            <a:ext cx="577081" cy="276999"/>
          </a:xfrm>
          <a:prstGeom prst="rect">
            <a:avLst/>
          </a:prstGeom>
          <a:noFill/>
        </p:spPr>
        <p:txBody>
          <a:bodyPr wrap="none" lIns="0" tIns="0" rIns="0" bIns="0" rtlCol="0">
            <a:spAutoFit/>
          </a:bodyPr>
          <a:lstStyle/>
          <a:p>
            <a:pPr algn="l" fontAlgn="base">
              <a:spcBef>
                <a:spcPct val="50000"/>
              </a:spcBef>
              <a:spcAft>
                <a:spcPct val="0"/>
              </a:spcAft>
              <a:buClr>
                <a:schemeClr val="tx1"/>
              </a:buClr>
              <a:buSzPct val="100000"/>
            </a:pPr>
            <a:r>
              <a:rPr lang="en-US" sz="1800" kern="0" dirty="0">
                <a:solidFill>
                  <a:srgbClr val="FFC000"/>
                </a:solidFill>
                <a:latin typeface="72 Brand" panose="020B0504030603020204" pitchFamily="34" charset="0"/>
                <a:ea typeface="Arial Unicode MS" pitchFamily="34" charset="-128"/>
                <a:cs typeface="Arial Unicode MS" pitchFamily="34" charset="-128"/>
              </a:rPr>
              <a:t>Day 4</a:t>
            </a:r>
          </a:p>
        </p:txBody>
      </p:sp>
    </p:spTree>
    <p:extLst>
      <p:ext uri="{BB962C8B-B14F-4D97-AF65-F5344CB8AC3E}">
        <p14:creationId xmlns:p14="http://schemas.microsoft.com/office/powerpoint/2010/main" val="78415718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4FFDA2-A2B6-C943-810F-6E7E614B57AB}"/>
              </a:ext>
            </a:extLst>
          </p:cNvPr>
          <p:cNvSpPr>
            <a:spLocks noGrp="1"/>
          </p:cNvSpPr>
          <p:nvPr>
            <p:ph type="title"/>
          </p:nvPr>
        </p:nvSpPr>
        <p:spPr>
          <a:xfrm>
            <a:off x="504000" y="259200"/>
            <a:ext cx="11186476" cy="738664"/>
          </a:xfrm>
        </p:spPr>
        <p:txBody>
          <a:bodyPr/>
          <a:lstStyle/>
          <a:p>
            <a:r>
              <a:rPr lang="en-US"/>
              <a:t>SAP Integration Suite, advanced event mesh: Details</a:t>
            </a:r>
            <a:br>
              <a:rPr lang="en-US"/>
            </a:br>
            <a:endParaRPr lang="en-US" b="1">
              <a:solidFill>
                <a:schemeClr val="tx1"/>
              </a:solidFill>
            </a:endParaRPr>
          </a:p>
        </p:txBody>
      </p:sp>
      <p:graphicFrame>
        <p:nvGraphicFramePr>
          <p:cNvPr id="3" name="Table 4">
            <a:extLst>
              <a:ext uri="{FF2B5EF4-FFF2-40B4-BE49-F238E27FC236}">
                <a16:creationId xmlns:a16="http://schemas.microsoft.com/office/drawing/2014/main" id="{207326BF-69E8-8D4C-31EC-0658510E105F}"/>
              </a:ext>
            </a:extLst>
          </p:cNvPr>
          <p:cNvGraphicFramePr>
            <a:graphicFrameLocks noGrp="1"/>
          </p:cNvGraphicFramePr>
          <p:nvPr/>
        </p:nvGraphicFramePr>
        <p:xfrm>
          <a:off x="504000" y="833113"/>
          <a:ext cx="9047773" cy="5656457"/>
        </p:xfrm>
        <a:graphic>
          <a:graphicData uri="http://schemas.openxmlformats.org/drawingml/2006/table">
            <a:tbl>
              <a:tblPr firstRow="1" bandRow="1" bandCol="1">
                <a:tableStyleId>{0E3FDE45-AF77-4B5C-9715-49D594BDF05E}</a:tableStyleId>
              </a:tblPr>
              <a:tblGrid>
                <a:gridCol w="4899263">
                  <a:extLst>
                    <a:ext uri="{9D8B030D-6E8A-4147-A177-3AD203B41FA5}">
                      <a16:colId xmlns:a16="http://schemas.microsoft.com/office/drawing/2014/main" val="2918105188"/>
                    </a:ext>
                  </a:extLst>
                </a:gridCol>
                <a:gridCol w="4148510">
                  <a:extLst>
                    <a:ext uri="{9D8B030D-6E8A-4147-A177-3AD203B41FA5}">
                      <a16:colId xmlns:a16="http://schemas.microsoft.com/office/drawing/2014/main" val="749772497"/>
                    </a:ext>
                  </a:extLst>
                </a:gridCol>
              </a:tblGrid>
              <a:tr h="483707">
                <a:tc>
                  <a:txBody>
                    <a:bodyPr/>
                    <a:lstStyle/>
                    <a:p>
                      <a:pPr>
                        <a:lnSpc>
                          <a:spcPct val="90000"/>
                        </a:lnSpc>
                      </a:pPr>
                      <a:endParaRPr lang="en-US" sz="1200">
                        <a:ln>
                          <a:solidFill>
                            <a:schemeClr val="tx1"/>
                          </a:solidFill>
                        </a:ln>
                        <a:solidFill>
                          <a:schemeClr val="accent3"/>
                        </a:solidFill>
                      </a:endParaRPr>
                    </a:p>
                  </a:txBody>
                  <a:tcPr marL="91416" marR="91416" marT="45708" marB="45708" anchor="b">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1088558" rtl="0" eaLnBrk="1" fontAlgn="auto" latinLnBrk="0" hangingPunct="1">
                        <a:lnSpc>
                          <a:spcPct val="90000"/>
                        </a:lnSpc>
                        <a:spcBef>
                          <a:spcPts val="0"/>
                        </a:spcBef>
                        <a:spcAft>
                          <a:spcPts val="0"/>
                        </a:spcAft>
                        <a:buClrTx/>
                        <a:buSzTx/>
                        <a:buFontTx/>
                        <a:buNone/>
                        <a:tabLst/>
                        <a:defRPr/>
                      </a:pPr>
                      <a:r>
                        <a:rPr lang="en-US" sz="1400" dirty="0">
                          <a:solidFill>
                            <a:schemeClr val="tx1"/>
                          </a:solidFill>
                        </a:rPr>
                        <a:t>SAP Integration Suite, advanced event mesh</a:t>
                      </a:r>
                    </a:p>
                  </a:txBody>
                  <a:tcPr marL="91416" marR="91416" marT="45708" marB="45708" anchor="ctr">
                    <a:lnL w="12700" cap="flat" cmpd="sng" algn="ctr">
                      <a:no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tx2">
                        <a:lumMod val="60000"/>
                        <a:lumOff val="40000"/>
                      </a:schemeClr>
                    </a:solidFill>
                  </a:tcPr>
                </a:tc>
                <a:extLst>
                  <a:ext uri="{0D108BD9-81ED-4DB2-BD59-A6C34878D82A}">
                    <a16:rowId xmlns:a16="http://schemas.microsoft.com/office/drawing/2014/main" val="2718734811"/>
                  </a:ext>
                </a:extLst>
              </a:tr>
              <a:tr h="344850">
                <a:tc>
                  <a:txBody>
                    <a:bodyPr/>
                    <a:lstStyle/>
                    <a:p>
                      <a:r>
                        <a:rPr lang="en-US" sz="1400" b="1" kern="1200" dirty="0">
                          <a:solidFill>
                            <a:schemeClr val="tx1"/>
                          </a:solidFill>
                          <a:latin typeface="+mn-lt"/>
                          <a:ea typeface="+mn-ea"/>
                          <a:cs typeface="+mn-cs"/>
                        </a:rPr>
                        <a:t> Fully managed cloud service</a:t>
                      </a:r>
                    </a:p>
                  </a:txBody>
                  <a:tcPr marL="0" marR="0" marT="64008" marB="64008"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tx2">
                        <a:lumMod val="60000"/>
                        <a:lumOff val="40000"/>
                      </a:schemeClr>
                    </a:solidFill>
                  </a:tcPr>
                </a:tc>
                <a:tc>
                  <a:txBody>
                    <a:bodyPr/>
                    <a:lstStyle/>
                    <a:p>
                      <a:pPr algn="ctr"/>
                      <a:r>
                        <a:rPr lang="en-US" sz="1200" b="1" dirty="0">
                          <a:ln>
                            <a:solidFill>
                              <a:schemeClr val="accent3"/>
                            </a:solidFill>
                          </a:ln>
                          <a:solidFill>
                            <a:schemeClr val="accent3"/>
                          </a:solidFill>
                        </a:rPr>
                        <a:t>✓</a:t>
                      </a:r>
                    </a:p>
                  </a:txBody>
                  <a:tcPr marL="0" marR="0" marT="64008" marB="64008" anchor="ctr">
                    <a:lnL w="12700" cap="flat" cmpd="sng" algn="ctr">
                      <a:solidFill>
                        <a:schemeClr val="bg2"/>
                      </a:solidFill>
                      <a:prstDash val="solid"/>
                      <a:round/>
                      <a:headEnd type="none" w="med" len="med"/>
                      <a:tailEnd type="none" w="med" len="med"/>
                    </a:lnL>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3962234169"/>
                  </a:ext>
                </a:extLst>
              </a:tr>
              <a:tr h="344850">
                <a:tc>
                  <a:txBody>
                    <a:bodyPr/>
                    <a:lstStyle/>
                    <a:p>
                      <a:r>
                        <a:rPr lang="en-US" sz="1400" b="1" kern="1200" dirty="0">
                          <a:solidFill>
                            <a:schemeClr val="tx1"/>
                          </a:solidFill>
                          <a:latin typeface="+mn-lt"/>
                          <a:ea typeface="+mn-ea"/>
                          <a:cs typeface="+mn-cs"/>
                        </a:rPr>
                        <a:t> Infrastructure model</a:t>
                      </a:r>
                    </a:p>
                  </a:txBody>
                  <a:tcPr marL="0" marR="0" marT="64008" marB="64008"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tx2">
                        <a:lumMod val="60000"/>
                        <a:lumOff val="40000"/>
                      </a:schemeClr>
                    </a:solidFill>
                  </a:tcPr>
                </a:tc>
                <a:tc>
                  <a:txBody>
                    <a:bodyPr/>
                    <a:lstStyle/>
                    <a:p>
                      <a:pPr marL="0" algn="ctr" defTabSz="1088558" rtl="0" eaLnBrk="1" latinLnBrk="0" hangingPunct="1"/>
                      <a:r>
                        <a:rPr lang="en-US" sz="1200" b="1" kern="1200" dirty="0">
                          <a:solidFill>
                            <a:schemeClr val="tx1"/>
                          </a:solidFill>
                          <a:latin typeface="+mn-lt"/>
                          <a:ea typeface="+mn-ea"/>
                          <a:cs typeface="+mn-cs"/>
                        </a:rPr>
                        <a:t>Exclusive in T-Shirt Sizes</a:t>
                      </a:r>
                    </a:p>
                  </a:txBody>
                  <a:tcPr marL="0" marR="0" marT="64008" marB="64008" anchor="ctr">
                    <a:lnL w="12700" cap="flat" cmpd="sng" algn="ctr">
                      <a:solidFill>
                        <a:schemeClr val="bg2"/>
                      </a:solidFill>
                      <a:prstDash val="solid"/>
                      <a:round/>
                      <a:headEnd type="none" w="med" len="med"/>
                      <a:tailEnd type="none" w="med" len="med"/>
                    </a:lnL>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156897754"/>
                  </a:ext>
                </a:extLst>
              </a:tr>
              <a:tr h="344850">
                <a:tc>
                  <a:txBody>
                    <a:bodyPr/>
                    <a:lstStyle/>
                    <a:p>
                      <a:r>
                        <a:rPr lang="en-US" sz="1400" b="1" kern="1200" dirty="0">
                          <a:solidFill>
                            <a:schemeClr val="tx1"/>
                          </a:solidFill>
                          <a:latin typeface="+mn-lt"/>
                          <a:ea typeface="+mn-ea"/>
                          <a:cs typeface="+mn-cs"/>
                        </a:rPr>
                        <a:t> Deployment options</a:t>
                      </a:r>
                    </a:p>
                  </a:txBody>
                  <a:tcPr marL="0" marR="0" marT="64008" marB="64008"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tx2">
                        <a:lumMod val="60000"/>
                        <a:lumOff val="40000"/>
                      </a:schemeClr>
                    </a:solidFill>
                  </a:tcPr>
                </a:tc>
                <a:tc>
                  <a:txBody>
                    <a:bodyPr/>
                    <a:lstStyle/>
                    <a:p>
                      <a:pPr marL="0" algn="ctr" defTabSz="1088558" rtl="0" eaLnBrk="1" latinLnBrk="0" hangingPunct="1"/>
                      <a:r>
                        <a:rPr lang="en-US" sz="1200" b="1" kern="1200" dirty="0">
                          <a:solidFill>
                            <a:schemeClr val="tx1"/>
                          </a:solidFill>
                          <a:latin typeface="+mn-lt"/>
                          <a:ea typeface="+mn-ea"/>
                          <a:cs typeface="+mn-cs"/>
                        </a:rPr>
                        <a:t>Private and Public Clouds</a:t>
                      </a:r>
                    </a:p>
                  </a:txBody>
                  <a:tcPr marL="0" marR="0" marT="64008" marB="64008" anchor="ctr">
                    <a:lnL w="12700" cap="flat" cmpd="sng" algn="ctr">
                      <a:solidFill>
                        <a:schemeClr val="bg2"/>
                      </a:solidFill>
                      <a:prstDash val="solid"/>
                      <a:round/>
                      <a:headEnd type="none" w="med" len="med"/>
                      <a:tailEnd type="none" w="med" len="med"/>
                    </a:lnL>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3424404716"/>
                  </a:ext>
                </a:extLst>
              </a:tr>
              <a:tr h="344850">
                <a:tc>
                  <a:txBody>
                    <a:bodyPr/>
                    <a:lstStyle/>
                    <a:p>
                      <a:r>
                        <a:rPr lang="en-US" sz="1400" b="1" kern="1200" dirty="0">
                          <a:solidFill>
                            <a:schemeClr val="tx1"/>
                          </a:solidFill>
                          <a:latin typeface="+mn-lt"/>
                          <a:ea typeface="+mn-ea"/>
                          <a:cs typeface="+mn-cs"/>
                        </a:rPr>
                        <a:t> Connecting SAP and non-SAP systems</a:t>
                      </a:r>
                    </a:p>
                  </a:txBody>
                  <a:tcPr marL="0" marR="0" marT="64008" marB="64008"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tx2">
                        <a:lumMod val="60000"/>
                        <a:lumOff val="40000"/>
                      </a:schemeClr>
                    </a:solidFill>
                  </a:tcPr>
                </a:tc>
                <a:tc>
                  <a:txBody>
                    <a:bodyPr/>
                    <a:lstStyle/>
                    <a:p>
                      <a:pPr marL="0" marR="0" lvl="0" indent="0" algn="ctr" defTabSz="1088558" rtl="0" eaLnBrk="1" fontAlgn="auto" latinLnBrk="0" hangingPunct="1">
                        <a:lnSpc>
                          <a:spcPct val="100000"/>
                        </a:lnSpc>
                        <a:spcBef>
                          <a:spcPts val="0"/>
                        </a:spcBef>
                        <a:spcAft>
                          <a:spcPts val="0"/>
                        </a:spcAft>
                        <a:buClrTx/>
                        <a:buSzTx/>
                        <a:buFontTx/>
                        <a:buNone/>
                        <a:tabLst/>
                        <a:defRPr/>
                      </a:pPr>
                      <a:r>
                        <a:rPr lang="en-US" sz="1200" b="1" dirty="0">
                          <a:ln>
                            <a:solidFill>
                              <a:schemeClr val="accent3"/>
                            </a:solidFill>
                          </a:ln>
                          <a:solidFill>
                            <a:schemeClr val="accent3"/>
                          </a:solidFill>
                        </a:rPr>
                        <a:t>✓</a:t>
                      </a:r>
                    </a:p>
                  </a:txBody>
                  <a:tcPr marL="0" marR="0" marT="64008" marB="64008" anchor="ctr">
                    <a:lnL w="12700" cap="flat" cmpd="sng" algn="ctr">
                      <a:solidFill>
                        <a:schemeClr val="bg2"/>
                      </a:solidFill>
                      <a:prstDash val="solid"/>
                      <a:round/>
                      <a:headEnd type="none" w="med" len="med"/>
                      <a:tailEnd type="none" w="med" len="med"/>
                    </a:lnL>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3803675128"/>
                  </a:ext>
                </a:extLst>
              </a:tr>
              <a:tr h="344850">
                <a:tc>
                  <a:txBody>
                    <a:bodyPr/>
                    <a:lstStyle/>
                    <a:p>
                      <a:r>
                        <a:rPr lang="en-US" sz="1400" b="1" kern="1200" dirty="0">
                          <a:solidFill>
                            <a:schemeClr val="tx1"/>
                          </a:solidFill>
                          <a:latin typeface="+mn-lt"/>
                          <a:ea typeface="+mn-ea"/>
                          <a:cs typeface="+mn-cs"/>
                        </a:rPr>
                        <a:t> Out-of-the-box support for SAP event sources</a:t>
                      </a:r>
                    </a:p>
                  </a:txBody>
                  <a:tcPr marL="0" marR="0" marT="64008" marB="64008"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tx2">
                        <a:lumMod val="60000"/>
                        <a:lumOff val="40000"/>
                      </a:schemeClr>
                    </a:solidFill>
                  </a:tcPr>
                </a:tc>
                <a:tc>
                  <a:txBody>
                    <a:bodyPr/>
                    <a:lstStyle/>
                    <a:p>
                      <a:pPr marL="0" marR="0" lvl="0" indent="0" algn="ctr" defTabSz="1088558" rtl="0" eaLnBrk="1" fontAlgn="auto" latinLnBrk="0" hangingPunct="1">
                        <a:lnSpc>
                          <a:spcPct val="100000"/>
                        </a:lnSpc>
                        <a:spcBef>
                          <a:spcPts val="0"/>
                        </a:spcBef>
                        <a:spcAft>
                          <a:spcPts val="0"/>
                        </a:spcAft>
                        <a:buClrTx/>
                        <a:buSzTx/>
                        <a:buFontTx/>
                        <a:buNone/>
                        <a:tabLst/>
                        <a:defRPr/>
                      </a:pPr>
                      <a:r>
                        <a:rPr lang="en-US" sz="1200" b="1" dirty="0">
                          <a:ln>
                            <a:solidFill>
                              <a:schemeClr val="accent3"/>
                            </a:solidFill>
                          </a:ln>
                          <a:solidFill>
                            <a:schemeClr val="accent3"/>
                          </a:solidFill>
                        </a:rPr>
                        <a:t>✓ </a:t>
                      </a:r>
                      <a:endParaRPr lang="en-US" sz="1200" b="1" kern="1200" dirty="0">
                        <a:solidFill>
                          <a:schemeClr val="tx1"/>
                        </a:solidFill>
                        <a:latin typeface="+mn-lt"/>
                        <a:ea typeface="+mn-ea"/>
                        <a:cs typeface="+mn-cs"/>
                      </a:endParaRPr>
                    </a:p>
                  </a:txBody>
                  <a:tcPr marL="0" marR="0" marT="64008" marB="64008" anchor="ctr">
                    <a:lnL w="12700" cap="flat" cmpd="sng" algn="ctr">
                      <a:solidFill>
                        <a:schemeClr val="bg2"/>
                      </a:solidFill>
                      <a:prstDash val="solid"/>
                      <a:round/>
                      <a:headEnd type="none" w="med" len="med"/>
                      <a:tailEnd type="none" w="med" len="med"/>
                    </a:lnL>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4973624"/>
                  </a:ext>
                </a:extLst>
              </a:tr>
              <a:tr h="344850">
                <a:tc>
                  <a:txBody>
                    <a:bodyPr/>
                    <a:lstStyle/>
                    <a:p>
                      <a:r>
                        <a:rPr lang="en-US" sz="1400" b="1" kern="1200" dirty="0">
                          <a:solidFill>
                            <a:schemeClr val="tx1"/>
                          </a:solidFill>
                          <a:latin typeface="+mn-lt"/>
                          <a:ea typeface="+mn-ea"/>
                          <a:cs typeface="+mn-cs"/>
                        </a:rPr>
                        <a:t> Support of standard protocols</a:t>
                      </a:r>
                    </a:p>
                  </a:txBody>
                  <a:tcPr marL="0" marR="0" marT="64008" marB="64008"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tx2">
                        <a:lumMod val="60000"/>
                        <a:lumOff val="40000"/>
                      </a:schemeClr>
                    </a:solidFill>
                  </a:tcPr>
                </a:tc>
                <a:tc>
                  <a:txBody>
                    <a:bodyPr/>
                    <a:lstStyle/>
                    <a:p>
                      <a:pPr marL="0" marR="0" lvl="0" indent="0" algn="ctr" defTabSz="1088558" rtl="0" eaLnBrk="1" fontAlgn="auto" latinLnBrk="0" hangingPunct="1">
                        <a:lnSpc>
                          <a:spcPct val="100000"/>
                        </a:lnSpc>
                        <a:spcBef>
                          <a:spcPts val="0"/>
                        </a:spcBef>
                        <a:spcAft>
                          <a:spcPts val="0"/>
                        </a:spcAft>
                        <a:buClrTx/>
                        <a:buSzTx/>
                        <a:buFontTx/>
                        <a:buNone/>
                        <a:tabLst/>
                        <a:defRPr/>
                      </a:pPr>
                      <a:r>
                        <a:rPr lang="en-US" sz="1200" b="1" dirty="0">
                          <a:ln>
                            <a:solidFill>
                              <a:schemeClr val="accent3"/>
                            </a:solidFill>
                          </a:ln>
                          <a:solidFill>
                            <a:schemeClr val="accent3"/>
                          </a:solidFill>
                        </a:rPr>
                        <a:t>✓ </a:t>
                      </a:r>
                      <a:endParaRPr lang="en-US" sz="1200" b="1" kern="1200" dirty="0">
                        <a:solidFill>
                          <a:schemeClr val="tx1"/>
                        </a:solidFill>
                        <a:latin typeface="+mn-lt"/>
                        <a:ea typeface="+mn-ea"/>
                        <a:cs typeface="+mn-cs"/>
                      </a:endParaRPr>
                    </a:p>
                  </a:txBody>
                  <a:tcPr marL="0" marR="0" marT="64008" marB="64008" anchor="ctr">
                    <a:lnL w="12700" cap="flat" cmpd="sng" algn="ctr">
                      <a:solidFill>
                        <a:schemeClr val="bg2"/>
                      </a:solidFill>
                      <a:prstDash val="solid"/>
                      <a:round/>
                      <a:headEnd type="none" w="med" len="med"/>
                      <a:tailEnd type="none" w="med" len="med"/>
                    </a:lnL>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4156227120"/>
                  </a:ext>
                </a:extLst>
              </a:tr>
              <a:tr h="344850">
                <a:tc>
                  <a:txBody>
                    <a:bodyPr/>
                    <a:lstStyle/>
                    <a:p>
                      <a:r>
                        <a:rPr lang="en-US" sz="1400" b="1" kern="1200" dirty="0">
                          <a:solidFill>
                            <a:schemeClr val="tx1"/>
                          </a:solidFill>
                          <a:latin typeface="+mn-lt"/>
                          <a:ea typeface="+mn-ea"/>
                          <a:cs typeface="+mn-cs"/>
                        </a:rPr>
                        <a:t> Message size and storage</a:t>
                      </a:r>
                    </a:p>
                  </a:txBody>
                  <a:tcPr marL="0" marR="0" marT="64008" marB="64008"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tx2">
                        <a:lumMod val="60000"/>
                        <a:lumOff val="40000"/>
                      </a:schemeClr>
                    </a:solidFill>
                  </a:tcPr>
                </a:tc>
                <a:tc>
                  <a:txBody>
                    <a:bodyPr/>
                    <a:lstStyle/>
                    <a:p>
                      <a:pPr marL="0" marR="0" lvl="0" indent="0" algn="ctr" defTabSz="1088558"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latin typeface="+mn-lt"/>
                          <a:ea typeface="+mn-ea"/>
                          <a:cs typeface="+mn-cs"/>
                        </a:rPr>
                        <a:t>Up to 30MB / Up to 6TB</a:t>
                      </a:r>
                    </a:p>
                  </a:txBody>
                  <a:tcPr marL="0" marR="0" marT="64008" marB="64008" anchor="ctr">
                    <a:lnL w="12700" cap="flat" cmpd="sng" algn="ctr">
                      <a:solidFill>
                        <a:schemeClr val="bg2"/>
                      </a:solidFill>
                      <a:prstDash val="solid"/>
                      <a:round/>
                      <a:headEnd type="none" w="med" len="med"/>
                      <a:tailEnd type="none" w="med" len="med"/>
                    </a:lnL>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620794675"/>
                  </a:ext>
                </a:extLst>
              </a:tr>
              <a:tr h="344850">
                <a:tc>
                  <a:txBody>
                    <a:bodyPr/>
                    <a:lstStyle/>
                    <a:p>
                      <a:r>
                        <a:rPr lang="en-US" sz="1400" b="1" kern="1200" dirty="0">
                          <a:solidFill>
                            <a:schemeClr val="tx1"/>
                          </a:solidFill>
                          <a:latin typeface="+mn-lt"/>
                          <a:ea typeface="+mn-ea"/>
                          <a:cs typeface="+mn-cs"/>
                        </a:rPr>
                        <a:t> Typical use case size</a:t>
                      </a:r>
                    </a:p>
                  </a:txBody>
                  <a:tcPr marL="0" marR="0" marT="64008" marB="64008"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tx2">
                        <a:lumMod val="60000"/>
                        <a:lumOff val="40000"/>
                      </a:schemeClr>
                    </a:solidFill>
                  </a:tcPr>
                </a:tc>
                <a:tc>
                  <a:txBody>
                    <a:bodyPr/>
                    <a:lstStyle/>
                    <a:p>
                      <a:pPr marL="0" marR="0" lvl="0" indent="0" algn="ctr" defTabSz="1088558"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latin typeface="+mn-lt"/>
                          <a:ea typeface="+mn-ea"/>
                          <a:cs typeface="+mn-cs"/>
                        </a:rPr>
                        <a:t>Small to Ultra Large</a:t>
                      </a:r>
                    </a:p>
                  </a:txBody>
                  <a:tcPr marL="0" marR="0" marT="64008" marB="64008" anchor="ctr">
                    <a:lnL w="12700" cap="flat" cmpd="sng" algn="ctr">
                      <a:solidFill>
                        <a:schemeClr val="bg2"/>
                      </a:solidFill>
                      <a:prstDash val="solid"/>
                      <a:round/>
                      <a:headEnd type="none" w="med" len="med"/>
                      <a:tailEnd type="none" w="med" len="med"/>
                    </a:lnL>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250085830"/>
                  </a:ext>
                </a:extLst>
              </a:tr>
              <a:tr h="344850">
                <a:tc>
                  <a:txBody>
                    <a:bodyPr/>
                    <a:lstStyle/>
                    <a:p>
                      <a:r>
                        <a:rPr lang="en-US" sz="1400" b="1" kern="1200" dirty="0">
                          <a:solidFill>
                            <a:schemeClr val="tx1"/>
                          </a:solidFill>
                          <a:latin typeface="+mn-lt"/>
                          <a:ea typeface="+mn-ea"/>
                          <a:cs typeface="+mn-cs"/>
                        </a:rPr>
                        <a:t> Network of event brokers</a:t>
                      </a:r>
                    </a:p>
                  </a:txBody>
                  <a:tcPr marL="0" marR="0" marT="64008" marB="64008"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tx2">
                        <a:lumMod val="60000"/>
                        <a:lumOff val="40000"/>
                      </a:schemeClr>
                    </a:solidFill>
                  </a:tcPr>
                </a:tc>
                <a:tc>
                  <a:txBody>
                    <a:bodyPr/>
                    <a:lstStyle/>
                    <a:p>
                      <a:pPr marL="0" marR="0" lvl="0" indent="0" algn="ctr" defTabSz="1088558" rtl="0" eaLnBrk="1" fontAlgn="auto" latinLnBrk="0" hangingPunct="1">
                        <a:lnSpc>
                          <a:spcPct val="100000"/>
                        </a:lnSpc>
                        <a:spcBef>
                          <a:spcPts val="0"/>
                        </a:spcBef>
                        <a:spcAft>
                          <a:spcPts val="0"/>
                        </a:spcAft>
                        <a:buClrTx/>
                        <a:buSzTx/>
                        <a:buFontTx/>
                        <a:buNone/>
                        <a:tabLst/>
                        <a:defRPr/>
                      </a:pPr>
                      <a:r>
                        <a:rPr lang="en-US" sz="1100" b="1" dirty="0">
                          <a:ln>
                            <a:solidFill>
                              <a:schemeClr val="accent3"/>
                            </a:solidFill>
                          </a:ln>
                          <a:solidFill>
                            <a:schemeClr val="accent3"/>
                          </a:solidFill>
                        </a:rPr>
                        <a:t>✓</a:t>
                      </a:r>
                    </a:p>
                  </a:txBody>
                  <a:tcPr marL="0" marR="0" marT="64008" marB="64008" anchor="ctr">
                    <a:lnL w="12700" cap="flat" cmpd="sng" algn="ctr">
                      <a:solidFill>
                        <a:schemeClr val="bg2"/>
                      </a:solidFill>
                      <a:prstDash val="solid"/>
                      <a:round/>
                      <a:headEnd type="none" w="med" len="med"/>
                      <a:tailEnd type="none" w="med" len="med"/>
                    </a:lnL>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310993060"/>
                  </a:ext>
                </a:extLst>
              </a:tr>
              <a:tr h="344850">
                <a:tc>
                  <a:txBody>
                    <a:bodyPr/>
                    <a:lstStyle/>
                    <a:p>
                      <a:r>
                        <a:rPr lang="en-US" sz="1400" b="1" kern="1200" dirty="0">
                          <a:solidFill>
                            <a:schemeClr val="tx1"/>
                          </a:solidFill>
                          <a:latin typeface="+mn-lt"/>
                          <a:ea typeface="+mn-ea"/>
                          <a:cs typeface="+mn-cs"/>
                        </a:rPr>
                        <a:t> Advanced event monitoring and analysis</a:t>
                      </a:r>
                    </a:p>
                  </a:txBody>
                  <a:tcPr marL="0" marR="0" marT="64008" marB="64008"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tx2">
                        <a:lumMod val="60000"/>
                        <a:lumOff val="40000"/>
                      </a:schemeClr>
                    </a:solidFill>
                  </a:tcPr>
                </a:tc>
                <a:tc>
                  <a:txBody>
                    <a:bodyPr/>
                    <a:lstStyle/>
                    <a:p>
                      <a:pPr marL="0" marR="0" lvl="0" indent="0" algn="ctr" defTabSz="1088558" rtl="0" eaLnBrk="1" fontAlgn="auto" latinLnBrk="0" hangingPunct="1">
                        <a:lnSpc>
                          <a:spcPct val="100000"/>
                        </a:lnSpc>
                        <a:spcBef>
                          <a:spcPts val="0"/>
                        </a:spcBef>
                        <a:spcAft>
                          <a:spcPts val="0"/>
                        </a:spcAft>
                        <a:buClrTx/>
                        <a:buSzTx/>
                        <a:buFontTx/>
                        <a:buNone/>
                        <a:tabLst/>
                        <a:defRPr/>
                      </a:pPr>
                      <a:r>
                        <a:rPr lang="en-US" sz="1200" b="1" dirty="0">
                          <a:ln>
                            <a:solidFill>
                              <a:schemeClr val="accent3"/>
                            </a:solidFill>
                          </a:ln>
                          <a:solidFill>
                            <a:schemeClr val="accent3"/>
                          </a:solidFill>
                        </a:rPr>
                        <a:t>✓</a:t>
                      </a:r>
                    </a:p>
                  </a:txBody>
                  <a:tcPr marL="0" marR="0" marT="64008" marB="64008" anchor="ctr">
                    <a:lnL w="12700" cap="flat" cmpd="sng" algn="ctr">
                      <a:solidFill>
                        <a:schemeClr val="bg2"/>
                      </a:solidFill>
                      <a:prstDash val="solid"/>
                      <a:round/>
                      <a:headEnd type="none" w="med" len="med"/>
                      <a:tailEnd type="none" w="med" len="med"/>
                    </a:lnL>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935015497"/>
                  </a:ext>
                </a:extLst>
              </a:tr>
              <a:tr h="344850">
                <a:tc>
                  <a:txBody>
                    <a:bodyPr/>
                    <a:lstStyle/>
                    <a:p>
                      <a:r>
                        <a:rPr lang="en-US" sz="1400" b="1" kern="1200" dirty="0">
                          <a:solidFill>
                            <a:schemeClr val="tx1"/>
                          </a:solidFill>
                          <a:latin typeface="+mn-lt"/>
                          <a:ea typeface="+mn-ea"/>
                          <a:cs typeface="+mn-cs"/>
                        </a:rPr>
                        <a:t> Dynamic event routing</a:t>
                      </a:r>
                    </a:p>
                  </a:txBody>
                  <a:tcPr marL="0" marR="0" marT="64008" marB="64008"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tx2">
                        <a:lumMod val="60000"/>
                        <a:lumOff val="40000"/>
                      </a:schemeClr>
                    </a:solidFill>
                  </a:tcPr>
                </a:tc>
                <a:tc>
                  <a:txBody>
                    <a:bodyPr/>
                    <a:lstStyle/>
                    <a:p>
                      <a:pPr marL="0" marR="0" lvl="0" indent="0" algn="ctr" defTabSz="1088558" rtl="0" eaLnBrk="1" fontAlgn="auto" latinLnBrk="0" hangingPunct="1">
                        <a:lnSpc>
                          <a:spcPct val="100000"/>
                        </a:lnSpc>
                        <a:spcBef>
                          <a:spcPts val="0"/>
                        </a:spcBef>
                        <a:spcAft>
                          <a:spcPts val="0"/>
                        </a:spcAft>
                        <a:buClrTx/>
                        <a:buSzTx/>
                        <a:buFontTx/>
                        <a:buNone/>
                        <a:tabLst/>
                        <a:defRPr/>
                      </a:pPr>
                      <a:r>
                        <a:rPr lang="en-US" sz="1200" b="1" dirty="0">
                          <a:ln>
                            <a:solidFill>
                              <a:schemeClr val="accent3"/>
                            </a:solidFill>
                          </a:ln>
                          <a:solidFill>
                            <a:schemeClr val="accent3"/>
                          </a:solidFill>
                        </a:rPr>
                        <a:t>✓</a:t>
                      </a:r>
                    </a:p>
                  </a:txBody>
                  <a:tcPr marL="0" marR="0" marT="64008" marB="64008" anchor="ctr">
                    <a:lnL w="12700" cap="flat" cmpd="sng" algn="ctr">
                      <a:solidFill>
                        <a:schemeClr val="bg2"/>
                      </a:solidFill>
                      <a:prstDash val="solid"/>
                      <a:round/>
                      <a:headEnd type="none" w="med" len="med"/>
                      <a:tailEnd type="none" w="med" len="med"/>
                    </a:lnL>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470358311"/>
                  </a:ext>
                </a:extLst>
              </a:tr>
              <a:tr h="344850">
                <a:tc>
                  <a:txBody>
                    <a:bodyPr/>
                    <a:lstStyle/>
                    <a:p>
                      <a:r>
                        <a:rPr lang="en-US" sz="1400" b="1" kern="1200" dirty="0">
                          <a:solidFill>
                            <a:schemeClr val="tx1"/>
                          </a:solidFill>
                          <a:latin typeface="+mn-lt"/>
                          <a:ea typeface="+mn-ea"/>
                          <a:cs typeface="+mn-cs"/>
                        </a:rPr>
                        <a:t> Filtering</a:t>
                      </a:r>
                    </a:p>
                  </a:txBody>
                  <a:tcPr marL="0" marR="0" marT="64008" marB="64008"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tx2">
                        <a:lumMod val="60000"/>
                        <a:lumOff val="40000"/>
                      </a:schemeClr>
                    </a:solidFill>
                  </a:tcPr>
                </a:tc>
                <a:tc>
                  <a:txBody>
                    <a:bodyPr/>
                    <a:lstStyle/>
                    <a:p>
                      <a:pPr marL="0" marR="0" lvl="0" indent="0" algn="ctr" defTabSz="1088558" rtl="0" eaLnBrk="1" fontAlgn="auto" latinLnBrk="0" hangingPunct="1">
                        <a:lnSpc>
                          <a:spcPct val="100000"/>
                        </a:lnSpc>
                        <a:spcBef>
                          <a:spcPts val="0"/>
                        </a:spcBef>
                        <a:spcAft>
                          <a:spcPts val="0"/>
                        </a:spcAft>
                        <a:buClrTx/>
                        <a:buSzTx/>
                        <a:buFontTx/>
                        <a:buNone/>
                        <a:tabLst/>
                        <a:defRPr/>
                      </a:pPr>
                      <a:r>
                        <a:rPr lang="en-US" sz="1200" b="1" dirty="0">
                          <a:ln>
                            <a:solidFill>
                              <a:schemeClr val="accent3"/>
                            </a:solidFill>
                          </a:ln>
                          <a:solidFill>
                            <a:schemeClr val="accent3"/>
                          </a:solidFill>
                        </a:rPr>
                        <a:t>✓</a:t>
                      </a:r>
                    </a:p>
                  </a:txBody>
                  <a:tcPr marL="0" marR="0" marT="64008" marB="64008" anchor="ctr">
                    <a:lnL w="12700" cap="flat" cmpd="sng" algn="ctr">
                      <a:solidFill>
                        <a:schemeClr val="bg2"/>
                      </a:solidFill>
                      <a:prstDash val="solid"/>
                      <a:round/>
                      <a:headEnd type="none" w="med" len="med"/>
                      <a:tailEnd type="none" w="med" len="med"/>
                    </a:lnL>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3350606167"/>
                  </a:ext>
                </a:extLst>
              </a:tr>
              <a:tr h="344850">
                <a:tc>
                  <a:txBody>
                    <a:bodyPr/>
                    <a:lstStyle/>
                    <a:p>
                      <a:r>
                        <a:rPr lang="en-US" sz="1400" b="1" kern="1200" dirty="0">
                          <a:solidFill>
                            <a:schemeClr val="tx1"/>
                          </a:solidFill>
                          <a:latin typeface="+mn-lt"/>
                          <a:ea typeface="+mn-ea"/>
                          <a:cs typeface="+mn-cs"/>
                        </a:rPr>
                        <a:t> Event replay</a:t>
                      </a:r>
                    </a:p>
                  </a:txBody>
                  <a:tcPr marL="0" marR="0" marT="64008" marB="64008"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tx2">
                        <a:lumMod val="60000"/>
                        <a:lumOff val="40000"/>
                      </a:schemeClr>
                    </a:solidFill>
                  </a:tcPr>
                </a:tc>
                <a:tc>
                  <a:txBody>
                    <a:bodyPr/>
                    <a:lstStyle/>
                    <a:p>
                      <a:pPr marL="0" marR="0" lvl="0" indent="0" algn="ctr" defTabSz="1088558" rtl="0" eaLnBrk="1" fontAlgn="auto" latinLnBrk="0" hangingPunct="1">
                        <a:lnSpc>
                          <a:spcPct val="100000"/>
                        </a:lnSpc>
                        <a:spcBef>
                          <a:spcPts val="0"/>
                        </a:spcBef>
                        <a:spcAft>
                          <a:spcPts val="0"/>
                        </a:spcAft>
                        <a:buClrTx/>
                        <a:buSzTx/>
                        <a:buFontTx/>
                        <a:buNone/>
                        <a:tabLst/>
                        <a:defRPr/>
                      </a:pPr>
                      <a:r>
                        <a:rPr lang="en-US" sz="1200" b="1" dirty="0">
                          <a:ln>
                            <a:solidFill>
                              <a:schemeClr val="accent3"/>
                            </a:solidFill>
                          </a:ln>
                          <a:solidFill>
                            <a:schemeClr val="accent3"/>
                          </a:solidFill>
                        </a:rPr>
                        <a:t>✓</a:t>
                      </a:r>
                    </a:p>
                  </a:txBody>
                  <a:tcPr marL="0" marR="0" marT="64008" marB="64008" anchor="ctr">
                    <a:lnL w="12700" cap="flat" cmpd="sng" algn="ctr">
                      <a:solidFill>
                        <a:schemeClr val="bg2"/>
                      </a:solidFill>
                      <a:prstDash val="solid"/>
                      <a:round/>
                      <a:headEnd type="none" w="med" len="med"/>
                      <a:tailEnd type="none" w="med" len="med"/>
                    </a:lnL>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257504385"/>
                  </a:ext>
                </a:extLst>
              </a:tr>
              <a:tr h="344850">
                <a:tc>
                  <a:txBody>
                    <a:bodyPr/>
                    <a:lstStyle/>
                    <a:p>
                      <a:r>
                        <a:rPr lang="en-US" sz="1400" b="1" kern="1200" dirty="0">
                          <a:solidFill>
                            <a:schemeClr val="tx1"/>
                          </a:solidFill>
                          <a:latin typeface="+mn-lt"/>
                          <a:ea typeface="+mn-ea"/>
                          <a:cs typeface="+mn-cs"/>
                        </a:rPr>
                        <a:t> Event management</a:t>
                      </a:r>
                    </a:p>
                  </a:txBody>
                  <a:tcPr marL="0" marR="0" marT="64008" marB="64008"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tx2">
                        <a:lumMod val="60000"/>
                        <a:lumOff val="40000"/>
                      </a:schemeClr>
                    </a:solidFill>
                  </a:tcPr>
                </a:tc>
                <a:tc>
                  <a:txBody>
                    <a:bodyPr/>
                    <a:lstStyle/>
                    <a:p>
                      <a:pPr marL="0" marR="0" lvl="0" indent="0" algn="ctr" defTabSz="1088558" rtl="0" eaLnBrk="1" fontAlgn="auto" latinLnBrk="0" hangingPunct="1">
                        <a:lnSpc>
                          <a:spcPct val="100000"/>
                        </a:lnSpc>
                        <a:spcBef>
                          <a:spcPts val="0"/>
                        </a:spcBef>
                        <a:spcAft>
                          <a:spcPts val="0"/>
                        </a:spcAft>
                        <a:buClrTx/>
                        <a:buSzTx/>
                        <a:buFontTx/>
                        <a:buNone/>
                        <a:tabLst/>
                        <a:defRPr/>
                      </a:pPr>
                      <a:r>
                        <a:rPr lang="en-US" sz="1200" b="1" dirty="0">
                          <a:ln>
                            <a:solidFill>
                              <a:schemeClr val="accent3"/>
                            </a:solidFill>
                          </a:ln>
                          <a:solidFill>
                            <a:schemeClr val="accent3"/>
                          </a:solidFill>
                        </a:rPr>
                        <a:t>✓</a:t>
                      </a:r>
                    </a:p>
                  </a:txBody>
                  <a:tcPr marL="0" marR="0" marT="64008" marB="64008" anchor="ctr">
                    <a:lnL w="12700" cap="flat" cmpd="sng" algn="ctr">
                      <a:solidFill>
                        <a:schemeClr val="bg2"/>
                      </a:solidFill>
                      <a:prstDash val="solid"/>
                      <a:round/>
                      <a:headEnd type="none" w="med" len="med"/>
                      <a:tailEnd type="none" w="med" len="med"/>
                    </a:lnL>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052550416"/>
                  </a:ext>
                </a:extLst>
              </a:tr>
              <a:tr h="344850">
                <a:tc>
                  <a:txBody>
                    <a:bodyPr/>
                    <a:lstStyle/>
                    <a:p>
                      <a:r>
                        <a:rPr lang="en-US" sz="1400" b="1" kern="1200" dirty="0">
                          <a:solidFill>
                            <a:schemeClr val="tx1"/>
                          </a:solidFill>
                          <a:latin typeface="+mn-lt"/>
                          <a:ea typeface="+mn-ea"/>
                          <a:cs typeface="+mn-cs"/>
                        </a:rPr>
                        <a:t> Distributed Tracing</a:t>
                      </a:r>
                    </a:p>
                  </a:txBody>
                  <a:tcPr marL="0" marR="0" marT="64008" marB="64008"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tx2">
                        <a:lumMod val="60000"/>
                        <a:lumOff val="40000"/>
                      </a:schemeClr>
                    </a:solidFill>
                  </a:tcPr>
                </a:tc>
                <a:tc>
                  <a:txBody>
                    <a:bodyPr/>
                    <a:lstStyle/>
                    <a:p>
                      <a:pPr marL="0" marR="0" lvl="0" indent="0" algn="ctr" defTabSz="1088558" rtl="0" eaLnBrk="1" fontAlgn="auto" latinLnBrk="0" hangingPunct="1">
                        <a:lnSpc>
                          <a:spcPct val="100000"/>
                        </a:lnSpc>
                        <a:spcBef>
                          <a:spcPts val="0"/>
                        </a:spcBef>
                        <a:spcAft>
                          <a:spcPts val="0"/>
                        </a:spcAft>
                        <a:buClrTx/>
                        <a:buSzTx/>
                        <a:buFontTx/>
                        <a:buNone/>
                        <a:tabLst/>
                        <a:defRPr/>
                      </a:pPr>
                      <a:r>
                        <a:rPr lang="en-US" sz="1200" b="1" dirty="0">
                          <a:ln>
                            <a:solidFill>
                              <a:schemeClr val="accent3"/>
                            </a:solidFill>
                          </a:ln>
                          <a:solidFill>
                            <a:schemeClr val="accent3"/>
                          </a:solidFill>
                        </a:rPr>
                        <a:t>✓</a:t>
                      </a:r>
                    </a:p>
                  </a:txBody>
                  <a:tcPr marL="0" marR="0" marT="64008" marB="64008" anchor="ctr">
                    <a:lnL w="12700" cap="flat" cmpd="sng" algn="ctr">
                      <a:solidFill>
                        <a:schemeClr val="bg2"/>
                      </a:solidFill>
                      <a:prstDash val="solid"/>
                      <a:round/>
                      <a:headEnd type="none" w="med" len="med"/>
                      <a:tailEnd type="none" w="med" len="med"/>
                    </a:lnL>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2768546669"/>
                  </a:ext>
                </a:extLst>
              </a:tr>
            </a:tbl>
          </a:graphicData>
        </a:graphic>
      </p:graphicFrame>
      <p:pic>
        <p:nvPicPr>
          <p:cNvPr id="4" name="Picture 3">
            <a:extLst>
              <a:ext uri="{FF2B5EF4-FFF2-40B4-BE49-F238E27FC236}">
                <a16:creationId xmlns:a16="http://schemas.microsoft.com/office/drawing/2014/main" id="{C4113F46-A328-A699-BD7C-9FBBF5929EB4}"/>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9985319" y="0"/>
            <a:ext cx="2200275" cy="6858000"/>
          </a:xfrm>
          <a:prstGeom prst="rect">
            <a:avLst/>
          </a:prstGeom>
          <a:ln>
            <a:noFill/>
          </a:ln>
          <a:effectLst>
            <a:softEdge rad="112500"/>
          </a:effectLst>
        </p:spPr>
      </p:pic>
    </p:spTree>
    <p:extLst>
      <p:ext uri="{BB962C8B-B14F-4D97-AF65-F5344CB8AC3E}">
        <p14:creationId xmlns:p14="http://schemas.microsoft.com/office/powerpoint/2010/main" val="85414678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8" name="Title 1"/>
          <p:cNvSpPr txBox="1">
            <a:spLocks noGrp="1"/>
          </p:cNvSpPr>
          <p:nvPr>
            <p:ph type="title"/>
          </p:nvPr>
        </p:nvSpPr>
        <p:spPr>
          <a:xfrm>
            <a:off x="514189" y="303026"/>
            <a:ext cx="11174833" cy="368948"/>
          </a:xfrm>
          <a:prstGeom prst="rect">
            <a:avLst/>
          </a:prstGeom>
        </p:spPr>
        <p:txBody>
          <a:bodyPr vert="horz" wrap="square" lIns="45719" tIns="45720" rIns="45719" bIns="45720" rtlCol="0" anchor="ctr" anchorCtr="0">
            <a:noAutofit/>
          </a:bodyPr>
          <a:lstStyle/>
          <a:p>
            <a:r>
              <a:rPr lang="en-US" dirty="0"/>
              <a:t>Broker T-Shirts Sizes</a:t>
            </a:r>
          </a:p>
        </p:txBody>
      </p:sp>
      <p:graphicFrame>
        <p:nvGraphicFramePr>
          <p:cNvPr id="3" name="Table 2">
            <a:extLst>
              <a:ext uri="{FF2B5EF4-FFF2-40B4-BE49-F238E27FC236}">
                <a16:creationId xmlns:a16="http://schemas.microsoft.com/office/drawing/2014/main" id="{6AC214DF-5094-3537-1D18-DD907F00AA98}"/>
              </a:ext>
            </a:extLst>
          </p:cNvPr>
          <p:cNvGraphicFramePr>
            <a:graphicFrameLocks noGrp="1"/>
          </p:cNvGraphicFramePr>
          <p:nvPr/>
        </p:nvGraphicFramePr>
        <p:xfrm>
          <a:off x="1068314" y="1585767"/>
          <a:ext cx="9781550" cy="3899850"/>
        </p:xfrm>
        <a:graphic>
          <a:graphicData uri="http://schemas.openxmlformats.org/drawingml/2006/table">
            <a:tbl>
              <a:tblPr firstRow="1" bandRow="1">
                <a:tableStyleId>{0660B408-B3CF-4A94-85FC-2B1E0A45F4A2}</a:tableStyleId>
              </a:tblPr>
              <a:tblGrid>
                <a:gridCol w="2140405">
                  <a:extLst>
                    <a:ext uri="{9D8B030D-6E8A-4147-A177-3AD203B41FA5}">
                      <a16:colId xmlns:a16="http://schemas.microsoft.com/office/drawing/2014/main" val="1805695667"/>
                    </a:ext>
                  </a:extLst>
                </a:gridCol>
                <a:gridCol w="923925">
                  <a:extLst>
                    <a:ext uri="{9D8B030D-6E8A-4147-A177-3AD203B41FA5}">
                      <a16:colId xmlns:a16="http://schemas.microsoft.com/office/drawing/2014/main" val="81167800"/>
                    </a:ext>
                  </a:extLst>
                </a:gridCol>
                <a:gridCol w="674069">
                  <a:extLst>
                    <a:ext uri="{9D8B030D-6E8A-4147-A177-3AD203B41FA5}">
                      <a16:colId xmlns:a16="http://schemas.microsoft.com/office/drawing/2014/main" val="1942120485"/>
                    </a:ext>
                  </a:extLst>
                </a:gridCol>
                <a:gridCol w="1058621">
                  <a:extLst>
                    <a:ext uri="{9D8B030D-6E8A-4147-A177-3AD203B41FA5}">
                      <a16:colId xmlns:a16="http://schemas.microsoft.com/office/drawing/2014/main" val="1392713631"/>
                    </a:ext>
                  </a:extLst>
                </a:gridCol>
                <a:gridCol w="1246132">
                  <a:extLst>
                    <a:ext uri="{9D8B030D-6E8A-4147-A177-3AD203B41FA5}">
                      <a16:colId xmlns:a16="http://schemas.microsoft.com/office/drawing/2014/main" val="767017719"/>
                    </a:ext>
                  </a:extLst>
                </a:gridCol>
                <a:gridCol w="1246133">
                  <a:extLst>
                    <a:ext uri="{9D8B030D-6E8A-4147-A177-3AD203B41FA5}">
                      <a16:colId xmlns:a16="http://schemas.microsoft.com/office/drawing/2014/main" val="1772703042"/>
                    </a:ext>
                  </a:extLst>
                </a:gridCol>
                <a:gridCol w="1246133">
                  <a:extLst>
                    <a:ext uri="{9D8B030D-6E8A-4147-A177-3AD203B41FA5}">
                      <a16:colId xmlns:a16="http://schemas.microsoft.com/office/drawing/2014/main" val="425960789"/>
                    </a:ext>
                  </a:extLst>
                </a:gridCol>
                <a:gridCol w="1246132">
                  <a:extLst>
                    <a:ext uri="{9D8B030D-6E8A-4147-A177-3AD203B41FA5}">
                      <a16:colId xmlns:a16="http://schemas.microsoft.com/office/drawing/2014/main" val="3132680248"/>
                    </a:ext>
                  </a:extLst>
                </a:gridCol>
              </a:tblGrid>
              <a:tr h="295046">
                <a:tc>
                  <a:txBody>
                    <a:bodyPr/>
                    <a:lstStyle/>
                    <a:p>
                      <a:pPr algn="ctr"/>
                      <a:endParaRPr lang="en-CA" sz="1200" dirty="0">
                        <a:latin typeface="Open Sans" panose="020B0606030504020204" pitchFamily="34" charset="0"/>
                        <a:ea typeface="Open Sans" panose="020B0606030504020204" pitchFamily="34" charset="0"/>
                        <a:cs typeface="Open Sans" panose="020B0606030504020204" pitchFamily="34" charset="0"/>
                      </a:endParaRPr>
                    </a:p>
                  </a:txBody>
                  <a:tcPr marL="45720" marR="45720" marT="25146" marB="25146" anchor="ctr">
                    <a:lnR w="12700" cap="flat" cmpd="sng" algn="ctr">
                      <a:solidFill>
                        <a:schemeClr val="tx1"/>
                      </a:solidFill>
                      <a:prstDash val="solid"/>
                      <a:round/>
                      <a:headEnd type="none" w="med" len="med"/>
                      <a:tailEnd type="none" w="med" len="med"/>
                    </a:lnR>
                    <a:solidFill>
                      <a:schemeClr val="tx1"/>
                    </a:solidFill>
                  </a:tcPr>
                </a:tc>
                <a:tc>
                  <a:txBody>
                    <a:bodyPr/>
                    <a:lstStyle/>
                    <a:p>
                      <a:pPr algn="ctr"/>
                      <a:r>
                        <a:rPr lang="en-CA" sz="1200" dirty="0"/>
                        <a:t>Developer</a:t>
                      </a:r>
                      <a:endParaRPr lang="en-CA" sz="1200" dirty="0">
                        <a:latin typeface="Open Sans" panose="020B0606030504020204" pitchFamily="34" charset="0"/>
                        <a:ea typeface="Open Sans" panose="020B0606030504020204" pitchFamily="34" charset="0"/>
                        <a:cs typeface="Open Sans" panose="020B0606030504020204" pitchFamily="34" charset="0"/>
                      </a:endParaRPr>
                    </a:p>
                  </a:txBody>
                  <a:tcPr marL="45720" marR="45720" marT="25146" marB="2514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tx1"/>
                    </a:solidFill>
                  </a:tcPr>
                </a:tc>
                <a:tc gridSpan="6">
                  <a:txBody>
                    <a:bodyPr/>
                    <a:lstStyle/>
                    <a:p>
                      <a:pPr algn="ctr"/>
                      <a:r>
                        <a:rPr lang="en-CA" sz="1200" dirty="0"/>
                        <a:t>Enterprise Services</a:t>
                      </a:r>
                      <a:endParaRPr lang="en-CA" sz="1200" dirty="0">
                        <a:latin typeface="Open Sans" panose="020B0606030504020204" pitchFamily="34" charset="0"/>
                        <a:ea typeface="Open Sans" panose="020B0606030504020204" pitchFamily="34" charset="0"/>
                        <a:cs typeface="Open Sans" panose="020B0606030504020204" pitchFamily="34" charset="0"/>
                      </a:endParaRPr>
                    </a:p>
                  </a:txBody>
                  <a:tcPr marL="45720" marR="45720" marT="50292" marB="50292" anchor="ctr">
                    <a:lnL w="12700" cap="flat" cmpd="sng" algn="ctr">
                      <a:solidFill>
                        <a:schemeClr val="tx1"/>
                      </a:solidFill>
                      <a:prstDash val="solid"/>
                      <a:round/>
                      <a:headEnd type="none" w="med" len="med"/>
                      <a:tailEnd type="none" w="med" len="med"/>
                    </a:lnL>
                    <a:solidFill>
                      <a:schemeClr val="tx1"/>
                    </a:solidFill>
                  </a:tcPr>
                </a:tc>
                <a:tc hMerge="1">
                  <a:txBody>
                    <a:bodyPr/>
                    <a:lstStyle/>
                    <a:p>
                      <a:r>
                        <a:rPr lang="en-CA" sz="1200"/>
                        <a:t>Enterprise Services</a:t>
                      </a:r>
                      <a:endParaRPr lang="en-CA" sz="1200">
                        <a:latin typeface="Open Sans" panose="020B0606030504020204" pitchFamily="34" charset="0"/>
                        <a:ea typeface="Open Sans" panose="020B0606030504020204" pitchFamily="34" charset="0"/>
                        <a:cs typeface="Open Sans" panose="020B0606030504020204" pitchFamily="34" charset="0"/>
                      </a:endParaRPr>
                    </a:p>
                  </a:txBody>
                  <a:tcPr marL="45720" marR="45720" marT="50292" marB="50292"/>
                </a:tc>
                <a:tc hMerge="1">
                  <a:txBody>
                    <a:bodyPr/>
                    <a:lstStyle/>
                    <a:p>
                      <a:endParaRPr lang="en-GB"/>
                    </a:p>
                  </a:txBody>
                  <a:tcPr/>
                </a:tc>
                <a:tc hMerge="1">
                  <a:txBody>
                    <a:bodyPr/>
                    <a:lstStyle/>
                    <a:p>
                      <a:endParaRPr lang="en-CA"/>
                    </a:p>
                  </a:txBody>
                  <a:tcPr/>
                </a:tc>
                <a:tc hMerge="1">
                  <a:txBody>
                    <a:bodyPr/>
                    <a:lstStyle/>
                    <a:p>
                      <a:endParaRPr lang="en-GB"/>
                    </a:p>
                  </a:txBody>
                  <a:tcPr/>
                </a:tc>
                <a:tc hMerge="1">
                  <a:txBody>
                    <a:bodyPr/>
                    <a:lstStyle/>
                    <a:p>
                      <a:endParaRPr lang="en-CA"/>
                    </a:p>
                  </a:txBody>
                  <a:tcPr/>
                </a:tc>
                <a:extLst>
                  <a:ext uri="{0D108BD9-81ED-4DB2-BD59-A6C34878D82A}">
                    <a16:rowId xmlns:a16="http://schemas.microsoft.com/office/drawing/2014/main" val="3625886873"/>
                  </a:ext>
                </a:extLst>
              </a:tr>
              <a:tr h="278783">
                <a:tc>
                  <a:txBody>
                    <a:bodyPr/>
                    <a:lstStyle/>
                    <a:p>
                      <a:pPr algn="l"/>
                      <a:r>
                        <a:rPr lang="en-CA" sz="1200" dirty="0">
                          <a:solidFill>
                            <a:srgbClr val="000000"/>
                          </a:solidFill>
                        </a:rPr>
                        <a:t>T-Shirt Sizes</a:t>
                      </a:r>
                      <a:endParaRPr lang="en-CA" sz="1200" dirty="0">
                        <a:solidFill>
                          <a:srgbClr val="000000"/>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marT="25146" marB="25146" anchor="ctr">
                    <a:lnR w="12700" cap="flat" cmpd="sng" algn="ctr">
                      <a:solidFill>
                        <a:schemeClr val="tx1"/>
                      </a:solidFill>
                      <a:prstDash val="solid"/>
                      <a:round/>
                      <a:headEnd type="none" w="med" len="med"/>
                      <a:tailEnd type="none" w="med" len="med"/>
                    </a:lnR>
                  </a:tcPr>
                </a:tc>
                <a:tc>
                  <a:txBody>
                    <a:bodyPr/>
                    <a:lstStyle/>
                    <a:p>
                      <a:pPr algn="ctr"/>
                      <a:r>
                        <a:rPr lang="en-CA" sz="1200">
                          <a:solidFill>
                            <a:srgbClr val="000000"/>
                          </a:solidFill>
                        </a:rPr>
                        <a:t>XXS</a:t>
                      </a:r>
                      <a:endParaRPr lang="en-CA" sz="1200">
                        <a:solidFill>
                          <a:srgbClr val="000000"/>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marT="25146" marB="2514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ctr"/>
                      <a:r>
                        <a:rPr lang="en-CA" sz="1200">
                          <a:solidFill>
                            <a:srgbClr val="000000"/>
                          </a:solidFill>
                        </a:rPr>
                        <a:t>XS</a:t>
                      </a:r>
                      <a:endParaRPr lang="en-CA" sz="1200">
                        <a:solidFill>
                          <a:srgbClr val="000000"/>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marT="25146" marB="25146" anchor="ctr">
                    <a:lnL w="12700" cap="flat" cmpd="sng" algn="ctr">
                      <a:solidFill>
                        <a:schemeClr val="tx1"/>
                      </a:solidFill>
                      <a:prstDash val="solid"/>
                      <a:round/>
                      <a:headEnd type="none" w="med" len="med"/>
                      <a:tailEnd type="none" w="med" len="med"/>
                    </a:lnL>
                  </a:tcPr>
                </a:tc>
                <a:tc>
                  <a:txBody>
                    <a:bodyPr/>
                    <a:lstStyle/>
                    <a:p>
                      <a:pPr algn="ctr"/>
                      <a:r>
                        <a:rPr lang="en-CA" sz="1200" dirty="0">
                          <a:solidFill>
                            <a:srgbClr val="000000"/>
                          </a:solidFill>
                        </a:rPr>
                        <a:t>S</a:t>
                      </a:r>
                      <a:endParaRPr lang="en-CA" sz="1200" dirty="0">
                        <a:solidFill>
                          <a:srgbClr val="000000"/>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marT="25146" marB="25146" anchor="ctr"/>
                </a:tc>
                <a:tc>
                  <a:txBody>
                    <a:bodyPr/>
                    <a:lstStyle/>
                    <a:p>
                      <a:pPr algn="ctr"/>
                      <a:r>
                        <a:rPr lang="en-CA" sz="1200" dirty="0">
                          <a:solidFill>
                            <a:srgbClr val="000000"/>
                          </a:solidFill>
                        </a:rPr>
                        <a:t>M</a:t>
                      </a:r>
                      <a:endParaRPr lang="en-CA" sz="1200" dirty="0">
                        <a:solidFill>
                          <a:srgbClr val="000000"/>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marT="25146" marB="25146" anchor="ctr"/>
                </a:tc>
                <a:tc>
                  <a:txBody>
                    <a:bodyPr/>
                    <a:lstStyle/>
                    <a:p>
                      <a:pPr algn="ctr"/>
                      <a:r>
                        <a:rPr lang="en-CA" sz="1200" dirty="0">
                          <a:solidFill>
                            <a:srgbClr val="000000"/>
                          </a:solidFill>
                        </a:rPr>
                        <a:t>L</a:t>
                      </a:r>
                      <a:endParaRPr lang="en-CA" sz="1200" dirty="0">
                        <a:solidFill>
                          <a:srgbClr val="000000"/>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marT="25146" marB="25146" anchor="ctr"/>
                </a:tc>
                <a:tc>
                  <a:txBody>
                    <a:bodyPr/>
                    <a:lstStyle/>
                    <a:p>
                      <a:pPr algn="ctr"/>
                      <a:r>
                        <a:rPr lang="en-CA" sz="1200">
                          <a:solidFill>
                            <a:srgbClr val="000000"/>
                          </a:solidFill>
                        </a:rPr>
                        <a:t>XL</a:t>
                      </a:r>
                      <a:endParaRPr lang="en-CA" sz="1200">
                        <a:solidFill>
                          <a:srgbClr val="000000"/>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marT="25146" marB="25146" anchor="ctr"/>
                </a:tc>
                <a:tc>
                  <a:txBody>
                    <a:bodyPr/>
                    <a:lstStyle/>
                    <a:p>
                      <a:pPr algn="ctr"/>
                      <a:r>
                        <a:rPr lang="en-CA" sz="1200">
                          <a:solidFill>
                            <a:srgbClr val="000000"/>
                          </a:solidFill>
                        </a:rPr>
                        <a:t>XXL</a:t>
                      </a:r>
                      <a:endParaRPr lang="en-CA" sz="1200">
                        <a:solidFill>
                          <a:srgbClr val="000000"/>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marT="25146" marB="25146" anchor="ctr"/>
                </a:tc>
                <a:extLst>
                  <a:ext uri="{0D108BD9-81ED-4DB2-BD59-A6C34878D82A}">
                    <a16:rowId xmlns:a16="http://schemas.microsoft.com/office/drawing/2014/main" val="1909334827"/>
                  </a:ext>
                </a:extLst>
              </a:tr>
              <a:tr h="278783">
                <a:tc>
                  <a:txBody>
                    <a:bodyPr/>
                    <a:lstStyle/>
                    <a:p>
                      <a:pPr algn="l"/>
                      <a:r>
                        <a:rPr lang="en-CA" sz="1200" dirty="0">
                          <a:solidFill>
                            <a:srgbClr val="000000"/>
                          </a:solidFill>
                        </a:rPr>
                        <a:t>Availability Configuration</a:t>
                      </a:r>
                      <a:endParaRPr lang="en-CA" sz="1200" dirty="0">
                        <a:solidFill>
                          <a:srgbClr val="000000"/>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marT="25146" marB="25146" anchor="ctr">
                    <a:lnR w="12700" cap="flat" cmpd="sng" algn="ctr">
                      <a:solidFill>
                        <a:schemeClr val="tx1"/>
                      </a:solidFill>
                      <a:prstDash val="solid"/>
                      <a:round/>
                      <a:headEnd type="none" w="med" len="med"/>
                      <a:tailEnd type="none" w="med" len="med"/>
                    </a:lnR>
                  </a:tcPr>
                </a:tc>
                <a:tc>
                  <a:txBody>
                    <a:bodyPr/>
                    <a:lstStyle/>
                    <a:p>
                      <a:pPr algn="ctr"/>
                      <a:r>
                        <a:rPr lang="en-CA" sz="1200" dirty="0">
                          <a:solidFill>
                            <a:srgbClr val="000000"/>
                          </a:solidFill>
                        </a:rPr>
                        <a:t>Single node</a:t>
                      </a:r>
                      <a:br>
                        <a:rPr lang="en-CA" sz="1200" dirty="0">
                          <a:solidFill>
                            <a:srgbClr val="000000"/>
                          </a:solidFill>
                        </a:rPr>
                      </a:br>
                      <a:r>
                        <a:rPr lang="en-CA" sz="1200" dirty="0">
                          <a:solidFill>
                            <a:srgbClr val="000000"/>
                          </a:solidFill>
                        </a:rPr>
                        <a:t>(no HA)</a:t>
                      </a:r>
                      <a:endParaRPr lang="en-CA" sz="1200" dirty="0">
                        <a:solidFill>
                          <a:srgbClr val="000000"/>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marT="25146" marB="2514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gridSpan="6">
                  <a:txBody>
                    <a:bodyPr/>
                    <a:lstStyle/>
                    <a:p>
                      <a:pPr algn="ctr"/>
                      <a:r>
                        <a:rPr lang="en-CA" sz="1200" b="1">
                          <a:solidFill>
                            <a:srgbClr val="000000"/>
                          </a:solidFill>
                        </a:rPr>
                        <a:t>High-Availability</a:t>
                      </a:r>
                      <a:r>
                        <a:rPr lang="en-CA" sz="1200">
                          <a:solidFill>
                            <a:srgbClr val="000000"/>
                          </a:solidFill>
                        </a:rPr>
                        <a:t> </a:t>
                      </a:r>
                      <a:br>
                        <a:rPr lang="en-CA" sz="1200">
                          <a:solidFill>
                            <a:srgbClr val="000000"/>
                          </a:solidFill>
                        </a:rPr>
                      </a:br>
                      <a:r>
                        <a:rPr lang="en-CA" sz="1200">
                          <a:solidFill>
                            <a:srgbClr val="000000"/>
                          </a:solidFill>
                        </a:rPr>
                        <a:t>(always deployed as a group providing fast, automatic HA-failover)</a:t>
                      </a:r>
                      <a:endParaRPr lang="en-CA" sz="1200">
                        <a:solidFill>
                          <a:srgbClr val="000000"/>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marT="25146" marB="25146" anchor="ctr">
                    <a:lnL w="12700" cap="flat" cmpd="sng" algn="ctr">
                      <a:solidFill>
                        <a:schemeClr val="tx1"/>
                      </a:solidFill>
                      <a:prstDash val="solid"/>
                      <a:round/>
                      <a:headEnd type="none" w="med" len="med"/>
                      <a:tailEnd type="none" w="med" len="med"/>
                    </a:lnL>
                  </a:tcPr>
                </a:tc>
                <a:tc hMerge="1">
                  <a:txBody>
                    <a:bodyPr/>
                    <a:lstStyle/>
                    <a:p>
                      <a:pPr algn="ctr"/>
                      <a:r>
                        <a:rPr lang="en-CA" sz="1200">
                          <a:solidFill>
                            <a:srgbClr val="000000"/>
                          </a:solidFill>
                        </a:rPr>
                        <a:t>HA Group</a:t>
                      </a:r>
                      <a:endParaRPr lang="en-CA" sz="1200">
                        <a:solidFill>
                          <a:srgbClr val="000000"/>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marT="25146" marB="25146"/>
                </a:tc>
                <a:tc hMerge="1">
                  <a:txBody>
                    <a:bodyPr/>
                    <a:lstStyle/>
                    <a:p>
                      <a:endParaRPr lang="en-GB"/>
                    </a:p>
                  </a:txBody>
                  <a:tcPr/>
                </a:tc>
                <a:tc hMerge="1">
                  <a:txBody>
                    <a:bodyPr/>
                    <a:lstStyle/>
                    <a:p>
                      <a:pPr algn="ctr"/>
                      <a:r>
                        <a:rPr kumimoji="0" lang="en-CA" sz="1300" b="0" u="none" strike="noStrike" kern="0" cap="none" spc="0" normalizeH="0" baseline="0" noProof="0">
                          <a:ln>
                            <a:noFill/>
                          </a:ln>
                          <a:solidFill>
                            <a:srgbClr val="000000"/>
                          </a:solidFill>
                          <a:effectLst/>
                          <a:uLnTx/>
                          <a:uFillTx/>
                          <a:sym typeface="Gill Sans"/>
                        </a:rPr>
                        <a:t>HA Group</a:t>
                      </a:r>
                      <a:endParaRPr lang="en-CA" sz="1200">
                        <a:solidFill>
                          <a:srgbClr val="000000"/>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marT="25146" marB="25146"/>
                </a:tc>
                <a:tc hMerge="1">
                  <a:txBody>
                    <a:bodyPr/>
                    <a:lstStyle/>
                    <a:p>
                      <a:endParaRPr lang="en-GB"/>
                    </a:p>
                  </a:txBody>
                  <a:tcPr/>
                </a:tc>
                <a:tc hMerge="1">
                  <a:txBody>
                    <a:bodyPr/>
                    <a:lstStyle/>
                    <a:p>
                      <a:pPr algn="ctr"/>
                      <a:r>
                        <a:rPr kumimoji="0" lang="en-CA" sz="1300" b="0" u="none" strike="noStrike" kern="0" cap="none" spc="0" normalizeH="0" baseline="0" noProof="0">
                          <a:ln>
                            <a:noFill/>
                          </a:ln>
                          <a:solidFill>
                            <a:srgbClr val="000000"/>
                          </a:solidFill>
                          <a:effectLst/>
                          <a:uLnTx/>
                          <a:uFillTx/>
                          <a:sym typeface="Gill Sans"/>
                        </a:rPr>
                        <a:t>HA Group</a:t>
                      </a:r>
                      <a:endParaRPr lang="en-CA" sz="1200">
                        <a:solidFill>
                          <a:srgbClr val="000000"/>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marT="25146" marB="25146"/>
                </a:tc>
                <a:extLst>
                  <a:ext uri="{0D108BD9-81ED-4DB2-BD59-A6C34878D82A}">
                    <a16:rowId xmlns:a16="http://schemas.microsoft.com/office/drawing/2014/main" val="460422358"/>
                  </a:ext>
                </a:extLst>
              </a:tr>
              <a:tr h="278783">
                <a:tc>
                  <a:txBody>
                    <a:bodyPr/>
                    <a:lstStyle/>
                    <a:p>
                      <a:pPr algn="l"/>
                      <a:r>
                        <a:rPr lang="en-CA" sz="1200">
                          <a:solidFill>
                            <a:srgbClr val="000000"/>
                          </a:solidFill>
                        </a:rPr>
                        <a:t>Scaling Tier </a:t>
                      </a:r>
                      <a:r>
                        <a:rPr lang="en-CA" sz="1200" baseline="30000">
                          <a:solidFill>
                            <a:srgbClr val="000000"/>
                          </a:solidFill>
                        </a:rPr>
                        <a:t>1)</a:t>
                      </a:r>
                      <a:endParaRPr lang="en-CA" sz="1200" baseline="30000">
                        <a:solidFill>
                          <a:srgbClr val="000000"/>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marT="25146" marB="25146" anchor="ctr">
                    <a:lnR w="12700" cap="flat" cmpd="sng" algn="ctr">
                      <a:solidFill>
                        <a:schemeClr val="tx1"/>
                      </a:solidFill>
                      <a:prstDash val="solid"/>
                      <a:round/>
                      <a:headEnd type="none" w="med" len="med"/>
                      <a:tailEnd type="none" w="med" len="med"/>
                    </a:lnR>
                  </a:tcPr>
                </a:tc>
                <a:tc>
                  <a:txBody>
                    <a:bodyPr/>
                    <a:lstStyle/>
                    <a:p>
                      <a:pPr algn="ctr"/>
                      <a:r>
                        <a:rPr lang="en-CA" sz="1200" dirty="0">
                          <a:solidFill>
                            <a:srgbClr val="000000"/>
                          </a:solidFill>
                        </a:rPr>
                        <a:t>100</a:t>
                      </a:r>
                      <a:endParaRPr lang="en-CA" sz="1200" dirty="0">
                        <a:solidFill>
                          <a:srgbClr val="000000"/>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marT="25146" marB="2514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ctr"/>
                      <a:r>
                        <a:rPr lang="en-CA" sz="1200">
                          <a:solidFill>
                            <a:srgbClr val="000000"/>
                          </a:solidFill>
                        </a:rPr>
                        <a:t>250</a:t>
                      </a:r>
                      <a:endParaRPr lang="en-CA" sz="1200">
                        <a:solidFill>
                          <a:srgbClr val="000000"/>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marT="25146" marB="25146" anchor="ctr">
                    <a:lnL w="12700" cap="flat" cmpd="sng" algn="ctr">
                      <a:solidFill>
                        <a:schemeClr val="tx1"/>
                      </a:solidFill>
                      <a:prstDash val="solid"/>
                      <a:round/>
                      <a:headEnd type="none" w="med" len="med"/>
                      <a:tailEnd type="none" w="med" len="med"/>
                    </a:lnL>
                  </a:tcPr>
                </a:tc>
                <a:tc>
                  <a:txBody>
                    <a:bodyPr/>
                    <a:lstStyle/>
                    <a:p>
                      <a:pPr algn="ctr"/>
                      <a:r>
                        <a:rPr lang="en-CA" sz="1200">
                          <a:solidFill>
                            <a:srgbClr val="000000"/>
                          </a:solidFill>
                        </a:rPr>
                        <a:t>1K</a:t>
                      </a:r>
                      <a:endParaRPr lang="en-CA" sz="1200">
                        <a:solidFill>
                          <a:srgbClr val="000000"/>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marT="25146" marB="25146" anchor="ctr"/>
                </a:tc>
                <a:tc>
                  <a:txBody>
                    <a:bodyPr/>
                    <a:lstStyle/>
                    <a:p>
                      <a:pPr algn="ctr"/>
                      <a:r>
                        <a:rPr lang="en-CA" sz="1200">
                          <a:solidFill>
                            <a:srgbClr val="000000"/>
                          </a:solidFill>
                        </a:rPr>
                        <a:t>5K</a:t>
                      </a:r>
                      <a:endParaRPr lang="en-CA" sz="1200">
                        <a:solidFill>
                          <a:srgbClr val="000000"/>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marT="25146" marB="25146" anchor="ctr"/>
                </a:tc>
                <a:tc>
                  <a:txBody>
                    <a:bodyPr/>
                    <a:lstStyle/>
                    <a:p>
                      <a:pPr algn="ctr"/>
                      <a:r>
                        <a:rPr lang="en-CA" sz="1200">
                          <a:solidFill>
                            <a:srgbClr val="000000"/>
                          </a:solidFill>
                        </a:rPr>
                        <a:t>10K</a:t>
                      </a:r>
                      <a:endParaRPr lang="en-CA" sz="1200">
                        <a:solidFill>
                          <a:srgbClr val="000000"/>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marT="25146" marB="25146" anchor="ctr"/>
                </a:tc>
                <a:tc>
                  <a:txBody>
                    <a:bodyPr/>
                    <a:lstStyle/>
                    <a:p>
                      <a:pPr algn="ctr"/>
                      <a:r>
                        <a:rPr lang="en-CA" sz="1200">
                          <a:solidFill>
                            <a:srgbClr val="000000"/>
                          </a:solidFill>
                        </a:rPr>
                        <a:t>50K</a:t>
                      </a:r>
                      <a:endParaRPr lang="en-CA" sz="1200">
                        <a:solidFill>
                          <a:srgbClr val="000000"/>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marT="25146" marB="25146" anchor="ctr"/>
                </a:tc>
                <a:tc>
                  <a:txBody>
                    <a:bodyPr/>
                    <a:lstStyle/>
                    <a:p>
                      <a:pPr algn="ctr"/>
                      <a:r>
                        <a:rPr lang="en-CA" sz="1200">
                          <a:solidFill>
                            <a:srgbClr val="000000"/>
                          </a:solidFill>
                        </a:rPr>
                        <a:t>100K</a:t>
                      </a:r>
                      <a:endParaRPr lang="en-CA" sz="1200">
                        <a:solidFill>
                          <a:srgbClr val="000000"/>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marT="25146" marB="25146" anchor="ctr"/>
                </a:tc>
                <a:extLst>
                  <a:ext uri="{0D108BD9-81ED-4DB2-BD59-A6C34878D82A}">
                    <a16:rowId xmlns:a16="http://schemas.microsoft.com/office/drawing/2014/main" val="3613407046"/>
                  </a:ext>
                </a:extLst>
              </a:tr>
              <a:tr h="276606">
                <a:tc>
                  <a:txBody>
                    <a:bodyPr/>
                    <a:lstStyle/>
                    <a:p>
                      <a:pPr algn="l"/>
                      <a:r>
                        <a:rPr lang="en-CA" sz="1200" dirty="0">
                          <a:solidFill>
                            <a:srgbClr val="000000"/>
                          </a:solidFill>
                        </a:rPr>
                        <a:t>Maximum Concurrent Active/Open Connections</a:t>
                      </a:r>
                      <a:endParaRPr lang="en-CA" sz="1200" dirty="0">
                        <a:solidFill>
                          <a:srgbClr val="000000"/>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marT="25146" marB="25146" anchor="ctr">
                    <a:lnR w="12700" cap="flat" cmpd="sng" algn="ctr">
                      <a:solidFill>
                        <a:schemeClr val="tx1"/>
                      </a:solidFill>
                      <a:prstDash val="solid"/>
                      <a:round/>
                      <a:headEnd type="none" w="med" len="med"/>
                      <a:tailEnd type="none" w="med" len="med"/>
                    </a:lnR>
                  </a:tcPr>
                </a:tc>
                <a:tc>
                  <a:txBody>
                    <a:bodyPr/>
                    <a:lstStyle/>
                    <a:p>
                      <a:pPr algn="ctr"/>
                      <a:r>
                        <a:rPr lang="en-CA" sz="1200" dirty="0">
                          <a:solidFill>
                            <a:srgbClr val="000000"/>
                          </a:solidFill>
                        </a:rPr>
                        <a:t>100</a:t>
                      </a:r>
                      <a:endParaRPr lang="en-CA" sz="1200" dirty="0">
                        <a:solidFill>
                          <a:srgbClr val="000000"/>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marT="25146" marB="2514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ctr"/>
                      <a:r>
                        <a:rPr lang="en-CA" sz="1200" dirty="0">
                          <a:solidFill>
                            <a:srgbClr val="000000"/>
                          </a:solidFill>
                        </a:rPr>
                        <a:t>Up to 250</a:t>
                      </a:r>
                      <a:endParaRPr lang="en-CA" sz="1200" dirty="0">
                        <a:solidFill>
                          <a:srgbClr val="000000"/>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marT="25146" marB="25146" anchor="ctr">
                    <a:lnL w="12700" cap="flat" cmpd="sng" algn="ctr">
                      <a:solidFill>
                        <a:schemeClr val="tx1"/>
                      </a:solidFill>
                      <a:prstDash val="solid"/>
                      <a:round/>
                      <a:headEnd type="none" w="med" len="med"/>
                      <a:tailEnd type="none" w="med" len="med"/>
                    </a:lnL>
                    <a:lnR w="12700" cap="flat" cmpd="sng" algn="ctr">
                      <a:solidFill>
                        <a:schemeClr val="tx1"/>
                      </a:solidFill>
                      <a:prstDash val="dash"/>
                      <a:round/>
                      <a:headEnd type="none" w="med" len="med"/>
                      <a:tailEnd type="none" w="med" len="med"/>
                    </a:lnR>
                  </a:tcPr>
                </a:tc>
                <a:tc>
                  <a:txBody>
                    <a:bodyPr/>
                    <a:lstStyle/>
                    <a:p>
                      <a:pPr algn="ctr"/>
                      <a:r>
                        <a:rPr lang="en-CA" sz="1200" dirty="0">
                          <a:solidFill>
                            <a:srgbClr val="000000"/>
                          </a:solidFill>
                        </a:rPr>
                        <a:t>Up to 1000</a:t>
                      </a:r>
                      <a:endParaRPr lang="en-CA" sz="1200" dirty="0">
                        <a:solidFill>
                          <a:srgbClr val="000000"/>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marT="25146" marB="25146" anchor="ctr">
                    <a:lnL w="12700" cap="flat" cmpd="sng" algn="ctr">
                      <a:solidFill>
                        <a:schemeClr val="tx1"/>
                      </a:solidFill>
                      <a:prstDash val="dash"/>
                      <a:round/>
                      <a:headEnd type="none" w="med" len="med"/>
                      <a:tailEnd type="none" w="med" len="med"/>
                    </a:lnL>
                  </a:tcPr>
                </a:tc>
                <a:tc>
                  <a:txBody>
                    <a:bodyPr/>
                    <a:lstStyle/>
                    <a:p>
                      <a:pPr algn="ctr"/>
                      <a:r>
                        <a:rPr lang="en-CA" sz="1200">
                          <a:solidFill>
                            <a:srgbClr val="000000"/>
                          </a:solidFill>
                        </a:rPr>
                        <a:t>Up to 5K</a:t>
                      </a:r>
                      <a:endParaRPr lang="en-CA" sz="1200">
                        <a:solidFill>
                          <a:srgbClr val="000000"/>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marT="25146" marB="25146" anchor="ctr">
                    <a:lnR w="12700" cap="flat" cmpd="sng" algn="ctr">
                      <a:solidFill>
                        <a:schemeClr val="tx1"/>
                      </a:solidFill>
                      <a:prstDash val="dash"/>
                      <a:round/>
                      <a:headEnd type="none" w="med" len="med"/>
                      <a:tailEnd type="none" w="med" len="med"/>
                    </a:lnR>
                  </a:tcPr>
                </a:tc>
                <a:tc>
                  <a:txBody>
                    <a:bodyPr/>
                    <a:lstStyle/>
                    <a:p>
                      <a:pPr algn="ctr"/>
                      <a:r>
                        <a:rPr lang="en-CA" sz="1200">
                          <a:solidFill>
                            <a:srgbClr val="000000"/>
                          </a:solidFill>
                        </a:rPr>
                        <a:t>Up to 10K</a:t>
                      </a:r>
                      <a:endParaRPr lang="en-CA" sz="1200">
                        <a:solidFill>
                          <a:srgbClr val="000000"/>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marT="25146" marB="25146" anchor="ctr">
                    <a:lnL w="12700" cap="flat" cmpd="sng" algn="ctr">
                      <a:solidFill>
                        <a:schemeClr val="tx1"/>
                      </a:solidFill>
                      <a:prstDash val="dash"/>
                      <a:round/>
                      <a:headEnd type="none" w="med" len="med"/>
                      <a:tailEnd type="none" w="med" len="med"/>
                    </a:lnL>
                  </a:tcPr>
                </a:tc>
                <a:tc>
                  <a:txBody>
                    <a:bodyPr/>
                    <a:lstStyle/>
                    <a:p>
                      <a:pPr algn="ctr"/>
                      <a:r>
                        <a:rPr lang="en-CA" sz="1200">
                          <a:solidFill>
                            <a:srgbClr val="000000"/>
                          </a:solidFill>
                        </a:rPr>
                        <a:t>Up to 50K</a:t>
                      </a:r>
                      <a:endParaRPr lang="en-CA" sz="1200">
                        <a:solidFill>
                          <a:srgbClr val="000000"/>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marT="25146" marB="25146" anchor="ctr">
                    <a:lnR w="12700" cap="flat" cmpd="sng" algn="ctr">
                      <a:noFill/>
                      <a:prstDash val="solid"/>
                      <a:round/>
                      <a:headEnd type="none" w="med" len="med"/>
                      <a:tailEnd type="none" w="med" len="med"/>
                    </a:lnR>
                  </a:tcPr>
                </a:tc>
                <a:tc>
                  <a:txBody>
                    <a:bodyPr/>
                    <a:lstStyle/>
                    <a:p>
                      <a:pPr algn="ctr"/>
                      <a:r>
                        <a:rPr lang="en-CA" sz="1200">
                          <a:solidFill>
                            <a:srgbClr val="000000"/>
                          </a:solidFill>
                        </a:rPr>
                        <a:t>Up to 100K</a:t>
                      </a:r>
                      <a:endParaRPr lang="en-CA" sz="1200">
                        <a:solidFill>
                          <a:srgbClr val="000000"/>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marT="25146" marB="25146" anchor="ctr">
                    <a:lnL>
                      <a:noFill/>
                    </a:lnL>
                  </a:tcPr>
                </a:tc>
                <a:extLst>
                  <a:ext uri="{0D108BD9-81ED-4DB2-BD59-A6C34878D82A}">
                    <a16:rowId xmlns:a16="http://schemas.microsoft.com/office/drawing/2014/main" val="203694310"/>
                  </a:ext>
                </a:extLst>
              </a:tr>
              <a:tr h="276606">
                <a:tc>
                  <a:txBody>
                    <a:bodyPr/>
                    <a:lstStyle/>
                    <a:p>
                      <a:pPr algn="l"/>
                      <a:r>
                        <a:rPr lang="en-CA" sz="1200">
                          <a:solidFill>
                            <a:srgbClr val="000000"/>
                          </a:solidFill>
                        </a:rPr>
                        <a:t>Maximum Queues</a:t>
                      </a:r>
                      <a:endParaRPr lang="en-CA" sz="1200">
                        <a:solidFill>
                          <a:srgbClr val="000000"/>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marT="25146" marB="25146" anchor="ctr">
                    <a:lnR w="12700" cap="flat" cmpd="sng" algn="ctr">
                      <a:solidFill>
                        <a:schemeClr val="tx1"/>
                      </a:solidFill>
                      <a:prstDash val="solid"/>
                      <a:round/>
                      <a:headEnd type="none" w="med" len="med"/>
                      <a:tailEnd type="none" w="med" len="med"/>
                    </a:lnR>
                  </a:tcPr>
                </a:tc>
                <a:tc>
                  <a:txBody>
                    <a:bodyPr/>
                    <a:lstStyle/>
                    <a:p>
                      <a:pPr algn="ctr"/>
                      <a:r>
                        <a:rPr lang="en-CA" sz="1200">
                          <a:solidFill>
                            <a:srgbClr val="000000"/>
                          </a:solidFill>
                        </a:rPr>
                        <a:t>100</a:t>
                      </a:r>
                      <a:endParaRPr lang="en-CA" sz="1200">
                        <a:solidFill>
                          <a:srgbClr val="000000"/>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marT="25146" marB="2514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ctr"/>
                      <a:r>
                        <a:rPr lang="en-CA" sz="1200">
                          <a:solidFill>
                            <a:srgbClr val="000000"/>
                          </a:solidFill>
                        </a:rPr>
                        <a:t>250</a:t>
                      </a:r>
                      <a:endParaRPr lang="en-CA" sz="1200">
                        <a:solidFill>
                          <a:srgbClr val="000000"/>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marT="25146" marB="25146" anchor="ctr">
                    <a:lnL w="12700" cap="flat" cmpd="sng" algn="ctr">
                      <a:solidFill>
                        <a:schemeClr val="tx1"/>
                      </a:solidFill>
                      <a:prstDash val="solid"/>
                      <a:round/>
                      <a:headEnd type="none" w="med" len="med"/>
                      <a:tailEnd type="none" w="med" len="med"/>
                    </a:lnL>
                    <a:lnR w="12700" cap="flat" cmpd="sng" algn="ctr">
                      <a:solidFill>
                        <a:schemeClr val="tx1"/>
                      </a:solidFill>
                      <a:prstDash val="dash"/>
                      <a:round/>
                      <a:headEnd type="none" w="med" len="med"/>
                      <a:tailEnd type="none" w="med" len="med"/>
                    </a:lnR>
                  </a:tcPr>
                </a:tc>
                <a:tc>
                  <a:txBody>
                    <a:bodyPr/>
                    <a:lstStyle/>
                    <a:p>
                      <a:pPr algn="ctr"/>
                      <a:r>
                        <a:rPr lang="en-CA" sz="1200" dirty="0">
                          <a:solidFill>
                            <a:srgbClr val="000000"/>
                          </a:solidFill>
                        </a:rPr>
                        <a:t>1000</a:t>
                      </a:r>
                      <a:endParaRPr lang="en-CA" sz="1200" dirty="0">
                        <a:solidFill>
                          <a:srgbClr val="000000"/>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marT="25146" marB="25146" anchor="ctr">
                    <a:lnL w="12700" cap="flat" cmpd="sng" algn="ctr">
                      <a:solidFill>
                        <a:schemeClr val="tx1"/>
                      </a:solidFill>
                      <a:prstDash val="dash"/>
                      <a:round/>
                      <a:headEnd type="none" w="med" len="med"/>
                      <a:tailEnd type="none" w="med" len="med"/>
                    </a:lnL>
                  </a:tcPr>
                </a:tc>
                <a:tc>
                  <a:txBody>
                    <a:bodyPr/>
                    <a:lstStyle/>
                    <a:p>
                      <a:pPr algn="ctr"/>
                      <a:r>
                        <a:rPr lang="en-CA" sz="1200">
                          <a:solidFill>
                            <a:srgbClr val="000000"/>
                          </a:solidFill>
                        </a:rPr>
                        <a:t>5K</a:t>
                      </a:r>
                      <a:endParaRPr lang="en-CA" sz="1200">
                        <a:solidFill>
                          <a:srgbClr val="000000"/>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marT="25146" marB="25146" anchor="ctr">
                    <a:lnR w="12700" cap="flat" cmpd="sng" algn="ctr">
                      <a:solidFill>
                        <a:schemeClr val="tx1"/>
                      </a:solidFill>
                      <a:prstDash val="dash"/>
                      <a:round/>
                      <a:headEnd type="none" w="med" len="med"/>
                      <a:tailEnd type="none" w="med" len="med"/>
                    </a:lnR>
                  </a:tcPr>
                </a:tc>
                <a:tc>
                  <a:txBody>
                    <a:bodyPr/>
                    <a:lstStyle/>
                    <a:p>
                      <a:pPr algn="ctr"/>
                      <a:r>
                        <a:rPr lang="en-CA" sz="1200">
                          <a:solidFill>
                            <a:srgbClr val="000000"/>
                          </a:solidFill>
                        </a:rPr>
                        <a:t>10K</a:t>
                      </a:r>
                      <a:endParaRPr lang="en-CA" sz="1200">
                        <a:solidFill>
                          <a:srgbClr val="000000"/>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marT="25146" marB="25146" anchor="ctr">
                    <a:lnL w="12700" cap="flat" cmpd="sng" algn="ctr">
                      <a:solidFill>
                        <a:schemeClr val="tx1"/>
                      </a:solidFill>
                      <a:prstDash val="dash"/>
                      <a:round/>
                      <a:headEnd type="none" w="med" len="med"/>
                      <a:tailEnd type="none" w="med" len="med"/>
                    </a:lnL>
                  </a:tcPr>
                </a:tc>
                <a:tc>
                  <a:txBody>
                    <a:bodyPr/>
                    <a:lstStyle/>
                    <a:p>
                      <a:pPr algn="ctr"/>
                      <a:r>
                        <a:rPr lang="en-CA" sz="1200">
                          <a:solidFill>
                            <a:srgbClr val="000000"/>
                          </a:solidFill>
                        </a:rPr>
                        <a:t>50K</a:t>
                      </a:r>
                      <a:endParaRPr lang="en-CA" sz="1200">
                        <a:solidFill>
                          <a:srgbClr val="000000"/>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marT="25146" marB="25146" anchor="ctr">
                    <a:lnR w="12700" cap="flat" cmpd="sng" algn="ctr">
                      <a:noFill/>
                      <a:prstDash val="solid"/>
                      <a:round/>
                      <a:headEnd type="none" w="med" len="med"/>
                      <a:tailEnd type="none" w="med" len="med"/>
                    </a:lnR>
                  </a:tcPr>
                </a:tc>
                <a:tc>
                  <a:txBody>
                    <a:bodyPr/>
                    <a:lstStyle/>
                    <a:p>
                      <a:pPr algn="ctr"/>
                      <a:r>
                        <a:rPr lang="en-CA" sz="1200">
                          <a:solidFill>
                            <a:srgbClr val="000000"/>
                          </a:solidFill>
                        </a:rPr>
                        <a:t>100K</a:t>
                      </a:r>
                      <a:endParaRPr lang="en-CA" sz="1200">
                        <a:solidFill>
                          <a:srgbClr val="000000"/>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marT="25146" marB="25146" anchor="ctr">
                    <a:lnL>
                      <a:noFill/>
                    </a:lnL>
                  </a:tcPr>
                </a:tc>
                <a:extLst>
                  <a:ext uri="{0D108BD9-81ED-4DB2-BD59-A6C34878D82A}">
                    <a16:rowId xmlns:a16="http://schemas.microsoft.com/office/drawing/2014/main" val="1194587634"/>
                  </a:ext>
                </a:extLst>
              </a:tr>
              <a:tr h="276606">
                <a:tc>
                  <a:txBody>
                    <a:bodyPr/>
                    <a:lstStyle/>
                    <a:p>
                      <a:pPr algn="l"/>
                      <a:r>
                        <a:rPr lang="en-CA" sz="1200">
                          <a:solidFill>
                            <a:srgbClr val="000000"/>
                          </a:solidFill>
                        </a:rPr>
                        <a:t>Cores In Use</a:t>
                      </a:r>
                      <a:endParaRPr lang="en-CA" sz="1200">
                        <a:solidFill>
                          <a:srgbClr val="000000"/>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marT="25146" marB="25146" anchor="ctr">
                    <a:lnR w="12700" cap="flat" cmpd="sng" algn="ctr">
                      <a:solidFill>
                        <a:schemeClr val="tx1"/>
                      </a:solidFill>
                      <a:prstDash val="solid"/>
                      <a:round/>
                      <a:headEnd type="none" w="med" len="med"/>
                      <a:tailEnd type="none" w="med" len="med"/>
                    </a:lnR>
                  </a:tcPr>
                </a:tc>
                <a:tc>
                  <a:txBody>
                    <a:bodyPr/>
                    <a:lstStyle/>
                    <a:p>
                      <a:pPr algn="ctr"/>
                      <a:r>
                        <a:rPr lang="en-CA" sz="1200">
                          <a:solidFill>
                            <a:srgbClr val="000000"/>
                          </a:solidFill>
                        </a:rPr>
                        <a:t>2</a:t>
                      </a:r>
                      <a:endParaRPr lang="en-CA" sz="1200">
                        <a:solidFill>
                          <a:srgbClr val="000000"/>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marT="25146" marB="2514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gridSpan="2">
                  <a:txBody>
                    <a:bodyPr/>
                    <a:lstStyle/>
                    <a:p>
                      <a:pPr algn="ctr"/>
                      <a:r>
                        <a:rPr lang="en-CA" sz="1200" dirty="0">
                          <a:solidFill>
                            <a:srgbClr val="000000"/>
                          </a:solidFill>
                        </a:rPr>
                        <a:t>4</a:t>
                      </a:r>
                      <a:endParaRPr lang="en-CA" sz="1200" dirty="0">
                        <a:solidFill>
                          <a:srgbClr val="000000"/>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marT="25146" marB="25146" anchor="ctr">
                    <a:lnL w="12700" cap="flat" cmpd="sng" algn="ctr">
                      <a:solidFill>
                        <a:schemeClr val="tx1"/>
                      </a:solidFill>
                      <a:prstDash val="solid"/>
                      <a:round/>
                      <a:headEnd type="none" w="med" len="med"/>
                      <a:tailEnd type="none" w="med" len="med"/>
                    </a:lnL>
                  </a:tcPr>
                </a:tc>
                <a:tc hMerge="1">
                  <a:txBody>
                    <a:bodyPr/>
                    <a:lstStyle/>
                    <a:p>
                      <a:pPr algn="ctr"/>
                      <a:endParaRPr lang="en-CA" sz="1200">
                        <a:solidFill>
                          <a:srgbClr val="000000"/>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marT="25146" marB="25146" anchor="ctr"/>
                </a:tc>
                <a:tc gridSpan="2">
                  <a:txBody>
                    <a:bodyPr/>
                    <a:lstStyle/>
                    <a:p>
                      <a:pPr algn="ctr"/>
                      <a:r>
                        <a:rPr lang="en-CA" sz="1200" dirty="0">
                          <a:solidFill>
                            <a:srgbClr val="000000"/>
                          </a:solidFill>
                        </a:rPr>
                        <a:t>8</a:t>
                      </a:r>
                      <a:endParaRPr lang="en-CA" sz="1200" dirty="0">
                        <a:solidFill>
                          <a:srgbClr val="000000"/>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marT="25146" marB="25146" anchor="ctr"/>
                </a:tc>
                <a:tc hMerge="1">
                  <a:txBody>
                    <a:bodyPr/>
                    <a:lstStyle/>
                    <a:p>
                      <a:pPr algn="ctr"/>
                      <a:endParaRPr lang="en-CA" sz="1200">
                        <a:solidFill>
                          <a:srgbClr val="000000"/>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marT="25146" marB="25146" anchor="ctr"/>
                </a:tc>
                <a:tc gridSpan="2">
                  <a:txBody>
                    <a:bodyPr/>
                    <a:lstStyle/>
                    <a:p>
                      <a:pPr algn="ctr"/>
                      <a:r>
                        <a:rPr lang="en-CA" sz="1200">
                          <a:solidFill>
                            <a:srgbClr val="000000"/>
                          </a:solidFill>
                        </a:rPr>
                        <a:t>16</a:t>
                      </a:r>
                      <a:endParaRPr lang="en-CA" sz="1200">
                        <a:solidFill>
                          <a:srgbClr val="000000"/>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marT="25146" marB="25146" anchor="ctr"/>
                </a:tc>
                <a:tc hMerge="1">
                  <a:txBody>
                    <a:bodyPr/>
                    <a:lstStyle/>
                    <a:p>
                      <a:pPr algn="ctr"/>
                      <a:endParaRPr lang="en-CA" sz="1200">
                        <a:solidFill>
                          <a:srgbClr val="000000"/>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marT="25146" marB="25146" anchor="ctr"/>
                </a:tc>
                <a:extLst>
                  <a:ext uri="{0D108BD9-81ED-4DB2-BD59-A6C34878D82A}">
                    <a16:rowId xmlns:a16="http://schemas.microsoft.com/office/drawing/2014/main" val="1789952430"/>
                  </a:ext>
                </a:extLst>
              </a:tr>
              <a:tr h="276606">
                <a:tc>
                  <a:txBody>
                    <a:bodyPr/>
                    <a:lstStyle/>
                    <a:p>
                      <a:pPr algn="l"/>
                      <a:r>
                        <a:rPr lang="en-CA" sz="1200">
                          <a:solidFill>
                            <a:srgbClr val="000000"/>
                          </a:solidFill>
                        </a:rPr>
                        <a:t>Maximum Throughput (Mbps)</a:t>
                      </a:r>
                      <a:endParaRPr lang="en-CA" sz="1200">
                        <a:solidFill>
                          <a:srgbClr val="000000"/>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marT="25146" marB="25146" anchor="ctr">
                    <a:lnR w="12700" cap="flat" cmpd="sng" algn="ctr">
                      <a:solidFill>
                        <a:schemeClr val="tx1"/>
                      </a:solidFill>
                      <a:prstDash val="solid"/>
                      <a:round/>
                      <a:headEnd type="none" w="med" len="med"/>
                      <a:tailEnd type="none" w="med" len="med"/>
                    </a:lnR>
                  </a:tcPr>
                </a:tc>
                <a:tc>
                  <a:txBody>
                    <a:bodyPr/>
                    <a:lstStyle/>
                    <a:p>
                      <a:pPr algn="ctr"/>
                      <a:r>
                        <a:rPr lang="en-CA" sz="1200" dirty="0">
                          <a:solidFill>
                            <a:srgbClr val="000000"/>
                          </a:solidFill>
                        </a:rPr>
                        <a:t>8</a:t>
                      </a:r>
                      <a:endParaRPr lang="en-CA" sz="1200" dirty="0">
                        <a:solidFill>
                          <a:srgbClr val="000000"/>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marT="25146" marB="2514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gridSpan="2">
                  <a:txBody>
                    <a:bodyPr/>
                    <a:lstStyle/>
                    <a:p>
                      <a:pPr algn="ctr"/>
                      <a:r>
                        <a:rPr lang="en-CA" sz="1200">
                          <a:solidFill>
                            <a:srgbClr val="000000"/>
                          </a:solidFill>
                        </a:rPr>
                        <a:t>450</a:t>
                      </a:r>
                      <a:endParaRPr lang="en-CA" sz="1200">
                        <a:solidFill>
                          <a:srgbClr val="000000"/>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marT="25146" marB="25146" anchor="ctr">
                    <a:lnL w="12700" cap="flat" cmpd="sng" algn="ctr">
                      <a:solidFill>
                        <a:schemeClr val="tx1"/>
                      </a:solidFill>
                      <a:prstDash val="solid"/>
                      <a:round/>
                      <a:headEnd type="none" w="med" len="med"/>
                      <a:tailEnd type="none" w="med" len="med"/>
                    </a:lnL>
                    <a:lnR w="12700" cap="flat" cmpd="sng" algn="ctr">
                      <a:solidFill>
                        <a:schemeClr val="tx1"/>
                      </a:solidFill>
                      <a:prstDash val="dash"/>
                      <a:round/>
                      <a:headEnd type="none" w="med" len="med"/>
                      <a:tailEnd type="none" w="med" len="med"/>
                    </a:lnR>
                  </a:tcPr>
                </a:tc>
                <a:tc hMerge="1">
                  <a:txBody>
                    <a:bodyPr/>
                    <a:lstStyle/>
                    <a:p>
                      <a:pPr algn="ctr"/>
                      <a:r>
                        <a:rPr lang="en-CA" sz="1200">
                          <a:solidFill>
                            <a:srgbClr val="000000"/>
                          </a:solidFill>
                        </a:rPr>
                        <a:t>450</a:t>
                      </a:r>
                      <a:endParaRPr lang="en-CA" sz="1200">
                        <a:solidFill>
                          <a:srgbClr val="000000"/>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marT="25146" marB="25146"/>
                </a:tc>
                <a:tc gridSpan="2">
                  <a:txBody>
                    <a:bodyPr/>
                    <a:lstStyle/>
                    <a:p>
                      <a:pPr algn="ctr"/>
                      <a:r>
                        <a:rPr lang="en-CA" sz="1200" dirty="0">
                          <a:solidFill>
                            <a:srgbClr val="000000"/>
                          </a:solidFill>
                        </a:rPr>
                        <a:t>750</a:t>
                      </a:r>
                      <a:endParaRPr lang="en-CA" sz="1200" dirty="0">
                        <a:solidFill>
                          <a:srgbClr val="000000"/>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marT="25146" marB="25146" anchor="ctr">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tcPr>
                </a:tc>
                <a:tc hMerge="1">
                  <a:txBody>
                    <a:bodyPr/>
                    <a:lstStyle/>
                    <a:p>
                      <a:pPr algn="ctr"/>
                      <a:r>
                        <a:rPr lang="en-CA" sz="1200">
                          <a:solidFill>
                            <a:srgbClr val="000000"/>
                          </a:solidFill>
                        </a:rPr>
                        <a:t>750</a:t>
                      </a:r>
                      <a:endParaRPr lang="en-CA" sz="1200">
                        <a:solidFill>
                          <a:srgbClr val="000000"/>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marT="25146" marB="25146"/>
                </a:tc>
                <a:tc gridSpan="2">
                  <a:txBody>
                    <a:bodyPr/>
                    <a:lstStyle/>
                    <a:p>
                      <a:pPr algn="ctr"/>
                      <a:r>
                        <a:rPr lang="en-CA" sz="1200">
                          <a:solidFill>
                            <a:srgbClr val="000000"/>
                          </a:solidFill>
                        </a:rPr>
                        <a:t>1,000</a:t>
                      </a:r>
                      <a:endParaRPr lang="en-CA" sz="1200">
                        <a:solidFill>
                          <a:srgbClr val="000000"/>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marT="25146" marB="25146" anchor="ctr">
                    <a:lnL w="12700" cap="flat" cmpd="sng" algn="ctr">
                      <a:solidFill>
                        <a:schemeClr val="tx1"/>
                      </a:solidFill>
                      <a:prstDash val="dash"/>
                      <a:round/>
                      <a:headEnd type="none" w="med" len="med"/>
                      <a:tailEnd type="none" w="med" len="med"/>
                    </a:lnL>
                    <a:lnR w="12700" cap="flat" cmpd="sng" algn="ctr">
                      <a:noFill/>
                      <a:prstDash val="solid"/>
                      <a:round/>
                      <a:headEnd type="none" w="med" len="med"/>
                      <a:tailEnd type="none" w="med" len="med"/>
                    </a:lnR>
                  </a:tcPr>
                </a:tc>
                <a:tc hMerge="1">
                  <a:txBody>
                    <a:bodyPr/>
                    <a:lstStyle/>
                    <a:p>
                      <a:pPr algn="ctr"/>
                      <a:r>
                        <a:rPr lang="en-CA" sz="1200">
                          <a:solidFill>
                            <a:srgbClr val="000000"/>
                          </a:solidFill>
                        </a:rPr>
                        <a:t>1,000</a:t>
                      </a:r>
                      <a:endParaRPr lang="en-CA" sz="1200">
                        <a:solidFill>
                          <a:srgbClr val="000000"/>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marT="25146" marB="25146">
                    <a:lnL w="12700" cap="flat" cmpd="sng" algn="ctr">
                      <a:solidFill>
                        <a:schemeClr val="tx1"/>
                      </a:solidFill>
                      <a:prstDash val="dash"/>
                      <a:round/>
                      <a:headEnd type="none" w="med" len="med"/>
                      <a:tailEnd type="none" w="med" len="med"/>
                    </a:lnL>
                  </a:tcPr>
                </a:tc>
                <a:extLst>
                  <a:ext uri="{0D108BD9-81ED-4DB2-BD59-A6C34878D82A}">
                    <a16:rowId xmlns:a16="http://schemas.microsoft.com/office/drawing/2014/main" val="3292736648"/>
                  </a:ext>
                </a:extLst>
              </a:tr>
              <a:tr h="276606">
                <a:tc>
                  <a:txBody>
                    <a:bodyPr/>
                    <a:lstStyle/>
                    <a:p>
                      <a:pPr algn="l"/>
                      <a:r>
                        <a:rPr lang="en-CA" sz="1200" kern="1200">
                          <a:solidFill>
                            <a:srgbClr val="000000"/>
                          </a:solidFill>
                          <a:latin typeface="+mn-lt"/>
                          <a:ea typeface="+mn-ea"/>
                          <a:cs typeface="+mn-cs"/>
                        </a:rPr>
                        <a:t>Default Storage (GB)</a:t>
                      </a:r>
                    </a:p>
                  </a:txBody>
                  <a:tcPr marL="45720" marR="45720" marT="25146" marB="25146" anchor="ctr">
                    <a:lnR w="12700" cap="flat" cmpd="sng" algn="ctr">
                      <a:solidFill>
                        <a:schemeClr val="tx1"/>
                      </a:solidFill>
                      <a:prstDash val="solid"/>
                      <a:round/>
                      <a:headEnd type="none" w="med" len="med"/>
                      <a:tailEnd type="none" w="med" len="med"/>
                    </a:lnR>
                  </a:tcPr>
                </a:tc>
                <a:tc>
                  <a:txBody>
                    <a:bodyPr/>
                    <a:lstStyle/>
                    <a:p>
                      <a:pPr algn="ctr"/>
                      <a:r>
                        <a:rPr lang="en-CA" sz="1200">
                          <a:solidFill>
                            <a:srgbClr val="000000"/>
                          </a:solidFill>
                          <a:latin typeface="Open Sans" panose="020B0606030504020204" pitchFamily="34" charset="0"/>
                          <a:ea typeface="Open Sans" panose="020B0606030504020204" pitchFamily="34" charset="0"/>
                          <a:cs typeface="Open Sans" panose="020B0606030504020204" pitchFamily="34" charset="0"/>
                        </a:rPr>
                        <a:t>2</a:t>
                      </a:r>
                    </a:p>
                  </a:txBody>
                  <a:tcPr marL="45720" marR="45720" marT="25146" marB="2514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gridSpan="2">
                  <a:txBody>
                    <a:bodyPr/>
                    <a:lstStyle/>
                    <a:p>
                      <a:pPr algn="ctr"/>
                      <a:r>
                        <a:rPr lang="en-CA" sz="1200">
                          <a:solidFill>
                            <a:srgbClr val="000000"/>
                          </a:solidFill>
                          <a:latin typeface="Open Sans" panose="020B0606030504020204" pitchFamily="34" charset="0"/>
                          <a:ea typeface="Open Sans" panose="020B0606030504020204" pitchFamily="34" charset="0"/>
                          <a:cs typeface="Open Sans" panose="020B0606030504020204" pitchFamily="34" charset="0"/>
                        </a:rPr>
                        <a:t>25</a:t>
                      </a:r>
                    </a:p>
                  </a:txBody>
                  <a:tcPr marL="45720" marR="45720" marT="25146" marB="25146" anchor="ctr">
                    <a:lnL w="12700" cap="flat" cmpd="sng" algn="ctr">
                      <a:solidFill>
                        <a:schemeClr val="tx1"/>
                      </a:solidFill>
                      <a:prstDash val="solid"/>
                      <a:round/>
                      <a:headEnd type="none" w="med" len="med"/>
                      <a:tailEnd type="none" w="med" len="med"/>
                    </a:lnL>
                  </a:tcPr>
                </a:tc>
                <a:tc hMerge="1">
                  <a:txBody>
                    <a:bodyPr/>
                    <a:lstStyle/>
                    <a:p>
                      <a:endParaRPr lang="en-GB"/>
                    </a:p>
                  </a:txBody>
                  <a:tcPr/>
                </a:tc>
                <a:tc>
                  <a:txBody>
                    <a:bodyPr/>
                    <a:lstStyle/>
                    <a:p>
                      <a:pPr algn="ctr"/>
                      <a:r>
                        <a:rPr lang="en-CA" sz="1200" dirty="0">
                          <a:solidFill>
                            <a:srgbClr val="000000"/>
                          </a:solidFill>
                          <a:latin typeface="Open Sans" panose="020B0606030504020204" pitchFamily="34" charset="0"/>
                          <a:ea typeface="Open Sans" panose="020B0606030504020204" pitchFamily="34" charset="0"/>
                          <a:cs typeface="Open Sans" panose="020B0606030504020204" pitchFamily="34" charset="0"/>
                        </a:rPr>
                        <a:t>50</a:t>
                      </a:r>
                    </a:p>
                  </a:txBody>
                  <a:tcPr marL="45720" marR="45720" marT="25146" marB="25146" anchor="ctr"/>
                </a:tc>
                <a:tc>
                  <a:txBody>
                    <a:bodyPr/>
                    <a:lstStyle/>
                    <a:p>
                      <a:pPr algn="ctr"/>
                      <a:r>
                        <a:rPr lang="en-CA" sz="1200" dirty="0">
                          <a:solidFill>
                            <a:srgbClr val="000000"/>
                          </a:solidFill>
                          <a:latin typeface="Open Sans" panose="020B0606030504020204" pitchFamily="34" charset="0"/>
                          <a:ea typeface="Open Sans" panose="020B0606030504020204" pitchFamily="34" charset="0"/>
                          <a:cs typeface="Open Sans" panose="020B0606030504020204" pitchFamily="34" charset="0"/>
                        </a:rPr>
                        <a:t>200</a:t>
                      </a:r>
                    </a:p>
                  </a:txBody>
                  <a:tcPr marL="45720" marR="45720" marT="25146" marB="25146" anchor="ctr"/>
                </a:tc>
                <a:tc>
                  <a:txBody>
                    <a:bodyPr/>
                    <a:lstStyle/>
                    <a:p>
                      <a:pPr algn="ctr"/>
                      <a:r>
                        <a:rPr lang="en-CA" sz="1200">
                          <a:solidFill>
                            <a:srgbClr val="000000"/>
                          </a:solidFill>
                          <a:latin typeface="Open Sans" panose="020B0606030504020204" pitchFamily="34" charset="0"/>
                          <a:ea typeface="Open Sans" panose="020B0606030504020204" pitchFamily="34" charset="0"/>
                          <a:cs typeface="Open Sans" panose="020B0606030504020204" pitchFamily="34" charset="0"/>
                        </a:rPr>
                        <a:t>300</a:t>
                      </a:r>
                    </a:p>
                  </a:txBody>
                  <a:tcPr marL="45720" marR="45720" marT="25146" marB="25146" anchor="ctr"/>
                </a:tc>
                <a:tc>
                  <a:txBody>
                    <a:bodyPr/>
                    <a:lstStyle/>
                    <a:p>
                      <a:pPr algn="ctr"/>
                      <a:r>
                        <a:rPr lang="en-CA" sz="1200">
                          <a:solidFill>
                            <a:srgbClr val="000000"/>
                          </a:solidFill>
                          <a:latin typeface="Open Sans" panose="020B0606030504020204" pitchFamily="34" charset="0"/>
                          <a:ea typeface="Open Sans" panose="020B0606030504020204" pitchFamily="34" charset="0"/>
                          <a:cs typeface="Open Sans" panose="020B0606030504020204" pitchFamily="34" charset="0"/>
                        </a:rPr>
                        <a:t>500</a:t>
                      </a:r>
                    </a:p>
                  </a:txBody>
                  <a:tcPr marL="45720" marR="45720" marT="25146" marB="25146" anchor="ctr"/>
                </a:tc>
                <a:extLst>
                  <a:ext uri="{0D108BD9-81ED-4DB2-BD59-A6C34878D82A}">
                    <a16:rowId xmlns:a16="http://schemas.microsoft.com/office/drawing/2014/main" val="5357354"/>
                  </a:ext>
                </a:extLst>
              </a:tr>
              <a:tr h="276606">
                <a:tc>
                  <a:txBody>
                    <a:bodyPr/>
                    <a:lstStyle/>
                    <a:p>
                      <a:pPr algn="l"/>
                      <a:r>
                        <a:rPr lang="en-CA" sz="1200">
                          <a:solidFill>
                            <a:srgbClr val="000000"/>
                          </a:solidFill>
                        </a:rPr>
                        <a:t>Maximum Storage (GB)</a:t>
                      </a:r>
                      <a:endParaRPr lang="en-CA" sz="1200">
                        <a:solidFill>
                          <a:srgbClr val="000000"/>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marT="25146" marB="25146" anchor="ctr">
                    <a:lnR w="12700" cap="flat" cmpd="sng" algn="ctr">
                      <a:solidFill>
                        <a:schemeClr val="tx1"/>
                      </a:solidFill>
                      <a:prstDash val="solid"/>
                      <a:round/>
                      <a:headEnd type="none" w="med" len="med"/>
                      <a:tailEnd type="none" w="med" len="med"/>
                    </a:lnR>
                  </a:tcPr>
                </a:tc>
                <a:tc>
                  <a:txBody>
                    <a:bodyPr/>
                    <a:lstStyle/>
                    <a:p>
                      <a:pPr algn="ctr"/>
                      <a:r>
                        <a:rPr lang="en-CA" sz="1200">
                          <a:solidFill>
                            <a:srgbClr val="000000"/>
                          </a:solidFill>
                        </a:rPr>
                        <a:t>2</a:t>
                      </a:r>
                      <a:endParaRPr lang="en-CA" sz="1200">
                        <a:solidFill>
                          <a:srgbClr val="000000"/>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marT="25146" marB="2514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gridSpan="6">
                  <a:txBody>
                    <a:bodyPr/>
                    <a:lstStyle/>
                    <a:p>
                      <a:pPr algn="ctr"/>
                      <a:r>
                        <a:rPr lang="en-CA" sz="1200" dirty="0">
                          <a:solidFill>
                            <a:srgbClr val="000000"/>
                          </a:solidFill>
                        </a:rPr>
                        <a:t>Configurable up to 800GB (6TB coming) </a:t>
                      </a:r>
                      <a:r>
                        <a:rPr lang="en-CA" sz="1200" baseline="30000" dirty="0">
                          <a:solidFill>
                            <a:srgbClr val="000000"/>
                          </a:solidFill>
                        </a:rPr>
                        <a:t>2)</a:t>
                      </a:r>
                    </a:p>
                  </a:txBody>
                  <a:tcPr marL="45720" marR="45720" marT="25146" marB="25146" anchor="ctr">
                    <a:lnL w="12700" cap="flat" cmpd="sng" algn="ctr">
                      <a:solidFill>
                        <a:schemeClr val="tx1"/>
                      </a:solidFill>
                      <a:prstDash val="solid"/>
                      <a:round/>
                      <a:headEnd type="none" w="med" len="med"/>
                      <a:tailEnd type="none" w="med" len="med"/>
                    </a:lnL>
                    <a:lnB>
                      <a:noFill/>
                    </a:lnB>
                  </a:tcPr>
                </a:tc>
                <a:tc hMerge="1">
                  <a:txBody>
                    <a:bodyPr/>
                    <a:lstStyle/>
                    <a:p>
                      <a:pPr algn="ctr"/>
                      <a:r>
                        <a:rPr lang="en-CA" sz="1200">
                          <a:solidFill>
                            <a:srgbClr val="000000"/>
                          </a:solidFill>
                        </a:rPr>
                        <a:t>Configurable</a:t>
                      </a:r>
                      <a:endParaRPr lang="en-CA" sz="1200">
                        <a:solidFill>
                          <a:srgbClr val="000000"/>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marT="25146" marB="25146"/>
                </a:tc>
                <a:tc hMerge="1">
                  <a:txBody>
                    <a:bodyPr/>
                    <a:lstStyle/>
                    <a:p>
                      <a:pPr algn="ctr"/>
                      <a:endParaRPr lang="en-CA" sz="1200">
                        <a:solidFill>
                          <a:srgbClr val="000000"/>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marT="25146" marB="25146"/>
                </a:tc>
                <a:tc hMerge="1">
                  <a:txBody>
                    <a:bodyPr/>
                    <a:lstStyle/>
                    <a:p>
                      <a:pPr algn="ctr"/>
                      <a:r>
                        <a:rPr kumimoji="0" lang="en-CA" sz="1300" b="0" u="none" strike="noStrike" kern="0" cap="none" spc="0" normalizeH="0" baseline="0" noProof="0">
                          <a:ln>
                            <a:noFill/>
                          </a:ln>
                          <a:solidFill>
                            <a:srgbClr val="000000"/>
                          </a:solidFill>
                          <a:effectLst/>
                          <a:uLnTx/>
                          <a:uFillTx/>
                          <a:sym typeface="Gill Sans"/>
                        </a:rPr>
                        <a:t>Configurable</a:t>
                      </a:r>
                      <a:endParaRPr lang="en-CA" sz="1200">
                        <a:solidFill>
                          <a:srgbClr val="000000"/>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marT="25146" marB="25146"/>
                </a:tc>
                <a:tc hMerge="1">
                  <a:txBody>
                    <a:bodyPr/>
                    <a:lstStyle/>
                    <a:p>
                      <a:pPr algn="ctr"/>
                      <a:endParaRPr lang="en-CA" sz="1200">
                        <a:solidFill>
                          <a:srgbClr val="000000"/>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marT="25146" marB="25146"/>
                </a:tc>
                <a:tc hMerge="1">
                  <a:txBody>
                    <a:bodyPr/>
                    <a:lstStyle/>
                    <a:p>
                      <a:pPr algn="ctr"/>
                      <a:r>
                        <a:rPr kumimoji="0" lang="en-CA" sz="1300" b="0" u="none" strike="noStrike" kern="0" cap="none" spc="0" normalizeH="0" baseline="0" noProof="0">
                          <a:ln>
                            <a:noFill/>
                          </a:ln>
                          <a:solidFill>
                            <a:srgbClr val="000000"/>
                          </a:solidFill>
                          <a:effectLst/>
                          <a:uLnTx/>
                          <a:uFillTx/>
                          <a:sym typeface="Gill Sans"/>
                        </a:rPr>
                        <a:t>Configurable</a:t>
                      </a:r>
                      <a:endParaRPr lang="en-CA" sz="1200">
                        <a:solidFill>
                          <a:srgbClr val="000000"/>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marT="25146" marB="25146"/>
                </a:tc>
                <a:extLst>
                  <a:ext uri="{0D108BD9-81ED-4DB2-BD59-A6C34878D82A}">
                    <a16:rowId xmlns:a16="http://schemas.microsoft.com/office/drawing/2014/main" val="1397433248"/>
                  </a:ext>
                </a:extLst>
              </a:tr>
              <a:tr h="276606">
                <a:tc>
                  <a:txBody>
                    <a:bodyPr/>
                    <a:lstStyle/>
                    <a:p>
                      <a:pPr algn="l"/>
                      <a:r>
                        <a:rPr lang="en-CA" sz="1200">
                          <a:solidFill>
                            <a:srgbClr val="000000"/>
                          </a:solidFill>
                        </a:rPr>
                        <a:t>Maximum Message Size (MB)</a:t>
                      </a:r>
                      <a:br>
                        <a:rPr lang="en-CA" sz="1200">
                          <a:solidFill>
                            <a:srgbClr val="000000"/>
                          </a:solidFill>
                        </a:rPr>
                      </a:br>
                      <a:r>
                        <a:rPr lang="en-CA" sz="1200">
                          <a:solidFill>
                            <a:srgbClr val="000000"/>
                          </a:solidFill>
                        </a:rPr>
                        <a:t>Persistent</a:t>
                      </a:r>
                      <a:endParaRPr lang="en-CA" sz="1200">
                        <a:solidFill>
                          <a:srgbClr val="000000"/>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marT="25146" marB="25146" anchor="ctr">
                    <a:lnR w="12700" cap="flat" cmpd="sng" algn="ctr">
                      <a:solidFill>
                        <a:schemeClr val="tx1"/>
                      </a:solidFill>
                      <a:prstDash val="solid"/>
                      <a:round/>
                      <a:headEnd type="none" w="med" len="med"/>
                      <a:tailEnd type="none" w="med" len="med"/>
                    </a:lnR>
                  </a:tcPr>
                </a:tc>
                <a:tc>
                  <a:txBody>
                    <a:bodyPr/>
                    <a:lstStyle/>
                    <a:p>
                      <a:pPr algn="ctr"/>
                      <a:r>
                        <a:rPr lang="en-CA" sz="1200">
                          <a:solidFill>
                            <a:srgbClr val="000000"/>
                          </a:solidFill>
                        </a:rPr>
                        <a:t>10</a:t>
                      </a:r>
                      <a:endParaRPr lang="en-CA" sz="1200">
                        <a:solidFill>
                          <a:srgbClr val="000000"/>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marT="25146" marB="2514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gridSpan="2">
                  <a:txBody>
                    <a:bodyPr/>
                    <a:lstStyle/>
                    <a:p>
                      <a:pPr algn="ctr"/>
                      <a:r>
                        <a:rPr lang="en-CA" sz="1200">
                          <a:solidFill>
                            <a:srgbClr val="000000"/>
                          </a:solidFill>
                        </a:rPr>
                        <a:t>10</a:t>
                      </a:r>
                      <a:endParaRPr lang="en-CA" sz="1200">
                        <a:solidFill>
                          <a:srgbClr val="000000"/>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marT="25146" marB="25146" anchor="ctr">
                    <a:lnL w="12700" cap="flat" cmpd="sng" algn="ctr">
                      <a:solidFill>
                        <a:schemeClr val="tx1"/>
                      </a:solidFill>
                      <a:prstDash val="solid"/>
                      <a:round/>
                      <a:headEnd type="none" w="med" len="med"/>
                      <a:tailEnd type="none" w="med" len="med"/>
                    </a:lnL>
                    <a:lnR w="12700" cap="flat" cmpd="sng" algn="ctr">
                      <a:solidFill>
                        <a:schemeClr val="tx1"/>
                      </a:solidFill>
                      <a:prstDash val="dash"/>
                      <a:round/>
                      <a:headEnd type="none" w="med" len="med"/>
                      <a:tailEnd type="none" w="med" len="med"/>
                    </a:lnR>
                    <a:lnT>
                      <a:noFill/>
                    </a:lnT>
                  </a:tcPr>
                </a:tc>
                <a:tc hMerge="1">
                  <a:txBody>
                    <a:bodyPr/>
                    <a:lstStyle/>
                    <a:p>
                      <a:pPr algn="ctr"/>
                      <a:endParaRPr lang="en-CA" sz="1200">
                        <a:solidFill>
                          <a:srgbClr val="000000"/>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marT="25146" marB="25146"/>
                </a:tc>
                <a:tc gridSpan="4">
                  <a:txBody>
                    <a:bodyPr/>
                    <a:lstStyle/>
                    <a:p>
                      <a:pPr algn="ctr"/>
                      <a:r>
                        <a:rPr lang="en-CA" sz="1200" dirty="0">
                          <a:solidFill>
                            <a:srgbClr val="000000"/>
                          </a:solidFill>
                        </a:rPr>
                        <a:t>30</a:t>
                      </a:r>
                      <a:endParaRPr lang="en-CA" sz="1200" dirty="0">
                        <a:solidFill>
                          <a:srgbClr val="000000"/>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marT="25146" marB="25146" anchor="ctr">
                    <a:lnL w="12700" cap="flat" cmpd="sng" algn="ctr">
                      <a:solidFill>
                        <a:schemeClr val="tx1"/>
                      </a:solidFill>
                      <a:prstDash val="dash"/>
                      <a:round/>
                      <a:headEnd type="none" w="med" len="med"/>
                      <a:tailEnd type="none" w="med" len="med"/>
                    </a:lnL>
                    <a:lnT>
                      <a:noFill/>
                    </a:lnT>
                  </a:tcPr>
                </a:tc>
                <a:tc hMerge="1">
                  <a:txBody>
                    <a:bodyPr/>
                    <a:lstStyle/>
                    <a:p>
                      <a:pPr algn="ctr"/>
                      <a:endParaRPr lang="en-CA" sz="1200">
                        <a:solidFill>
                          <a:srgbClr val="000000"/>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marT="25146" marB="25146"/>
                </a:tc>
                <a:tc hMerge="1">
                  <a:txBody>
                    <a:bodyPr/>
                    <a:lstStyle/>
                    <a:p>
                      <a:pPr algn="ctr"/>
                      <a:endParaRPr lang="en-CA" sz="1200">
                        <a:solidFill>
                          <a:srgbClr val="000000"/>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marT="25146" marB="25146"/>
                </a:tc>
                <a:tc hMerge="1">
                  <a:txBody>
                    <a:bodyPr/>
                    <a:lstStyle/>
                    <a:p>
                      <a:pPr algn="ctr"/>
                      <a:endParaRPr lang="en-CA" sz="1200">
                        <a:solidFill>
                          <a:srgbClr val="000000"/>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marT="25146" marB="25146"/>
                </a:tc>
                <a:extLst>
                  <a:ext uri="{0D108BD9-81ED-4DB2-BD59-A6C34878D82A}">
                    <a16:rowId xmlns:a16="http://schemas.microsoft.com/office/drawing/2014/main" val="333976008"/>
                  </a:ext>
                </a:extLst>
              </a:tr>
              <a:tr h="276606">
                <a:tc>
                  <a:txBody>
                    <a:bodyPr/>
                    <a:lstStyle/>
                    <a:p>
                      <a:pPr algn="l"/>
                      <a:r>
                        <a:rPr lang="en-CA" sz="1200" kern="1200" dirty="0">
                          <a:solidFill>
                            <a:srgbClr val="000000"/>
                          </a:solidFill>
                        </a:rPr>
                        <a:t>Maximum Message Size (MB)</a:t>
                      </a:r>
                      <a:br>
                        <a:rPr lang="en-CA" sz="1200" kern="1200" dirty="0">
                          <a:solidFill>
                            <a:srgbClr val="000000"/>
                          </a:solidFill>
                        </a:rPr>
                      </a:br>
                      <a:r>
                        <a:rPr lang="en-CA" sz="1200" kern="1200" dirty="0">
                          <a:solidFill>
                            <a:srgbClr val="000000"/>
                          </a:solidFill>
                        </a:rPr>
                        <a:t>Non-Persistent</a:t>
                      </a:r>
                      <a:endParaRPr lang="en-CA" sz="1200" kern="1200" dirty="0">
                        <a:solidFill>
                          <a:srgbClr val="000000"/>
                        </a:solidFill>
                        <a:latin typeface="+mn-lt"/>
                        <a:ea typeface="+mn-ea"/>
                        <a:cs typeface="+mn-cs"/>
                      </a:endParaRPr>
                    </a:p>
                  </a:txBody>
                  <a:tcPr marL="45720" marR="45720" marT="25146" marB="25146" anchor="ctr">
                    <a:lnR w="12700" cap="flat" cmpd="sng" algn="ctr">
                      <a:solidFill>
                        <a:schemeClr val="tx1"/>
                      </a:solidFill>
                      <a:prstDash val="solid"/>
                      <a:round/>
                      <a:headEnd type="none" w="med" len="med"/>
                      <a:tailEnd type="none" w="med" len="med"/>
                    </a:lnR>
                  </a:tcPr>
                </a:tc>
                <a:tc>
                  <a:txBody>
                    <a:bodyPr/>
                    <a:lstStyle/>
                    <a:p>
                      <a:pPr algn="ctr"/>
                      <a:r>
                        <a:rPr lang="en-CA" sz="1200">
                          <a:solidFill>
                            <a:srgbClr val="000000"/>
                          </a:solidFill>
                        </a:rPr>
                        <a:t>10</a:t>
                      </a:r>
                      <a:endParaRPr lang="en-CA" sz="1200">
                        <a:solidFill>
                          <a:srgbClr val="000000"/>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marT="25146" marB="2514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ctr"/>
                      <a:r>
                        <a:rPr lang="en-CA" sz="1200">
                          <a:solidFill>
                            <a:srgbClr val="000000"/>
                          </a:solidFill>
                        </a:rPr>
                        <a:t>10</a:t>
                      </a:r>
                      <a:endParaRPr lang="en-CA" sz="1200">
                        <a:solidFill>
                          <a:srgbClr val="000000"/>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marT="25146" marB="25146" anchor="ctr">
                    <a:lnL w="12700" cap="flat" cmpd="sng" algn="ctr">
                      <a:solidFill>
                        <a:schemeClr val="tx1"/>
                      </a:solidFill>
                      <a:prstDash val="solid"/>
                      <a:round/>
                      <a:headEnd type="none" w="med" len="med"/>
                      <a:tailEnd type="none" w="med" len="med"/>
                    </a:lnL>
                    <a:lnR w="12700" cap="flat" cmpd="sng" algn="ctr">
                      <a:solidFill>
                        <a:schemeClr val="tx1"/>
                      </a:solidFill>
                      <a:prstDash val="dash"/>
                      <a:round/>
                      <a:headEnd type="none" w="med" len="med"/>
                      <a:tailEnd type="none" w="med" len="med"/>
                    </a:lnR>
                  </a:tcPr>
                </a:tc>
                <a:tc gridSpan="5">
                  <a:txBody>
                    <a:bodyPr/>
                    <a:lstStyle/>
                    <a:p>
                      <a:pPr algn="ctr"/>
                      <a:r>
                        <a:rPr lang="en-CA" sz="1200" dirty="0">
                          <a:solidFill>
                            <a:srgbClr val="000000"/>
                          </a:solidFill>
                        </a:rPr>
                        <a:t>64</a:t>
                      </a:r>
                      <a:endParaRPr lang="en-CA" sz="1200" dirty="0">
                        <a:solidFill>
                          <a:srgbClr val="000000"/>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marT="25146" marB="25146" anchor="ctr">
                    <a:lnL w="12700" cap="flat" cmpd="sng" algn="ctr">
                      <a:solidFill>
                        <a:schemeClr val="tx1"/>
                      </a:solidFill>
                      <a:prstDash val="dash"/>
                      <a:round/>
                      <a:headEnd type="none" w="med" len="med"/>
                      <a:tailEnd type="none" w="med" len="med"/>
                    </a:lnL>
                  </a:tcPr>
                </a:tc>
                <a:tc hMerge="1">
                  <a:txBody>
                    <a:bodyPr/>
                    <a:lstStyle/>
                    <a:p>
                      <a:pPr algn="ctr"/>
                      <a:endParaRPr lang="en-CA" sz="1200">
                        <a:solidFill>
                          <a:srgbClr val="000000"/>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marT="25146" marB="25146"/>
                </a:tc>
                <a:tc hMerge="1">
                  <a:txBody>
                    <a:bodyPr/>
                    <a:lstStyle/>
                    <a:p>
                      <a:pPr algn="ctr"/>
                      <a:endParaRPr lang="en-CA" sz="1200">
                        <a:solidFill>
                          <a:srgbClr val="000000"/>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marT="25146" marB="25146"/>
                </a:tc>
                <a:tc hMerge="1">
                  <a:txBody>
                    <a:bodyPr/>
                    <a:lstStyle/>
                    <a:p>
                      <a:pPr algn="ctr"/>
                      <a:endParaRPr lang="en-CA" sz="1200">
                        <a:solidFill>
                          <a:srgbClr val="000000"/>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marT="25146" marB="25146"/>
                </a:tc>
                <a:tc hMerge="1">
                  <a:txBody>
                    <a:bodyPr/>
                    <a:lstStyle/>
                    <a:p>
                      <a:pPr algn="ctr"/>
                      <a:endParaRPr lang="en-CA" sz="1200">
                        <a:solidFill>
                          <a:srgbClr val="000000"/>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marT="25146" marB="25146"/>
                </a:tc>
                <a:extLst>
                  <a:ext uri="{0D108BD9-81ED-4DB2-BD59-A6C34878D82A}">
                    <a16:rowId xmlns:a16="http://schemas.microsoft.com/office/drawing/2014/main" val="2296002543"/>
                  </a:ext>
                </a:extLst>
              </a:tr>
            </a:tbl>
          </a:graphicData>
        </a:graphic>
      </p:graphicFrame>
      <p:pic>
        <p:nvPicPr>
          <p:cNvPr id="4" name="Picture 3">
            <a:extLst>
              <a:ext uri="{FF2B5EF4-FFF2-40B4-BE49-F238E27FC236}">
                <a16:creationId xmlns:a16="http://schemas.microsoft.com/office/drawing/2014/main" id="{C54110D7-C089-84F0-523A-3A9ED2D727E8}"/>
              </a:ext>
            </a:extLst>
          </p:cNvPr>
          <p:cNvPicPr>
            <a:picLocks noChangeAspect="1"/>
          </p:cNvPicPr>
          <p:nvPr/>
        </p:nvPicPr>
        <p:blipFill>
          <a:blip r:embed="rId3"/>
          <a:srcRect/>
          <a:stretch/>
        </p:blipFill>
        <p:spPr>
          <a:xfrm>
            <a:off x="9837737" y="813532"/>
            <a:ext cx="740053" cy="756000"/>
          </a:xfrm>
          <a:prstGeom prst="rect">
            <a:avLst/>
          </a:prstGeom>
        </p:spPr>
      </p:pic>
      <p:pic>
        <p:nvPicPr>
          <p:cNvPr id="5" name="Picture 4">
            <a:extLst>
              <a:ext uri="{FF2B5EF4-FFF2-40B4-BE49-F238E27FC236}">
                <a16:creationId xmlns:a16="http://schemas.microsoft.com/office/drawing/2014/main" id="{5B282F8F-3F13-D706-CED7-2A16B93A0E32}"/>
              </a:ext>
            </a:extLst>
          </p:cNvPr>
          <p:cNvPicPr>
            <a:picLocks noChangeAspect="1"/>
          </p:cNvPicPr>
          <p:nvPr/>
        </p:nvPicPr>
        <p:blipFill>
          <a:blip r:embed="rId4"/>
          <a:srcRect/>
          <a:stretch/>
        </p:blipFill>
        <p:spPr>
          <a:xfrm>
            <a:off x="8627167" y="885532"/>
            <a:ext cx="669572" cy="684000"/>
          </a:xfrm>
          <a:prstGeom prst="rect">
            <a:avLst/>
          </a:prstGeom>
        </p:spPr>
      </p:pic>
      <p:pic>
        <p:nvPicPr>
          <p:cNvPr id="6" name="Picture 5">
            <a:extLst>
              <a:ext uri="{FF2B5EF4-FFF2-40B4-BE49-F238E27FC236}">
                <a16:creationId xmlns:a16="http://schemas.microsoft.com/office/drawing/2014/main" id="{AB3CB9D5-10D8-5B25-2817-D9E54C3685C6}"/>
              </a:ext>
            </a:extLst>
          </p:cNvPr>
          <p:cNvPicPr>
            <a:picLocks noChangeAspect="1"/>
          </p:cNvPicPr>
          <p:nvPr/>
        </p:nvPicPr>
        <p:blipFill>
          <a:blip r:embed="rId5" cstate="screen">
            <a:extLst>
              <a:ext uri="{28A0092B-C50C-407E-A947-70E740481C1C}">
                <a14:useLocalDpi xmlns:a14="http://schemas.microsoft.com/office/drawing/2010/main"/>
              </a:ext>
            </a:extLst>
          </a:blip>
          <a:srcRect/>
          <a:stretch/>
        </p:blipFill>
        <p:spPr>
          <a:xfrm>
            <a:off x="7419839" y="957532"/>
            <a:ext cx="593821" cy="612000"/>
          </a:xfrm>
          <a:prstGeom prst="rect">
            <a:avLst/>
          </a:prstGeom>
        </p:spPr>
      </p:pic>
      <p:pic>
        <p:nvPicPr>
          <p:cNvPr id="7" name="Picture 6">
            <a:extLst>
              <a:ext uri="{FF2B5EF4-FFF2-40B4-BE49-F238E27FC236}">
                <a16:creationId xmlns:a16="http://schemas.microsoft.com/office/drawing/2014/main" id="{50FB4782-93A0-569B-8B71-C5C90F1F074F}"/>
              </a:ext>
            </a:extLst>
          </p:cNvPr>
          <p:cNvPicPr>
            <a:picLocks noChangeAspect="1"/>
          </p:cNvPicPr>
          <p:nvPr/>
        </p:nvPicPr>
        <p:blipFill>
          <a:blip r:embed="rId6" cstate="screen">
            <a:extLst>
              <a:ext uri="{28A0092B-C50C-407E-A947-70E740481C1C}">
                <a14:useLocalDpi xmlns:a14="http://schemas.microsoft.com/office/drawing/2010/main"/>
              </a:ext>
            </a:extLst>
          </a:blip>
          <a:srcRect/>
          <a:stretch/>
        </p:blipFill>
        <p:spPr>
          <a:xfrm>
            <a:off x="6218309" y="1029532"/>
            <a:ext cx="528609" cy="540000"/>
          </a:xfrm>
          <a:prstGeom prst="rect">
            <a:avLst/>
          </a:prstGeom>
        </p:spPr>
      </p:pic>
      <p:pic>
        <p:nvPicPr>
          <p:cNvPr id="8" name="Picture 7">
            <a:extLst>
              <a:ext uri="{FF2B5EF4-FFF2-40B4-BE49-F238E27FC236}">
                <a16:creationId xmlns:a16="http://schemas.microsoft.com/office/drawing/2014/main" id="{A763CD7C-0745-B3E5-A8EE-300ED310E587}"/>
              </a:ext>
            </a:extLst>
          </p:cNvPr>
          <p:cNvPicPr>
            <a:picLocks noChangeAspect="1"/>
          </p:cNvPicPr>
          <p:nvPr/>
        </p:nvPicPr>
        <p:blipFill>
          <a:blip r:embed="rId7"/>
          <a:srcRect/>
          <a:stretch/>
        </p:blipFill>
        <p:spPr>
          <a:xfrm>
            <a:off x="5113090" y="1101532"/>
            <a:ext cx="458126" cy="468000"/>
          </a:xfrm>
          <a:prstGeom prst="rect">
            <a:avLst/>
          </a:prstGeom>
        </p:spPr>
      </p:pic>
      <p:pic>
        <p:nvPicPr>
          <p:cNvPr id="9" name="Picture 8">
            <a:extLst>
              <a:ext uri="{FF2B5EF4-FFF2-40B4-BE49-F238E27FC236}">
                <a16:creationId xmlns:a16="http://schemas.microsoft.com/office/drawing/2014/main" id="{52708A79-6D33-C1B7-09EE-95BC540B81AB}"/>
              </a:ext>
            </a:extLst>
          </p:cNvPr>
          <p:cNvPicPr>
            <a:picLocks noChangeAspect="1"/>
          </p:cNvPicPr>
          <p:nvPr/>
        </p:nvPicPr>
        <p:blipFill>
          <a:blip r:embed="rId8"/>
          <a:srcRect/>
          <a:stretch/>
        </p:blipFill>
        <p:spPr>
          <a:xfrm>
            <a:off x="4267381" y="1173532"/>
            <a:ext cx="383815" cy="396000"/>
          </a:xfrm>
          <a:prstGeom prst="rect">
            <a:avLst/>
          </a:prstGeom>
        </p:spPr>
      </p:pic>
      <p:pic>
        <p:nvPicPr>
          <p:cNvPr id="10" name="Picture 9">
            <a:extLst>
              <a:ext uri="{FF2B5EF4-FFF2-40B4-BE49-F238E27FC236}">
                <a16:creationId xmlns:a16="http://schemas.microsoft.com/office/drawing/2014/main" id="{0931131E-0A3B-3ABB-21A6-9D183AE65344}"/>
              </a:ext>
            </a:extLst>
          </p:cNvPr>
          <p:cNvPicPr>
            <a:picLocks noChangeAspect="1"/>
          </p:cNvPicPr>
          <p:nvPr/>
        </p:nvPicPr>
        <p:blipFill>
          <a:blip r:embed="rId9"/>
          <a:srcRect/>
          <a:stretch/>
        </p:blipFill>
        <p:spPr>
          <a:xfrm>
            <a:off x="3515169" y="1245532"/>
            <a:ext cx="317165" cy="324000"/>
          </a:xfrm>
          <a:prstGeom prst="rect">
            <a:avLst/>
          </a:prstGeom>
        </p:spPr>
      </p:pic>
      <p:sp>
        <p:nvSpPr>
          <p:cNvPr id="11" name="TextBox 10">
            <a:extLst>
              <a:ext uri="{FF2B5EF4-FFF2-40B4-BE49-F238E27FC236}">
                <a16:creationId xmlns:a16="http://schemas.microsoft.com/office/drawing/2014/main" id="{1BF0B0C0-4AC8-F8CA-DC2D-F13459B20285}"/>
              </a:ext>
            </a:extLst>
          </p:cNvPr>
          <p:cNvSpPr txBox="1"/>
          <p:nvPr/>
        </p:nvSpPr>
        <p:spPr>
          <a:xfrm>
            <a:off x="1068314" y="5585817"/>
            <a:ext cx="9781550" cy="484748"/>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GB" sz="1050" kern="0" baseline="30000">
                <a:ea typeface="Arial Unicode MS" pitchFamily="34" charset="-128"/>
                <a:cs typeface="Arial Unicode MS" pitchFamily="34" charset="-128"/>
              </a:rPr>
              <a:t>1) </a:t>
            </a:r>
            <a:r>
              <a:rPr lang="en-GB" sz="1050" kern="0">
                <a:ea typeface="Arial Unicode MS" pitchFamily="34" charset="-128"/>
                <a:cs typeface="Arial Unicode MS" pitchFamily="34" charset="-128"/>
              </a:rPr>
              <a:t>A scaling tier determines how many resources a broker pre-allocates (CPU cores, RAM etc) and this shapes various resources and their limits available to clients, like – most importantly - number of max concurrent connections and queues, but also more. See </a:t>
            </a:r>
            <a:r>
              <a:rPr lang="en-GB" sz="1050" kern="0">
                <a:ea typeface="Arial Unicode MS" pitchFamily="34" charset="-128"/>
                <a:cs typeface="Arial Unicode MS" pitchFamily="34" charset="-128"/>
                <a:hlinkClick r:id="rId10"/>
              </a:rPr>
              <a:t>here</a:t>
            </a:r>
            <a:r>
              <a:rPr lang="en-GB" sz="1050" kern="0">
                <a:ea typeface="Arial Unicode MS" pitchFamily="34" charset="-128"/>
                <a:cs typeface="Arial Unicode MS" pitchFamily="34" charset="-128"/>
              </a:rPr>
              <a:t> for more details.</a:t>
            </a:r>
            <a:br>
              <a:rPr lang="en-GB" sz="1050" kern="0">
                <a:ea typeface="Arial Unicode MS" pitchFamily="34" charset="-128"/>
                <a:cs typeface="Arial Unicode MS" pitchFamily="34" charset="-128"/>
              </a:rPr>
            </a:br>
            <a:r>
              <a:rPr lang="en-GB" sz="1050" kern="0" baseline="30000">
                <a:ea typeface="Arial Unicode MS" pitchFamily="34" charset="-128"/>
                <a:cs typeface="Arial Unicode MS" pitchFamily="34" charset="-128"/>
              </a:rPr>
              <a:t>2)</a:t>
            </a:r>
            <a:r>
              <a:rPr lang="en-GB" sz="1050" kern="0">
                <a:ea typeface="Arial Unicode MS" pitchFamily="34" charset="-128"/>
                <a:cs typeface="Arial Unicode MS" pitchFamily="34" charset="-128"/>
              </a:rPr>
              <a:t> See </a:t>
            </a:r>
            <a:r>
              <a:rPr lang="en-GB" sz="1050" kern="0">
                <a:ea typeface="Arial Unicode MS" pitchFamily="34" charset="-128"/>
                <a:cs typeface="Arial Unicode MS" pitchFamily="34" charset="-128"/>
                <a:hlinkClick r:id="rId11"/>
              </a:rPr>
              <a:t>https://help.pubsub.em.services.cloud.sap/Cloud/Configure-Message-Spools.htm</a:t>
            </a:r>
            <a:r>
              <a:rPr lang="en-GB" sz="1050" kern="0">
                <a:ea typeface="Arial Unicode MS" pitchFamily="34" charset="-128"/>
                <a:cs typeface="Arial Unicode MS" pitchFamily="34" charset="-128"/>
              </a:rPr>
              <a:t> for details.</a:t>
            </a:r>
            <a:endParaRPr lang="en-GB" sz="1800" kern="0">
              <a:ea typeface="Arial Unicode MS" pitchFamily="34" charset="-128"/>
              <a:cs typeface="Arial Unicode MS" pitchFamily="34" charset="-128"/>
            </a:endParaRPr>
          </a:p>
        </p:txBody>
      </p:sp>
    </p:spTree>
    <p:extLst>
      <p:ext uri="{BB962C8B-B14F-4D97-AF65-F5344CB8AC3E}">
        <p14:creationId xmlns:p14="http://schemas.microsoft.com/office/powerpoint/2010/main" val="977939964"/>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5"/>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6"/>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7"/>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8"/>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9"/>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E9767875-CFAB-1043-9353-0E325593BA7C}"/>
              </a:ext>
            </a:extLst>
          </p:cNvPr>
          <p:cNvSpPr>
            <a:spLocks noGrp="1"/>
          </p:cNvSpPr>
          <p:nvPr>
            <p:ph type="title"/>
          </p:nvPr>
        </p:nvSpPr>
        <p:spPr>
          <a:xfrm>
            <a:off x="504000" y="259200"/>
            <a:ext cx="11186476" cy="369332"/>
          </a:xfrm>
        </p:spPr>
        <p:txBody>
          <a:bodyPr/>
          <a:lstStyle/>
          <a:p>
            <a:r>
              <a:rPr lang="en-US" dirty="0"/>
              <a:t>Mesh Manager for creating and managing your Mesh</a:t>
            </a:r>
          </a:p>
        </p:txBody>
      </p:sp>
      <p:pic>
        <p:nvPicPr>
          <p:cNvPr id="2" name="Picture 1">
            <a:extLst>
              <a:ext uri="{FF2B5EF4-FFF2-40B4-BE49-F238E27FC236}">
                <a16:creationId xmlns:a16="http://schemas.microsoft.com/office/drawing/2014/main" id="{BB9E44A5-DFB2-CE71-378F-9EC8AAC0D321}"/>
              </a:ext>
            </a:extLst>
          </p:cNvPr>
          <p:cNvPicPr>
            <a:picLocks noChangeAspect="1"/>
          </p:cNvPicPr>
          <p:nvPr/>
        </p:nvPicPr>
        <p:blipFill rotWithShape="1">
          <a:blip r:embed="rId2"/>
          <a:stretch/>
        </p:blipFill>
        <p:spPr>
          <a:xfrm>
            <a:off x="418502" y="1127574"/>
            <a:ext cx="8627527" cy="5312920"/>
          </a:xfrm>
          <a:prstGeom prst="rect">
            <a:avLst/>
          </a:prstGeom>
          <a:noFill/>
        </p:spPr>
      </p:pic>
      <p:pic>
        <p:nvPicPr>
          <p:cNvPr id="3" name="Picture Placeholder 7">
            <a:extLst>
              <a:ext uri="{FF2B5EF4-FFF2-40B4-BE49-F238E27FC236}">
                <a16:creationId xmlns:a16="http://schemas.microsoft.com/office/drawing/2014/main" id="{BB8662CE-A2A2-96B3-BB67-00EA7C0CCC36}"/>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l="2090" r="2090"/>
          <a:stretch/>
        </p:blipFill>
        <p:spPr>
          <a:xfrm>
            <a:off x="9131300" y="126206"/>
            <a:ext cx="3063875" cy="6605587"/>
          </a:xfrm>
          <a:prstGeom prst="rect">
            <a:avLst/>
          </a:prstGeom>
        </p:spPr>
      </p:pic>
    </p:spTree>
    <p:extLst>
      <p:ext uri="{BB962C8B-B14F-4D97-AF65-F5344CB8AC3E}">
        <p14:creationId xmlns:p14="http://schemas.microsoft.com/office/powerpoint/2010/main" val="655390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841AF2EE-74FC-472C-8B32-F66FA8FA3B32}"/>
              </a:ext>
            </a:extLst>
          </p:cNvPr>
          <p:cNvSpPr/>
          <p:nvPr/>
        </p:nvSpPr>
        <p:spPr bwMode="gray">
          <a:xfrm>
            <a:off x="0" y="-58193"/>
            <a:ext cx="3492965" cy="6846905"/>
          </a:xfrm>
          <a:prstGeom prst="rect">
            <a:avLst/>
          </a:prstGeom>
          <a:solidFill>
            <a:schemeClr val="accent3"/>
          </a:solidFill>
          <a:ln w="25400" algn="ctr">
            <a:solidFill>
              <a:schemeClr val="accent4"/>
            </a:solidFill>
            <a:miter lim="800000"/>
            <a:headEnd/>
            <a:tailEnd/>
          </a:ln>
        </p:spPr>
        <p:txBody>
          <a:bodyPr lIns="89854" tIns="71884" rIns="89854" bIns="71884" rtlCol="0" anchor="ctr"/>
          <a:lstStyle/>
          <a:p>
            <a:pPr algn="ctr" defTabSz="912937" fontAlgn="base">
              <a:spcBef>
                <a:spcPct val="50000"/>
              </a:spcBef>
              <a:spcAft>
                <a:spcPct val="0"/>
              </a:spcAft>
              <a:buClr>
                <a:srgbClr val="F0AB00"/>
              </a:buClr>
              <a:buSzPct val="80000"/>
            </a:pPr>
            <a:endParaRPr lang="de-DE" sz="1797" kern="0">
              <a:solidFill>
                <a:srgbClr val="000000"/>
              </a:solidFill>
              <a:ea typeface="Arial Unicode MS" pitchFamily="34" charset="-128"/>
              <a:cs typeface="Arial Unicode MS" pitchFamily="34" charset="-128"/>
            </a:endParaRPr>
          </a:p>
        </p:txBody>
      </p:sp>
      <p:sp>
        <p:nvSpPr>
          <p:cNvPr id="4" name="Title"/>
          <p:cNvSpPr>
            <a:spLocks noGrp="1"/>
          </p:cNvSpPr>
          <p:nvPr>
            <p:ph type="title"/>
          </p:nvPr>
        </p:nvSpPr>
        <p:spPr bwMode="gray">
          <a:xfrm>
            <a:off x="234529" y="454570"/>
            <a:ext cx="3058346" cy="3377848"/>
          </a:xfrm>
        </p:spPr>
        <p:txBody>
          <a:bodyPr/>
          <a:lstStyle/>
          <a:p>
            <a:r>
              <a:rPr lang="en-US" sz="3200" dirty="0">
                <a:solidFill>
                  <a:schemeClr val="bg1"/>
                </a:solidFill>
              </a:rPr>
              <a:t>Exercise Flow</a:t>
            </a:r>
            <a:br>
              <a:rPr lang="en-US" sz="3200" dirty="0"/>
            </a:br>
            <a:r>
              <a:rPr lang="en-US" sz="1600" b="1" noProof="0" dirty="0"/>
              <a:t>Digital Integration Hub </a:t>
            </a:r>
            <a:br>
              <a:rPr lang="en-US" sz="1600" b="1" noProof="0" dirty="0"/>
            </a:br>
            <a:br>
              <a:rPr lang="en-US" sz="1600" b="1" noProof="0" dirty="0"/>
            </a:br>
            <a:r>
              <a:rPr lang="en-US" sz="1600" b="1" noProof="0" dirty="0"/>
              <a:t>Topic  1</a:t>
            </a:r>
            <a:br>
              <a:rPr lang="en-US" sz="3200" noProof="0" dirty="0"/>
            </a:br>
            <a:br>
              <a:rPr lang="en-US" sz="1050" b="0" noProof="0" dirty="0"/>
            </a:br>
            <a:r>
              <a:rPr lang="de-DE" sz="1050" dirty="0">
                <a:cs typeface="Arial"/>
              </a:rPr>
              <a:t>1. Start </a:t>
            </a:r>
            <a:r>
              <a:rPr lang="en-US" sz="1050" dirty="0">
                <a:cs typeface="Arial"/>
              </a:rPr>
              <a:t>Advanced Event Mesh </a:t>
            </a:r>
            <a:br>
              <a:rPr lang="en-US" sz="1050" dirty="0">
                <a:cs typeface="Arial"/>
              </a:rPr>
            </a:br>
            <a:r>
              <a:rPr lang="en-US" sz="1050" dirty="0">
                <a:cs typeface="Arial"/>
              </a:rPr>
              <a:t>2. Create Message  Broker and Event Mesh </a:t>
            </a:r>
            <a:br>
              <a:rPr lang="en-US" sz="1050" dirty="0">
                <a:cs typeface="Arial"/>
              </a:rPr>
            </a:br>
            <a:r>
              <a:rPr lang="en-US" sz="1050" dirty="0">
                <a:cs typeface="Arial"/>
              </a:rPr>
              <a:t>3. Deploy ERP Simulator within CF Runtime ( will be provided)</a:t>
            </a:r>
            <a:br>
              <a:rPr lang="en-US" sz="1050" dirty="0">
                <a:cs typeface="Arial"/>
              </a:rPr>
            </a:br>
            <a:r>
              <a:rPr lang="en-US" sz="1050" dirty="0">
                <a:cs typeface="Arial"/>
              </a:rPr>
              <a:t>          Create Test Events</a:t>
            </a:r>
            <a:br>
              <a:rPr lang="en-US" sz="1050" dirty="0">
                <a:cs typeface="Arial"/>
              </a:rPr>
            </a:br>
            <a:r>
              <a:rPr lang="en-US" sz="1050" dirty="0">
                <a:cs typeface="Arial"/>
              </a:rPr>
              <a:t>          Consume via SAP AEM Tryout</a:t>
            </a:r>
            <a:br>
              <a:rPr lang="en-US" sz="1050" dirty="0">
                <a:cs typeface="Arial"/>
              </a:rPr>
            </a:br>
            <a:r>
              <a:rPr lang="en-US" sz="1050" dirty="0">
                <a:cs typeface="Arial"/>
              </a:rPr>
              <a:t>4. Usage of Event Dashboard,  Display/ Consume Events</a:t>
            </a:r>
            <a:br>
              <a:rPr lang="en-US" sz="1050" b="1" dirty="0">
                <a:solidFill>
                  <a:srgbClr val="427CAC"/>
                </a:solidFill>
                <a:latin typeface="Arial" charset="0"/>
                <a:ea typeface="Arial" charset="0"/>
                <a:cs typeface="Arial" charset="0"/>
              </a:rPr>
            </a:br>
            <a:br>
              <a:rPr lang="en-US" sz="900" b="1" dirty="0">
                <a:solidFill>
                  <a:srgbClr val="427CAC"/>
                </a:solidFill>
                <a:latin typeface="Arial" charset="0"/>
                <a:ea typeface="Arial" charset="0"/>
                <a:cs typeface="Arial" charset="0"/>
              </a:rPr>
            </a:br>
            <a:br>
              <a:rPr lang="en-US" sz="900" b="0" dirty="0"/>
            </a:br>
            <a:br>
              <a:rPr lang="en-US" sz="900" b="0" dirty="0"/>
            </a:br>
            <a:br>
              <a:rPr lang="en-US" sz="900" b="0" dirty="0"/>
            </a:br>
            <a:endParaRPr lang="en-US" sz="900" b="0" dirty="0"/>
          </a:p>
        </p:txBody>
      </p:sp>
      <p:sp>
        <p:nvSpPr>
          <p:cNvPr id="33" name="Rechteck 9">
            <a:extLst>
              <a:ext uri="{FF2B5EF4-FFF2-40B4-BE49-F238E27FC236}">
                <a16:creationId xmlns:a16="http://schemas.microsoft.com/office/drawing/2014/main" id="{ECD4176E-3307-4AEE-B858-A8911D07832D}"/>
              </a:ext>
            </a:extLst>
          </p:cNvPr>
          <p:cNvSpPr/>
          <p:nvPr/>
        </p:nvSpPr>
        <p:spPr>
          <a:xfrm>
            <a:off x="3891664" y="5963992"/>
            <a:ext cx="7621001" cy="718835"/>
          </a:xfrm>
          <a:prstGeom prst="rect">
            <a:avLst/>
          </a:prstGeom>
          <a:solidFill>
            <a:schemeClr val="bg1"/>
          </a:solidFill>
          <a:ln w="19050" cap="rnd">
            <a:solidFill>
              <a:srgbClr val="427CAC"/>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71884" tIns="71884" rIns="71884" bIns="71884" rtlCol="0" anchor="t"/>
          <a:lstStyle/>
          <a:p>
            <a:pPr defTabSz="1087034"/>
            <a:r>
              <a:rPr lang="en-US" sz="998">
                <a:solidFill>
                  <a:srgbClr val="000000">
                    <a:lumMod val="65000"/>
                    <a:lumOff val="35000"/>
                  </a:srgbClr>
                </a:solidFill>
                <a:latin typeface="Arial" charset="0"/>
                <a:ea typeface="Arial" charset="0"/>
                <a:cs typeface="Arial" charset="0"/>
              </a:rPr>
              <a:t>On Premise </a:t>
            </a:r>
            <a:br>
              <a:rPr lang="en-US" sz="998">
                <a:solidFill>
                  <a:srgbClr val="000000">
                    <a:lumMod val="65000"/>
                    <a:lumOff val="35000"/>
                  </a:srgbClr>
                </a:solidFill>
                <a:latin typeface="Arial" charset="0"/>
                <a:ea typeface="Arial" charset="0"/>
                <a:cs typeface="Arial" charset="0"/>
              </a:rPr>
            </a:br>
            <a:r>
              <a:rPr lang="en-US" sz="998">
                <a:solidFill>
                  <a:srgbClr val="000000">
                    <a:lumMod val="65000"/>
                    <a:lumOff val="35000"/>
                  </a:srgbClr>
                </a:solidFill>
                <a:latin typeface="Arial" charset="0"/>
                <a:ea typeface="Arial" charset="0"/>
                <a:cs typeface="Arial" charset="0"/>
              </a:rPr>
              <a:t>Apps I Data I Users | Things </a:t>
            </a:r>
          </a:p>
        </p:txBody>
      </p:sp>
      <p:sp>
        <p:nvSpPr>
          <p:cNvPr id="38" name="Rechteck 9">
            <a:extLst>
              <a:ext uri="{FF2B5EF4-FFF2-40B4-BE49-F238E27FC236}">
                <a16:creationId xmlns:a16="http://schemas.microsoft.com/office/drawing/2014/main" id="{EAD16E8C-38D0-4B49-8EF7-A47E41270DB8}"/>
              </a:ext>
            </a:extLst>
          </p:cNvPr>
          <p:cNvSpPr/>
          <p:nvPr/>
        </p:nvSpPr>
        <p:spPr>
          <a:xfrm>
            <a:off x="3915613" y="424256"/>
            <a:ext cx="7597053" cy="814181"/>
          </a:xfrm>
          <a:prstGeom prst="rect">
            <a:avLst/>
          </a:prstGeom>
          <a:noFill/>
          <a:ln w="19050" cap="rnd">
            <a:solidFill>
              <a:srgbClr val="427CAC"/>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71884" tIns="71884" rIns="71884" bIns="71884" rtlCol="0" anchor="t"/>
          <a:lstStyle/>
          <a:p>
            <a:pPr defTabSz="1087034"/>
            <a:r>
              <a:rPr lang="en-US" sz="998">
                <a:solidFill>
                  <a:srgbClr val="000000">
                    <a:lumMod val="65000"/>
                    <a:lumOff val="35000"/>
                  </a:srgbClr>
                </a:solidFill>
                <a:latin typeface="Arial" charset="0"/>
                <a:ea typeface="Arial" charset="0"/>
                <a:cs typeface="Arial" charset="0"/>
              </a:rPr>
              <a:t>Public Cloud </a:t>
            </a:r>
            <a:br>
              <a:rPr lang="en-US" sz="998">
                <a:solidFill>
                  <a:srgbClr val="000000">
                    <a:lumMod val="65000"/>
                    <a:lumOff val="35000"/>
                  </a:srgbClr>
                </a:solidFill>
                <a:latin typeface="Arial" charset="0"/>
                <a:ea typeface="Arial" charset="0"/>
                <a:cs typeface="Arial" charset="0"/>
              </a:rPr>
            </a:br>
            <a:r>
              <a:rPr lang="en-US" sz="998">
                <a:solidFill>
                  <a:srgbClr val="000000">
                    <a:lumMod val="65000"/>
                    <a:lumOff val="35000"/>
                  </a:srgbClr>
                </a:solidFill>
                <a:latin typeface="Arial" charset="0"/>
                <a:ea typeface="Arial" charset="0"/>
                <a:cs typeface="Arial" charset="0"/>
              </a:rPr>
              <a:t>Apps I Data I Users | Things </a:t>
            </a:r>
          </a:p>
        </p:txBody>
      </p:sp>
      <p:sp>
        <p:nvSpPr>
          <p:cNvPr id="51" name="Rectangle 50">
            <a:extLst>
              <a:ext uri="{FF2B5EF4-FFF2-40B4-BE49-F238E27FC236}">
                <a16:creationId xmlns:a16="http://schemas.microsoft.com/office/drawing/2014/main" id="{598E4FEB-2843-4C1C-B954-8794B2126AB9}"/>
              </a:ext>
            </a:extLst>
          </p:cNvPr>
          <p:cNvSpPr/>
          <p:nvPr/>
        </p:nvSpPr>
        <p:spPr bwMode="gray">
          <a:xfrm>
            <a:off x="3891663" y="4117414"/>
            <a:ext cx="7621001" cy="1437670"/>
          </a:xfrm>
          <a:prstGeom prst="rect">
            <a:avLst/>
          </a:prstGeom>
          <a:solidFill>
            <a:schemeClr val="bg1">
              <a:lumMod val="95000"/>
            </a:schemeClr>
          </a:solidFill>
          <a:ln w="12700" algn="ctr">
            <a:noFill/>
            <a:prstDash val="solid"/>
            <a:miter lim="800000"/>
            <a:headEnd/>
            <a:tailEnd/>
          </a:ln>
        </p:spPr>
        <p:txBody>
          <a:bodyPr lIns="89854" tIns="71884" rIns="89854" bIns="71884" rtlCol="0" anchor="t"/>
          <a:lstStyle/>
          <a:p>
            <a:pPr defTabSz="912937" fontAlgn="base">
              <a:spcBef>
                <a:spcPct val="50000"/>
              </a:spcBef>
              <a:spcAft>
                <a:spcPct val="0"/>
              </a:spcAft>
              <a:buClr>
                <a:srgbClr val="F0AB00"/>
              </a:buClr>
              <a:buSzPct val="80000"/>
            </a:pPr>
            <a:r>
              <a:rPr lang="en-US" sz="1098" kern="0">
                <a:solidFill>
                  <a:srgbClr val="427CAC"/>
                </a:solidFill>
                <a:ea typeface="Arial Unicode MS" pitchFamily="34" charset="-128"/>
                <a:cs typeface="Arial"/>
              </a:rPr>
              <a:t>On-Premise</a:t>
            </a:r>
            <a:br>
              <a:rPr lang="en-US" sz="1098" kern="0">
                <a:solidFill>
                  <a:srgbClr val="427CAC"/>
                </a:solidFill>
                <a:ea typeface="Arial Unicode MS" pitchFamily="34" charset="-128"/>
                <a:cs typeface="Arial"/>
              </a:rPr>
            </a:br>
            <a:r>
              <a:rPr lang="en-US" sz="1098" kern="0">
                <a:solidFill>
                  <a:srgbClr val="427CAC"/>
                </a:solidFill>
                <a:ea typeface="Arial Unicode MS" pitchFamily="34" charset="-128"/>
                <a:cs typeface="Arial"/>
              </a:rPr>
              <a:t>Integration </a:t>
            </a:r>
            <a:br>
              <a:rPr lang="en-US" sz="1098" kern="0">
                <a:solidFill>
                  <a:srgbClr val="427CAC"/>
                </a:solidFill>
                <a:ea typeface="Arial Unicode MS" pitchFamily="34" charset="-128"/>
                <a:cs typeface="Arial"/>
              </a:rPr>
            </a:br>
            <a:r>
              <a:rPr lang="en-US" sz="1098" kern="0">
                <a:solidFill>
                  <a:srgbClr val="427CAC"/>
                </a:solidFill>
                <a:ea typeface="Arial Unicode MS" pitchFamily="34" charset="-128"/>
                <a:cs typeface="Arial"/>
              </a:rPr>
              <a:t>Components </a:t>
            </a:r>
          </a:p>
        </p:txBody>
      </p:sp>
      <p:sp>
        <p:nvSpPr>
          <p:cNvPr id="72" name="Rectangle 71">
            <a:extLst>
              <a:ext uri="{FF2B5EF4-FFF2-40B4-BE49-F238E27FC236}">
                <a16:creationId xmlns:a16="http://schemas.microsoft.com/office/drawing/2014/main" id="{975858A8-7A1E-480C-A754-9B42AA1B2D0D}"/>
              </a:ext>
            </a:extLst>
          </p:cNvPr>
          <p:cNvSpPr/>
          <p:nvPr/>
        </p:nvSpPr>
        <p:spPr bwMode="gray">
          <a:xfrm>
            <a:off x="5780827" y="496198"/>
            <a:ext cx="2129162" cy="672019"/>
          </a:xfrm>
          <a:prstGeom prst="rect">
            <a:avLst/>
          </a:prstGeom>
          <a:noFill/>
          <a:ln w="19050" cap="rnd">
            <a:solidFill>
              <a:srgbClr val="1A9898"/>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71884" tIns="71884" rIns="71884" bIns="71884" rtlCol="0" anchor="t" anchorCtr="0"/>
          <a:lstStyle/>
          <a:p>
            <a:pPr algn="ctr" defTabSz="1087034" fontAlgn="base">
              <a:spcBef>
                <a:spcPts val="599"/>
              </a:spcBef>
              <a:spcAft>
                <a:spcPct val="0"/>
              </a:spcAft>
              <a:buClr>
                <a:srgbClr val="F0AB00"/>
              </a:buClr>
              <a:buSzPct val="80000"/>
              <a:defRPr/>
            </a:pPr>
            <a:r>
              <a:rPr lang="en-US" sz="1098" b="1" kern="0">
                <a:solidFill>
                  <a:srgbClr val="1A9898"/>
                </a:solidFill>
                <a:latin typeface="BentonSans Bold" charset="0"/>
                <a:ea typeface="BentonSans Bold" charset="0"/>
                <a:cs typeface="BentonSans Bold" charset="0"/>
              </a:rPr>
              <a:t> </a:t>
            </a:r>
          </a:p>
        </p:txBody>
      </p:sp>
      <p:grpSp>
        <p:nvGrpSpPr>
          <p:cNvPr id="2" name="Group 1">
            <a:extLst>
              <a:ext uri="{FF2B5EF4-FFF2-40B4-BE49-F238E27FC236}">
                <a16:creationId xmlns:a16="http://schemas.microsoft.com/office/drawing/2014/main" id="{28C95EE2-E27C-4F54-95FC-65B597D934ED}"/>
              </a:ext>
            </a:extLst>
          </p:cNvPr>
          <p:cNvGrpSpPr/>
          <p:nvPr/>
        </p:nvGrpSpPr>
        <p:grpSpPr>
          <a:xfrm>
            <a:off x="6343421" y="556542"/>
            <a:ext cx="986371" cy="683624"/>
            <a:chOff x="6482526" y="627232"/>
            <a:chExt cx="987969" cy="684732"/>
          </a:xfrm>
        </p:grpSpPr>
        <p:pic>
          <p:nvPicPr>
            <p:cNvPr id="74" name="Bild 7">
              <a:extLst>
                <a:ext uri="{FF2B5EF4-FFF2-40B4-BE49-F238E27FC236}">
                  <a16:creationId xmlns:a16="http://schemas.microsoft.com/office/drawing/2014/main" id="{DC05304C-BDDB-4C80-8895-B70699D217DE}"/>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778710" y="627232"/>
              <a:ext cx="390910" cy="390910"/>
            </a:xfrm>
            <a:prstGeom prst="rect">
              <a:avLst/>
            </a:prstGeom>
          </p:spPr>
        </p:pic>
        <p:sp>
          <p:nvSpPr>
            <p:cNvPr id="77" name="Abgerundetes Rechteck 30">
              <a:extLst>
                <a:ext uri="{FF2B5EF4-FFF2-40B4-BE49-F238E27FC236}">
                  <a16:creationId xmlns:a16="http://schemas.microsoft.com/office/drawing/2014/main" id="{BD2BC2C0-5438-4752-AAB3-8BC624CC06D5}"/>
                </a:ext>
              </a:extLst>
            </p:cNvPr>
            <p:cNvSpPr/>
            <p:nvPr/>
          </p:nvSpPr>
          <p:spPr>
            <a:xfrm>
              <a:off x="6482526" y="934264"/>
              <a:ext cx="987969" cy="377700"/>
            </a:xfrm>
            <a:prstGeom prst="roundRect">
              <a:avLst>
                <a:gd name="adj" fmla="val 0"/>
              </a:avLst>
            </a:prstGeom>
            <a:noFill/>
            <a:ln w="19050" cap="rnd">
              <a:noFill/>
            </a:ln>
          </p:spPr>
          <p:style>
            <a:lnRef idx="2">
              <a:schemeClr val="accent1">
                <a:shade val="50000"/>
              </a:schemeClr>
            </a:lnRef>
            <a:fillRef idx="1">
              <a:schemeClr val="accent1"/>
            </a:fillRef>
            <a:effectRef idx="0">
              <a:schemeClr val="accent1"/>
            </a:effectRef>
            <a:fontRef idx="minor">
              <a:schemeClr val="lt1"/>
            </a:fontRef>
          </p:style>
          <p:txBody>
            <a:bodyPr lIns="71884" tIns="71884" rIns="71884" bIns="71884" rtlCol="0" anchor="ctr">
              <a:noAutofit/>
            </a:bodyPr>
            <a:lstStyle/>
            <a:p>
              <a:pPr algn="ctr" defTabSz="1087034">
                <a:defRPr/>
              </a:pPr>
              <a:r>
                <a:rPr lang="en-US" sz="1098">
                  <a:solidFill>
                    <a:srgbClr val="000000">
                      <a:lumMod val="65000"/>
                      <a:lumOff val="35000"/>
                    </a:srgbClr>
                  </a:solidFill>
                  <a:latin typeface="Arial"/>
                </a:rPr>
                <a:t> Desktop</a:t>
              </a:r>
            </a:p>
          </p:txBody>
        </p:sp>
      </p:grpSp>
      <p:cxnSp>
        <p:nvCxnSpPr>
          <p:cNvPr id="82" name="Straight Arrow Connector 18">
            <a:extLst>
              <a:ext uri="{FF2B5EF4-FFF2-40B4-BE49-F238E27FC236}">
                <a16:creationId xmlns:a16="http://schemas.microsoft.com/office/drawing/2014/main" id="{CBE6B8F3-A844-4E81-AB65-F389917D2CA5}"/>
              </a:ext>
            </a:extLst>
          </p:cNvPr>
          <p:cNvCxnSpPr>
            <a:cxnSpLocks/>
            <a:endCxn id="72" idx="2"/>
          </p:cNvCxnSpPr>
          <p:nvPr/>
        </p:nvCxnSpPr>
        <p:spPr>
          <a:xfrm flipV="1">
            <a:off x="6836608" y="1168217"/>
            <a:ext cx="8800" cy="382690"/>
          </a:xfrm>
          <a:prstGeom prst="straightConnector1">
            <a:avLst/>
          </a:prstGeom>
          <a:ln w="25400">
            <a:solidFill>
              <a:schemeClr val="tx1">
                <a:lumMod val="65000"/>
                <a:lumOff val="35000"/>
              </a:schemeClr>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94" name="Rectangle 93">
            <a:extLst>
              <a:ext uri="{FF2B5EF4-FFF2-40B4-BE49-F238E27FC236}">
                <a16:creationId xmlns:a16="http://schemas.microsoft.com/office/drawing/2014/main" id="{F29D2FD9-3E31-43D0-B6DB-05EAAA586CEF}"/>
              </a:ext>
            </a:extLst>
          </p:cNvPr>
          <p:cNvSpPr/>
          <p:nvPr/>
        </p:nvSpPr>
        <p:spPr>
          <a:xfrm>
            <a:off x="6482276" y="1971177"/>
            <a:ext cx="1215356" cy="256006"/>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lIns="35942" tIns="35942" rIns="35942" bIns="0" rtlCol="0" anchor="ctr"/>
          <a:lstStyle/>
          <a:p>
            <a:pPr algn="ctr" defTabSz="1087034">
              <a:defRPr/>
            </a:pPr>
            <a:r>
              <a:rPr lang="en-US" sz="1098" b="1" dirty="0">
                <a:solidFill>
                  <a:srgbClr val="427CAC"/>
                </a:solidFill>
                <a:latin typeface="Arial" charset="0"/>
                <a:ea typeface="Arial" charset="0"/>
                <a:cs typeface="Arial" charset="0"/>
              </a:rPr>
              <a:t>Event Simulator</a:t>
            </a:r>
          </a:p>
        </p:txBody>
      </p:sp>
      <p:sp>
        <p:nvSpPr>
          <p:cNvPr id="81" name="Rechteck 9">
            <a:extLst>
              <a:ext uri="{FF2B5EF4-FFF2-40B4-BE49-F238E27FC236}">
                <a16:creationId xmlns:a16="http://schemas.microsoft.com/office/drawing/2014/main" id="{AF940E72-EDF3-43EB-A26C-B46E710C743F}"/>
              </a:ext>
            </a:extLst>
          </p:cNvPr>
          <p:cNvSpPr/>
          <p:nvPr/>
        </p:nvSpPr>
        <p:spPr>
          <a:xfrm>
            <a:off x="4939636" y="1529598"/>
            <a:ext cx="6411549" cy="2217827"/>
          </a:xfrm>
          <a:prstGeom prst="rect">
            <a:avLst/>
          </a:prstGeom>
          <a:noFill/>
          <a:ln w="19050">
            <a:solidFill>
              <a:srgbClr val="427CAC"/>
            </a:solidFill>
          </a:ln>
        </p:spPr>
        <p:style>
          <a:lnRef idx="2">
            <a:schemeClr val="accent1">
              <a:shade val="50000"/>
            </a:schemeClr>
          </a:lnRef>
          <a:fillRef idx="1">
            <a:schemeClr val="accent1"/>
          </a:fillRef>
          <a:effectRef idx="0">
            <a:schemeClr val="accent1"/>
          </a:effectRef>
          <a:fontRef idx="minor">
            <a:schemeClr val="lt1"/>
          </a:fontRef>
        </p:style>
        <p:txBody>
          <a:bodyPr lIns="71884" tIns="71884" rIns="71884" bIns="71884" rtlCol="0" anchor="t"/>
          <a:lstStyle/>
          <a:p>
            <a:pPr algn="r" defTabSz="1087034"/>
            <a:r>
              <a:rPr lang="en-US" sz="1198" b="1">
                <a:solidFill>
                  <a:srgbClr val="427CAC"/>
                </a:solidFill>
                <a:latin typeface="Arial"/>
              </a:rPr>
              <a:t>SAP Business</a:t>
            </a:r>
            <a:br>
              <a:rPr lang="en-US" sz="1198" b="1">
                <a:solidFill>
                  <a:srgbClr val="427CAC"/>
                </a:solidFill>
                <a:latin typeface="Arial"/>
              </a:rPr>
            </a:br>
            <a:r>
              <a:rPr lang="en-US" sz="1198" b="1">
                <a:solidFill>
                  <a:srgbClr val="427CAC"/>
                </a:solidFill>
                <a:latin typeface="Arial"/>
              </a:rPr>
              <a:t>Technology Platform</a:t>
            </a:r>
          </a:p>
        </p:txBody>
      </p:sp>
      <p:cxnSp>
        <p:nvCxnSpPr>
          <p:cNvPr id="86" name="Gerade Verbindung 60">
            <a:extLst>
              <a:ext uri="{FF2B5EF4-FFF2-40B4-BE49-F238E27FC236}">
                <a16:creationId xmlns:a16="http://schemas.microsoft.com/office/drawing/2014/main" id="{6B838110-4BBC-48BA-95EF-F172A9A2DAB6}"/>
              </a:ext>
            </a:extLst>
          </p:cNvPr>
          <p:cNvCxnSpPr>
            <a:cxnSpLocks/>
          </p:cNvCxnSpPr>
          <p:nvPr/>
        </p:nvCxnSpPr>
        <p:spPr>
          <a:xfrm flipH="1">
            <a:off x="5073350" y="4227074"/>
            <a:ext cx="5570973" cy="0"/>
          </a:xfrm>
          <a:prstGeom prst="line">
            <a:avLst/>
          </a:prstGeom>
          <a:ln w="38100" cap="rnd">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91" name="TextBox 90">
            <a:extLst>
              <a:ext uri="{FF2B5EF4-FFF2-40B4-BE49-F238E27FC236}">
                <a16:creationId xmlns:a16="http://schemas.microsoft.com/office/drawing/2014/main" id="{0E9C95C7-D862-461B-BAD9-B3350B3C6644}"/>
              </a:ext>
            </a:extLst>
          </p:cNvPr>
          <p:cNvSpPr txBox="1"/>
          <p:nvPr/>
        </p:nvSpPr>
        <p:spPr>
          <a:xfrm>
            <a:off x="10753931" y="4121033"/>
            <a:ext cx="597255" cy="169003"/>
          </a:xfrm>
          <a:prstGeom prst="rect">
            <a:avLst/>
          </a:prstGeom>
          <a:noFill/>
        </p:spPr>
        <p:txBody>
          <a:bodyPr wrap="square" lIns="0" tIns="0" rIns="0" bIns="0" rtlCol="0">
            <a:spAutoFit/>
          </a:bodyPr>
          <a:lstStyle/>
          <a:p>
            <a:pPr defTabSz="1087034" fontAlgn="base">
              <a:spcBef>
                <a:spcPct val="50000"/>
              </a:spcBef>
              <a:spcAft>
                <a:spcPct val="0"/>
              </a:spcAft>
              <a:buClr>
                <a:srgbClr val="F0AB00"/>
              </a:buClr>
              <a:buSzPct val="80000"/>
            </a:pPr>
            <a:r>
              <a:rPr lang="de-DE" sz="1098" kern="0">
                <a:solidFill>
                  <a:srgbClr val="000000"/>
                </a:solidFill>
                <a:ea typeface="Arial Unicode MS" pitchFamily="34" charset="-128"/>
                <a:cs typeface="Arial Unicode MS" pitchFamily="34" charset="-128"/>
              </a:rPr>
              <a:t>Firewall</a:t>
            </a:r>
          </a:p>
        </p:txBody>
      </p:sp>
      <p:sp>
        <p:nvSpPr>
          <p:cNvPr id="99" name="TextBox 98">
            <a:extLst>
              <a:ext uri="{FF2B5EF4-FFF2-40B4-BE49-F238E27FC236}">
                <a16:creationId xmlns:a16="http://schemas.microsoft.com/office/drawing/2014/main" id="{4054830F-1B44-4F6D-9ECE-EA898364CBE0}"/>
              </a:ext>
            </a:extLst>
          </p:cNvPr>
          <p:cNvSpPr txBox="1"/>
          <p:nvPr/>
        </p:nvSpPr>
        <p:spPr>
          <a:xfrm>
            <a:off x="10344801" y="4434390"/>
            <a:ext cx="318924" cy="153639"/>
          </a:xfrm>
          <a:prstGeom prst="rect">
            <a:avLst/>
          </a:prstGeom>
          <a:noFill/>
        </p:spPr>
        <p:txBody>
          <a:bodyPr wrap="square" lIns="0" tIns="0" rIns="0" bIns="0" rtlCol="0">
            <a:spAutoFit/>
          </a:bodyPr>
          <a:lstStyle/>
          <a:p>
            <a:pPr defTabSz="1087034" fontAlgn="base">
              <a:spcBef>
                <a:spcPct val="50000"/>
              </a:spcBef>
              <a:spcAft>
                <a:spcPct val="0"/>
              </a:spcAft>
              <a:buClr>
                <a:srgbClr val="F0AB00"/>
              </a:buClr>
              <a:buSzPct val="80000"/>
            </a:pPr>
            <a:r>
              <a:rPr lang="de-DE" sz="998" kern="0">
                <a:solidFill>
                  <a:srgbClr val="000000"/>
                </a:solidFill>
                <a:ea typeface="Arial Unicode MS" pitchFamily="34" charset="-128"/>
                <a:cs typeface="Arial Unicode MS" pitchFamily="34" charset="-128"/>
              </a:rPr>
              <a:t>DMZ</a:t>
            </a:r>
          </a:p>
        </p:txBody>
      </p:sp>
      <p:sp>
        <p:nvSpPr>
          <p:cNvPr id="100" name="TextBox 99">
            <a:extLst>
              <a:ext uri="{FF2B5EF4-FFF2-40B4-BE49-F238E27FC236}">
                <a16:creationId xmlns:a16="http://schemas.microsoft.com/office/drawing/2014/main" id="{313911BC-C231-4422-961B-C57C5038DA4D}"/>
              </a:ext>
            </a:extLst>
          </p:cNvPr>
          <p:cNvSpPr txBox="1"/>
          <p:nvPr/>
        </p:nvSpPr>
        <p:spPr>
          <a:xfrm>
            <a:off x="10753931" y="4747752"/>
            <a:ext cx="597255" cy="169003"/>
          </a:xfrm>
          <a:prstGeom prst="rect">
            <a:avLst/>
          </a:prstGeom>
          <a:noFill/>
        </p:spPr>
        <p:txBody>
          <a:bodyPr wrap="square" lIns="0" tIns="0" rIns="0" bIns="0" rtlCol="0">
            <a:spAutoFit/>
          </a:bodyPr>
          <a:lstStyle/>
          <a:p>
            <a:pPr defTabSz="1087034" fontAlgn="base">
              <a:spcBef>
                <a:spcPct val="50000"/>
              </a:spcBef>
              <a:spcAft>
                <a:spcPct val="0"/>
              </a:spcAft>
              <a:buClr>
                <a:srgbClr val="F0AB00"/>
              </a:buClr>
              <a:buSzPct val="80000"/>
            </a:pPr>
            <a:r>
              <a:rPr lang="de-DE" sz="1098" kern="0">
                <a:solidFill>
                  <a:srgbClr val="000000"/>
                </a:solidFill>
                <a:ea typeface="Arial Unicode MS" pitchFamily="34" charset="-128"/>
                <a:cs typeface="Arial Unicode MS" pitchFamily="34" charset="-128"/>
              </a:rPr>
              <a:t>Firewall</a:t>
            </a:r>
          </a:p>
        </p:txBody>
      </p:sp>
      <p:sp>
        <p:nvSpPr>
          <p:cNvPr id="101" name="TextBox 100">
            <a:extLst>
              <a:ext uri="{FF2B5EF4-FFF2-40B4-BE49-F238E27FC236}">
                <a16:creationId xmlns:a16="http://schemas.microsoft.com/office/drawing/2014/main" id="{E577F295-20C7-4377-A887-7CADD26C2986}"/>
              </a:ext>
            </a:extLst>
          </p:cNvPr>
          <p:cNvSpPr txBox="1"/>
          <p:nvPr/>
        </p:nvSpPr>
        <p:spPr>
          <a:xfrm>
            <a:off x="10753931" y="5423644"/>
            <a:ext cx="597255" cy="169003"/>
          </a:xfrm>
          <a:prstGeom prst="rect">
            <a:avLst/>
          </a:prstGeom>
          <a:noFill/>
        </p:spPr>
        <p:txBody>
          <a:bodyPr wrap="square" lIns="0" tIns="0" rIns="0" bIns="0" rtlCol="0">
            <a:spAutoFit/>
          </a:bodyPr>
          <a:lstStyle/>
          <a:p>
            <a:pPr defTabSz="1087034" fontAlgn="base">
              <a:spcBef>
                <a:spcPct val="50000"/>
              </a:spcBef>
              <a:spcAft>
                <a:spcPct val="0"/>
              </a:spcAft>
              <a:buClr>
                <a:srgbClr val="F0AB00"/>
              </a:buClr>
              <a:buSzPct val="80000"/>
            </a:pPr>
            <a:r>
              <a:rPr lang="de-DE" sz="1098" kern="0">
                <a:solidFill>
                  <a:srgbClr val="000000"/>
                </a:solidFill>
                <a:ea typeface="Arial Unicode MS" pitchFamily="34" charset="-128"/>
                <a:cs typeface="Arial Unicode MS" pitchFamily="34" charset="-128"/>
              </a:rPr>
              <a:t>Firewall</a:t>
            </a:r>
          </a:p>
        </p:txBody>
      </p:sp>
      <p:sp>
        <p:nvSpPr>
          <p:cNvPr id="104" name="Rechteck 45">
            <a:extLst>
              <a:ext uri="{FF2B5EF4-FFF2-40B4-BE49-F238E27FC236}">
                <a16:creationId xmlns:a16="http://schemas.microsoft.com/office/drawing/2014/main" id="{8F60DCCC-46CA-4764-9BAB-405BEA47F26E}"/>
              </a:ext>
            </a:extLst>
          </p:cNvPr>
          <p:cNvSpPr/>
          <p:nvPr/>
        </p:nvSpPr>
        <p:spPr>
          <a:xfrm>
            <a:off x="9939624" y="2188984"/>
            <a:ext cx="730744" cy="506870"/>
          </a:xfrm>
          <a:prstGeom prst="rect">
            <a:avLst/>
          </a:prstGeom>
        </p:spPr>
        <p:txBody>
          <a:bodyPr wrap="square" lIns="0" tIns="0" rIns="0" bIns="0">
            <a:spAutoFit/>
          </a:bodyPr>
          <a:lstStyle/>
          <a:p>
            <a:pPr algn="ctr" defTabSz="1087034">
              <a:defRPr/>
            </a:pPr>
            <a:r>
              <a:rPr lang="en-US" sz="1098" b="1" dirty="0">
                <a:solidFill>
                  <a:srgbClr val="427CAC"/>
                </a:solidFill>
                <a:latin typeface="Arial" charset="0"/>
                <a:ea typeface="Arial" charset="0"/>
                <a:cs typeface="Arial" charset="0"/>
              </a:rPr>
              <a:t>Advanced Event Mesh </a:t>
            </a:r>
          </a:p>
        </p:txBody>
      </p:sp>
      <p:sp>
        <p:nvSpPr>
          <p:cNvPr id="12" name="Oval 11">
            <a:extLst>
              <a:ext uri="{FF2B5EF4-FFF2-40B4-BE49-F238E27FC236}">
                <a16:creationId xmlns:a16="http://schemas.microsoft.com/office/drawing/2014/main" id="{3BD23E20-ECF1-4AC7-927F-51E7AA4C8C95}"/>
              </a:ext>
            </a:extLst>
          </p:cNvPr>
          <p:cNvSpPr/>
          <p:nvPr/>
        </p:nvSpPr>
        <p:spPr bwMode="gray">
          <a:xfrm>
            <a:off x="6214025" y="1985957"/>
            <a:ext cx="251753" cy="237322"/>
          </a:xfrm>
          <a:prstGeom prst="ellipse">
            <a:avLst/>
          </a:prstGeom>
          <a:noFill/>
          <a:ln w="25400" algn="ctr">
            <a:solidFill>
              <a:srgbClr val="00B050"/>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de-DE" sz="900" b="0" i="0" u="none" strike="noStrike" kern="0" cap="none" spc="0" normalizeH="0" baseline="0" noProof="0" dirty="0">
                <a:ln>
                  <a:noFill/>
                </a:ln>
                <a:effectLst/>
                <a:uLnTx/>
                <a:uFillTx/>
                <a:ea typeface="Arial Unicode MS" pitchFamily="34" charset="-128"/>
                <a:cs typeface="Arial Unicode MS" pitchFamily="34" charset="-128"/>
              </a:rPr>
              <a:t>3</a:t>
            </a:r>
            <a:endParaRPr kumimoji="0" lang="en-US" sz="9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95" name="Oval 94">
            <a:extLst>
              <a:ext uri="{FF2B5EF4-FFF2-40B4-BE49-F238E27FC236}">
                <a16:creationId xmlns:a16="http://schemas.microsoft.com/office/drawing/2014/main" id="{C0631C0B-1438-455C-B696-497956FDB82A}"/>
              </a:ext>
            </a:extLst>
          </p:cNvPr>
          <p:cNvSpPr/>
          <p:nvPr/>
        </p:nvSpPr>
        <p:spPr bwMode="gray">
          <a:xfrm>
            <a:off x="9562586" y="1975080"/>
            <a:ext cx="249141" cy="256731"/>
          </a:xfrm>
          <a:prstGeom prst="ellipse">
            <a:avLst/>
          </a:prstGeom>
          <a:noFill/>
          <a:ln w="25400" algn="ctr">
            <a:solidFill>
              <a:srgbClr val="00B050"/>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900" b="0" i="0" u="none" strike="noStrike" kern="0" cap="none" spc="0" normalizeH="0" baseline="0" noProof="0" dirty="0">
                <a:ln>
                  <a:noFill/>
                </a:ln>
                <a:effectLst/>
                <a:uLnTx/>
                <a:uFillTx/>
                <a:ea typeface="Arial Unicode MS" pitchFamily="34" charset="-128"/>
                <a:cs typeface="Arial Unicode MS" pitchFamily="34" charset="-128"/>
              </a:rPr>
              <a:t>2</a:t>
            </a:r>
          </a:p>
        </p:txBody>
      </p:sp>
      <p:sp>
        <p:nvSpPr>
          <p:cNvPr id="127" name="Rectangle 126">
            <a:extLst>
              <a:ext uri="{FF2B5EF4-FFF2-40B4-BE49-F238E27FC236}">
                <a16:creationId xmlns:a16="http://schemas.microsoft.com/office/drawing/2014/main" id="{17B20217-3872-4966-A453-F6C8950843B9}"/>
              </a:ext>
            </a:extLst>
          </p:cNvPr>
          <p:cNvSpPr/>
          <p:nvPr/>
        </p:nvSpPr>
        <p:spPr>
          <a:xfrm>
            <a:off x="8535685" y="1595592"/>
            <a:ext cx="861021" cy="256006"/>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lIns="35942" tIns="35942" rIns="35942" bIns="0" rtlCol="0" anchor="ctr"/>
          <a:lstStyle/>
          <a:p>
            <a:pPr algn="ctr" defTabSz="1087034">
              <a:defRPr/>
            </a:pPr>
            <a:r>
              <a:rPr lang="en-US" sz="1098" b="1" dirty="0">
                <a:solidFill>
                  <a:srgbClr val="427CAC"/>
                </a:solidFill>
                <a:latin typeface="Arial" charset="0"/>
                <a:ea typeface="Arial" charset="0"/>
                <a:cs typeface="Arial" charset="0"/>
              </a:rPr>
              <a:t>SAP IAS</a:t>
            </a:r>
          </a:p>
        </p:txBody>
      </p:sp>
      <p:sp>
        <p:nvSpPr>
          <p:cNvPr id="136" name="Oval 135">
            <a:extLst>
              <a:ext uri="{FF2B5EF4-FFF2-40B4-BE49-F238E27FC236}">
                <a16:creationId xmlns:a16="http://schemas.microsoft.com/office/drawing/2014/main" id="{28BD36C8-F1BB-4E67-86ED-D254C1472234}"/>
              </a:ext>
            </a:extLst>
          </p:cNvPr>
          <p:cNvSpPr/>
          <p:nvPr/>
        </p:nvSpPr>
        <p:spPr bwMode="gray">
          <a:xfrm>
            <a:off x="9237090" y="1975080"/>
            <a:ext cx="249141" cy="256731"/>
          </a:xfrm>
          <a:prstGeom prst="ellipse">
            <a:avLst/>
          </a:prstGeom>
          <a:noFill/>
          <a:ln w="25400" algn="ctr">
            <a:solidFill>
              <a:srgbClr val="00B050"/>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de-DE" sz="900" b="0" i="0" u="none" strike="noStrike" kern="0" cap="none" spc="0" normalizeH="0" baseline="0" noProof="0" dirty="0">
                <a:ln>
                  <a:noFill/>
                </a:ln>
                <a:effectLst/>
                <a:uLnTx/>
                <a:uFillTx/>
                <a:ea typeface="Arial Unicode MS" pitchFamily="34" charset="-128"/>
                <a:cs typeface="Arial Unicode MS" pitchFamily="34" charset="-128"/>
              </a:rPr>
              <a:t>1</a:t>
            </a:r>
            <a:endParaRPr kumimoji="0" lang="en-US" sz="900" b="0" i="0" u="none" strike="noStrike" kern="0" cap="none" spc="0" normalizeH="0" baseline="0" noProof="0" dirty="0">
              <a:ln>
                <a:noFill/>
              </a:ln>
              <a:effectLst/>
              <a:uLnTx/>
              <a:uFillTx/>
              <a:ea typeface="Arial Unicode MS" pitchFamily="34" charset="-128"/>
              <a:cs typeface="Arial Unicode MS" pitchFamily="34" charset="-128"/>
            </a:endParaRPr>
          </a:p>
        </p:txBody>
      </p:sp>
      <p:pic>
        <p:nvPicPr>
          <p:cNvPr id="5" name="Grafik 4">
            <a:extLst>
              <a:ext uri="{FF2B5EF4-FFF2-40B4-BE49-F238E27FC236}">
                <a16:creationId xmlns:a16="http://schemas.microsoft.com/office/drawing/2014/main" id="{0F830047-A147-68DD-A779-586582D4953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333986" y="2251608"/>
            <a:ext cx="457200" cy="457200"/>
          </a:xfrm>
          <a:prstGeom prst="rect">
            <a:avLst/>
          </a:prstGeom>
        </p:spPr>
      </p:pic>
      <p:cxnSp>
        <p:nvCxnSpPr>
          <p:cNvPr id="6" name="Straight Arrow Connector 18">
            <a:extLst>
              <a:ext uri="{FF2B5EF4-FFF2-40B4-BE49-F238E27FC236}">
                <a16:creationId xmlns:a16="http://schemas.microsoft.com/office/drawing/2014/main" id="{64BB035F-5E4F-DC8C-D8AA-1C5F8B5797EE}"/>
              </a:ext>
            </a:extLst>
          </p:cNvPr>
          <p:cNvCxnSpPr>
            <a:cxnSpLocks/>
            <a:stCxn id="5" idx="1"/>
            <a:endCxn id="12" idx="4"/>
          </p:cNvCxnSpPr>
          <p:nvPr/>
        </p:nvCxnSpPr>
        <p:spPr>
          <a:xfrm rot="10800000">
            <a:off x="6339902" y="2223280"/>
            <a:ext cx="2994084" cy="256929"/>
          </a:xfrm>
          <a:prstGeom prst="bentConnector2">
            <a:avLst/>
          </a:prstGeom>
          <a:ln w="25400">
            <a:solidFill>
              <a:schemeClr val="tx1">
                <a:lumMod val="65000"/>
                <a:lumOff val="35000"/>
              </a:schemeClr>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3" name="Textfeld 2">
            <a:extLst>
              <a:ext uri="{FF2B5EF4-FFF2-40B4-BE49-F238E27FC236}">
                <a16:creationId xmlns:a16="http://schemas.microsoft.com/office/drawing/2014/main" id="{E1EB47D5-04A3-F512-AF6C-653BE2667A89}"/>
              </a:ext>
            </a:extLst>
          </p:cNvPr>
          <p:cNvSpPr txBox="1"/>
          <p:nvPr/>
        </p:nvSpPr>
        <p:spPr>
          <a:xfrm>
            <a:off x="8718430" y="2313917"/>
            <a:ext cx="689775" cy="107722"/>
          </a:xfrm>
          <a:prstGeom prst="rect">
            <a:avLst/>
          </a:prstGeom>
          <a:noFill/>
        </p:spPr>
        <p:txBody>
          <a:bodyPr wrap="square" lIns="0" tIns="0" rIns="0" bIns="0" rtlCol="0">
            <a:spAutoFit/>
          </a:bodyPr>
          <a:lstStyle/>
          <a:p>
            <a:pPr algn="l" fontAlgn="base">
              <a:spcBef>
                <a:spcPct val="50000"/>
              </a:spcBef>
              <a:spcAft>
                <a:spcPct val="0"/>
              </a:spcAft>
              <a:buClr>
                <a:schemeClr val="tx1"/>
              </a:buClr>
              <a:buSzPct val="100000"/>
            </a:pPr>
            <a:r>
              <a:rPr lang="en-US" sz="700" kern="0" dirty="0">
                <a:solidFill>
                  <a:schemeClr val="tx2"/>
                </a:solidFill>
                <a:latin typeface="72 Brand" panose="020B0504030603020204" pitchFamily="34" charset="0"/>
                <a:ea typeface="Arial Unicode MS" pitchFamily="34" charset="-128"/>
                <a:cs typeface="Arial Unicode MS" pitchFamily="34" charset="-128"/>
              </a:rPr>
              <a:t>Using Tryout</a:t>
            </a:r>
          </a:p>
        </p:txBody>
      </p:sp>
      <p:sp>
        <p:nvSpPr>
          <p:cNvPr id="8" name="Rectangle 126">
            <a:extLst>
              <a:ext uri="{FF2B5EF4-FFF2-40B4-BE49-F238E27FC236}">
                <a16:creationId xmlns:a16="http://schemas.microsoft.com/office/drawing/2014/main" id="{59459F7D-F46A-AA2D-E8E1-3DD1F02F5FA3}"/>
              </a:ext>
            </a:extLst>
          </p:cNvPr>
          <p:cNvSpPr/>
          <p:nvPr/>
        </p:nvSpPr>
        <p:spPr>
          <a:xfrm>
            <a:off x="10344801" y="3425766"/>
            <a:ext cx="861021" cy="256006"/>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lIns="35942" tIns="35942" rIns="35942" bIns="0" rtlCol="0" anchor="ctr"/>
          <a:lstStyle/>
          <a:p>
            <a:pPr algn="ctr" defTabSz="1087034">
              <a:defRPr/>
            </a:pPr>
            <a:r>
              <a:rPr lang="en-US" sz="1098" b="1" dirty="0">
                <a:solidFill>
                  <a:srgbClr val="427CAC"/>
                </a:solidFill>
                <a:latin typeface="Arial" charset="0"/>
                <a:ea typeface="Arial" charset="0"/>
                <a:cs typeface="Arial" charset="0"/>
              </a:rPr>
              <a:t>SAP IAS</a:t>
            </a:r>
          </a:p>
        </p:txBody>
      </p:sp>
      <p:sp>
        <p:nvSpPr>
          <p:cNvPr id="10" name="Oval 9">
            <a:extLst>
              <a:ext uri="{FF2B5EF4-FFF2-40B4-BE49-F238E27FC236}">
                <a16:creationId xmlns:a16="http://schemas.microsoft.com/office/drawing/2014/main" id="{1B4DDE84-1B4E-3584-F5D9-227AC42EBA06}"/>
              </a:ext>
            </a:extLst>
          </p:cNvPr>
          <p:cNvSpPr/>
          <p:nvPr/>
        </p:nvSpPr>
        <p:spPr bwMode="gray">
          <a:xfrm>
            <a:off x="6214024" y="2810754"/>
            <a:ext cx="251753" cy="237322"/>
          </a:xfrm>
          <a:prstGeom prst="ellipse">
            <a:avLst/>
          </a:prstGeom>
          <a:noFill/>
          <a:ln w="25400" algn="ctr">
            <a:solidFill>
              <a:srgbClr val="00B050"/>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lang="de-DE" sz="900" kern="0" dirty="0">
                <a:ea typeface="Arial Unicode MS" pitchFamily="34" charset="-128"/>
                <a:cs typeface="Arial Unicode MS" pitchFamily="34" charset="-128"/>
              </a:rPr>
              <a:t>4</a:t>
            </a:r>
            <a:endParaRPr kumimoji="0" lang="en-US" sz="900" b="0" i="0" u="none" strike="noStrike" kern="0" cap="none" spc="0" normalizeH="0" baseline="0" noProof="0" dirty="0">
              <a:ln>
                <a:noFill/>
              </a:ln>
              <a:effectLst/>
              <a:uLnTx/>
              <a:uFillTx/>
              <a:ea typeface="Arial Unicode MS" pitchFamily="34" charset="-128"/>
              <a:cs typeface="Arial Unicode MS" pitchFamily="34" charset="-128"/>
            </a:endParaRPr>
          </a:p>
        </p:txBody>
      </p:sp>
      <p:cxnSp>
        <p:nvCxnSpPr>
          <p:cNvPr id="13" name="Straight Arrow Connector 18">
            <a:extLst>
              <a:ext uri="{FF2B5EF4-FFF2-40B4-BE49-F238E27FC236}">
                <a16:creationId xmlns:a16="http://schemas.microsoft.com/office/drawing/2014/main" id="{BAC52B0D-7F02-E031-E16F-6C8B6AE48189}"/>
              </a:ext>
            </a:extLst>
          </p:cNvPr>
          <p:cNvCxnSpPr>
            <a:cxnSpLocks/>
            <a:stCxn id="10" idx="6"/>
            <a:endCxn id="5" idx="2"/>
          </p:cNvCxnSpPr>
          <p:nvPr/>
        </p:nvCxnSpPr>
        <p:spPr>
          <a:xfrm flipV="1">
            <a:off x="6465777" y="2708808"/>
            <a:ext cx="3096809" cy="220607"/>
          </a:xfrm>
          <a:prstGeom prst="bentConnector2">
            <a:avLst/>
          </a:prstGeom>
          <a:ln w="25400">
            <a:solidFill>
              <a:schemeClr val="tx1">
                <a:lumMod val="65000"/>
                <a:lumOff val="35000"/>
              </a:schemeClr>
            </a:solidFill>
            <a:prstDash val="sysDot"/>
            <a:headEnd type="triangl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8971559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93DBAE-F170-D94F-739E-8EE51479445F}"/>
              </a:ext>
            </a:extLst>
          </p:cNvPr>
          <p:cNvSpPr>
            <a:spLocks noGrp="1"/>
          </p:cNvSpPr>
          <p:nvPr>
            <p:ph type="title"/>
          </p:nvPr>
        </p:nvSpPr>
        <p:spPr/>
        <p:txBody>
          <a:bodyPr/>
          <a:lstStyle/>
          <a:p>
            <a:r>
              <a:rPr lang="en-US" dirty="0">
                <a:latin typeface="72" panose="020B0503030000000003" pitchFamily="34" charset="0"/>
                <a:cs typeface="72" panose="020B0503030000000003" pitchFamily="34" charset="0"/>
              </a:rPr>
              <a:t>API Architecture vs. Event-Driven Architecture</a:t>
            </a:r>
            <a:endParaRPr lang="en-DE" dirty="0"/>
          </a:p>
        </p:txBody>
      </p:sp>
      <p:grpSp>
        <p:nvGrpSpPr>
          <p:cNvPr id="21" name="Gruppieren 20">
            <a:extLst>
              <a:ext uri="{FF2B5EF4-FFF2-40B4-BE49-F238E27FC236}">
                <a16:creationId xmlns:a16="http://schemas.microsoft.com/office/drawing/2014/main" id="{3169F410-3FF7-6005-E306-264237CCC024}"/>
              </a:ext>
            </a:extLst>
          </p:cNvPr>
          <p:cNvGrpSpPr/>
          <p:nvPr/>
        </p:nvGrpSpPr>
        <p:grpSpPr>
          <a:xfrm>
            <a:off x="504001" y="1448569"/>
            <a:ext cx="10361353" cy="4590997"/>
            <a:chOff x="504001" y="1448569"/>
            <a:chExt cx="10361353" cy="4590998"/>
          </a:xfrm>
        </p:grpSpPr>
        <p:sp>
          <p:nvSpPr>
            <p:cNvPr id="3" name="Rechteck 2">
              <a:extLst>
                <a:ext uri="{FF2B5EF4-FFF2-40B4-BE49-F238E27FC236}">
                  <a16:creationId xmlns:a16="http://schemas.microsoft.com/office/drawing/2014/main" id="{DF9EC5CA-C184-BC47-B6A2-C0A06B64EDE4}"/>
                </a:ext>
              </a:extLst>
            </p:cNvPr>
            <p:cNvSpPr/>
            <p:nvPr/>
          </p:nvSpPr>
          <p:spPr bwMode="gray">
            <a:xfrm>
              <a:off x="5764259" y="1448569"/>
              <a:ext cx="5101095" cy="864436"/>
            </a:xfrm>
            <a:prstGeom prst="rect">
              <a:avLst/>
            </a:prstGeom>
            <a:solidFill>
              <a:srgbClr val="AFE0FF"/>
            </a:solidFill>
            <a:ln w="2540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r>
                <a:rPr kumimoji="0" lang="de-DE" sz="2000" b="0" i="0" u="none" strike="noStrike" kern="0" cap="none" spc="0" normalizeH="0" baseline="0" noProof="0" dirty="0">
                  <a:ln>
                    <a:noFill/>
                  </a:ln>
                  <a:solidFill>
                    <a:srgbClr val="000000"/>
                  </a:solidFill>
                  <a:effectLst/>
                  <a:uLnTx/>
                  <a:uFillTx/>
                  <a:latin typeface="72" panose="020B0503030000000003" pitchFamily="34" charset="0"/>
                  <a:ea typeface="Arial Unicode MS" pitchFamily="34" charset="-128"/>
                  <a:cs typeface="72" panose="020B0503030000000003" pitchFamily="34" charset="0"/>
                </a:rPr>
                <a:t>Event-Driven Architecture (EDA)</a:t>
              </a:r>
            </a:p>
          </p:txBody>
        </p:sp>
        <p:sp>
          <p:nvSpPr>
            <p:cNvPr id="4" name="Rechteck 2">
              <a:extLst>
                <a:ext uri="{FF2B5EF4-FFF2-40B4-BE49-F238E27FC236}">
                  <a16:creationId xmlns:a16="http://schemas.microsoft.com/office/drawing/2014/main" id="{5AE1FC60-1A63-9543-ADFB-4F50D65674F9}"/>
                </a:ext>
              </a:extLst>
            </p:cNvPr>
            <p:cNvSpPr/>
            <p:nvPr/>
          </p:nvSpPr>
          <p:spPr bwMode="gray">
            <a:xfrm>
              <a:off x="504001" y="1448758"/>
              <a:ext cx="5101095" cy="864436"/>
            </a:xfrm>
            <a:prstGeom prst="rect">
              <a:avLst/>
            </a:prstGeom>
            <a:solidFill>
              <a:srgbClr val="AFE0FF"/>
            </a:solidFill>
            <a:ln w="2540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r>
                <a:rPr kumimoji="0" lang="de-DE" sz="2000" b="0" i="0" u="none" strike="noStrike" kern="0" cap="none" spc="0" normalizeH="0" baseline="0" noProof="0" dirty="0">
                  <a:ln>
                    <a:noFill/>
                  </a:ln>
                  <a:solidFill>
                    <a:srgbClr val="000000"/>
                  </a:solidFill>
                  <a:effectLst/>
                  <a:uLnTx/>
                  <a:uFillTx/>
                  <a:latin typeface="72" panose="020B0503030000000003" pitchFamily="34" charset="0"/>
                  <a:ea typeface="Arial Unicode MS" pitchFamily="34" charset="-128"/>
                  <a:cs typeface="72" panose="020B0503030000000003" pitchFamily="34" charset="0"/>
                </a:rPr>
                <a:t>API Architecture</a:t>
              </a:r>
            </a:p>
          </p:txBody>
        </p:sp>
        <p:pic>
          <p:nvPicPr>
            <p:cNvPr id="5" name="Picture 4">
              <a:extLst>
                <a:ext uri="{FF2B5EF4-FFF2-40B4-BE49-F238E27FC236}">
                  <a16:creationId xmlns:a16="http://schemas.microsoft.com/office/drawing/2014/main" id="{B7805D78-BD99-FCD5-9DED-11AB58CBDE7C}"/>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271277" y="3273118"/>
              <a:ext cx="708100" cy="945183"/>
            </a:xfrm>
            <a:prstGeom prst="rect">
              <a:avLst/>
            </a:prstGeom>
          </p:spPr>
        </p:pic>
        <p:pic>
          <p:nvPicPr>
            <p:cNvPr id="6" name="Picture 5">
              <a:extLst>
                <a:ext uri="{FF2B5EF4-FFF2-40B4-BE49-F238E27FC236}">
                  <a16:creationId xmlns:a16="http://schemas.microsoft.com/office/drawing/2014/main" id="{5EAC071C-D645-8DC9-3EE0-5E44FF88B3BA}"/>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954635" y="3267645"/>
              <a:ext cx="708101" cy="944135"/>
            </a:xfrm>
            <a:prstGeom prst="rect">
              <a:avLst/>
            </a:prstGeom>
          </p:spPr>
        </p:pic>
        <p:cxnSp>
          <p:nvCxnSpPr>
            <p:cNvPr id="7" name="Straight Arrow Connector 6">
              <a:extLst>
                <a:ext uri="{FF2B5EF4-FFF2-40B4-BE49-F238E27FC236}">
                  <a16:creationId xmlns:a16="http://schemas.microsoft.com/office/drawing/2014/main" id="{9D54ABD4-DB33-41C4-88C8-BFC5607C5779}"/>
                </a:ext>
              </a:extLst>
            </p:cNvPr>
            <p:cNvCxnSpPr>
              <a:cxnSpLocks/>
            </p:cNvCxnSpPr>
            <p:nvPr/>
          </p:nvCxnSpPr>
          <p:spPr>
            <a:xfrm flipH="1">
              <a:off x="1812131" y="3698250"/>
              <a:ext cx="2203844" cy="0"/>
            </a:xfrm>
            <a:prstGeom prst="straightConnector1">
              <a:avLst/>
            </a:prstGeom>
            <a:ln w="28575">
              <a:solidFill>
                <a:srgbClr val="3586FB"/>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 name="Straight Arrow Connector 7">
              <a:extLst>
                <a:ext uri="{FF2B5EF4-FFF2-40B4-BE49-F238E27FC236}">
                  <a16:creationId xmlns:a16="http://schemas.microsoft.com/office/drawing/2014/main" id="{2C8647FA-B732-9471-E5C2-474A4C1EC1D5}"/>
                </a:ext>
              </a:extLst>
            </p:cNvPr>
            <p:cNvCxnSpPr>
              <a:cxnSpLocks/>
            </p:cNvCxnSpPr>
            <p:nvPr/>
          </p:nvCxnSpPr>
          <p:spPr>
            <a:xfrm>
              <a:off x="1812131" y="3920010"/>
              <a:ext cx="2144850" cy="0"/>
            </a:xfrm>
            <a:prstGeom prst="straightConnector1">
              <a:avLst/>
            </a:prstGeom>
            <a:ln w="28575">
              <a:solidFill>
                <a:srgbClr val="3586FB"/>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 name="Straight Arrow Connector 8">
              <a:extLst>
                <a:ext uri="{FF2B5EF4-FFF2-40B4-BE49-F238E27FC236}">
                  <a16:creationId xmlns:a16="http://schemas.microsoft.com/office/drawing/2014/main" id="{6CD6C9D3-5555-7C37-E5C4-5B4ED2946BB3}"/>
                </a:ext>
              </a:extLst>
            </p:cNvPr>
            <p:cNvCxnSpPr>
              <a:cxnSpLocks/>
            </p:cNvCxnSpPr>
            <p:nvPr/>
          </p:nvCxnSpPr>
          <p:spPr>
            <a:xfrm flipH="1">
              <a:off x="6996539" y="3745186"/>
              <a:ext cx="2514502" cy="0"/>
            </a:xfrm>
            <a:prstGeom prst="straightConnector1">
              <a:avLst/>
            </a:prstGeom>
            <a:ln w="28575">
              <a:solidFill>
                <a:srgbClr val="3586FB"/>
              </a:solidFill>
              <a:prstDash val="dash"/>
              <a:headEnd type="triangle" w="med" len="med"/>
              <a:tailEnd type="none" w="lg" len="med"/>
            </a:ln>
          </p:spPr>
          <p:style>
            <a:lnRef idx="1">
              <a:schemeClr val="accent1"/>
            </a:lnRef>
            <a:fillRef idx="0">
              <a:schemeClr val="accent1"/>
            </a:fillRef>
            <a:effectRef idx="0">
              <a:schemeClr val="accent1"/>
            </a:effectRef>
            <a:fontRef idx="minor">
              <a:schemeClr val="tx1"/>
            </a:fontRef>
          </p:style>
        </p:cxnSp>
        <p:pic>
          <p:nvPicPr>
            <p:cNvPr id="10" name="Picture 9">
              <a:extLst>
                <a:ext uri="{FF2B5EF4-FFF2-40B4-BE49-F238E27FC236}">
                  <a16:creationId xmlns:a16="http://schemas.microsoft.com/office/drawing/2014/main" id="{A5E41919-91B4-723F-A1EA-37D23B4B3D11}"/>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9680239" y="2568077"/>
              <a:ext cx="440569" cy="588078"/>
            </a:xfrm>
            <a:prstGeom prst="rect">
              <a:avLst/>
            </a:prstGeom>
          </p:spPr>
        </p:pic>
        <p:pic>
          <p:nvPicPr>
            <p:cNvPr id="11" name="Picture 10">
              <a:extLst>
                <a:ext uri="{FF2B5EF4-FFF2-40B4-BE49-F238E27FC236}">
                  <a16:creationId xmlns:a16="http://schemas.microsoft.com/office/drawing/2014/main" id="{39104261-3443-AC50-9DE0-B8F9BC12F53F}"/>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138552" y="3273118"/>
              <a:ext cx="708101" cy="944135"/>
            </a:xfrm>
            <a:prstGeom prst="rect">
              <a:avLst/>
            </a:prstGeom>
          </p:spPr>
        </p:pic>
        <p:pic>
          <p:nvPicPr>
            <p:cNvPr id="12" name="Picture 11">
              <a:extLst>
                <a:ext uri="{FF2B5EF4-FFF2-40B4-BE49-F238E27FC236}">
                  <a16:creationId xmlns:a16="http://schemas.microsoft.com/office/drawing/2014/main" id="{79BD78EA-2C69-2C38-8439-38FBFD5323DF}"/>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9655699" y="3427489"/>
              <a:ext cx="440569" cy="588078"/>
            </a:xfrm>
            <a:prstGeom prst="rect">
              <a:avLst/>
            </a:prstGeom>
          </p:spPr>
        </p:pic>
        <p:pic>
          <p:nvPicPr>
            <p:cNvPr id="13" name="Picture 12">
              <a:extLst>
                <a:ext uri="{FF2B5EF4-FFF2-40B4-BE49-F238E27FC236}">
                  <a16:creationId xmlns:a16="http://schemas.microsoft.com/office/drawing/2014/main" id="{E878857A-9F80-B555-0029-3430BE969976}"/>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9690318" y="4293503"/>
              <a:ext cx="440569" cy="588078"/>
            </a:xfrm>
            <a:prstGeom prst="rect">
              <a:avLst/>
            </a:prstGeom>
          </p:spPr>
        </p:pic>
        <p:sp>
          <p:nvSpPr>
            <p:cNvPr id="14" name="TextBox 13">
              <a:extLst>
                <a:ext uri="{FF2B5EF4-FFF2-40B4-BE49-F238E27FC236}">
                  <a16:creationId xmlns:a16="http://schemas.microsoft.com/office/drawing/2014/main" id="{BEAA1808-944B-9386-86F9-0BDB75894603}"/>
                </a:ext>
              </a:extLst>
            </p:cNvPr>
            <p:cNvSpPr txBox="1"/>
            <p:nvPr/>
          </p:nvSpPr>
          <p:spPr>
            <a:xfrm>
              <a:off x="1840434" y="4127470"/>
              <a:ext cx="2116547" cy="276999"/>
            </a:xfrm>
            <a:prstGeom prst="rect">
              <a:avLst/>
            </a:prstGeom>
            <a:noFill/>
          </p:spPr>
          <p:txBody>
            <a:bodyPr wrap="square" lIns="0" tIns="0" rIns="0" bIns="0" rtlCol="0">
              <a:spAutoFit/>
            </a:bodyPr>
            <a:lstStyle/>
            <a:p>
              <a:pPr marL="0" marR="0" lvl="0" indent="0" algn="ctr" defTabSz="1088776" rtl="0" eaLnBrk="1" fontAlgn="base" latinLnBrk="0" hangingPunct="1">
                <a:lnSpc>
                  <a:spcPct val="100000"/>
                </a:lnSpc>
                <a:spcBef>
                  <a:spcPct val="50000"/>
                </a:spcBef>
                <a:spcAft>
                  <a:spcPct val="0"/>
                </a:spcAft>
                <a:buClr>
                  <a:srgbClr val="000000"/>
                </a:buClr>
                <a:buSzPct val="100000"/>
                <a:buFontTx/>
                <a:buNone/>
                <a:tabLst/>
                <a:defRPr/>
              </a:pPr>
              <a:r>
                <a:rPr kumimoji="0" lang="en-US" sz="1800" b="0" i="0" u="none" strike="noStrike" kern="0" cap="none" spc="0" normalizeH="0" baseline="0" noProof="0" dirty="0">
                  <a:ln>
                    <a:noFill/>
                  </a:ln>
                  <a:solidFill>
                    <a:srgbClr val="000000"/>
                  </a:solidFill>
                  <a:effectLst/>
                  <a:uLnTx/>
                  <a:uFillTx/>
                  <a:latin typeface="72" panose="020B0503030000000003" pitchFamily="34" charset="0"/>
                  <a:ea typeface="Arial Unicode MS" pitchFamily="34" charset="-128"/>
                  <a:cs typeface="72" panose="020B0503030000000003" pitchFamily="34" charset="0"/>
                </a:rPr>
                <a:t>API</a:t>
              </a:r>
              <a:endParaRPr kumimoji="0" lang="en-DE" sz="1800" b="0" i="0" u="none" strike="noStrike" kern="0" cap="none" spc="0" normalizeH="0" baseline="0" noProof="0" dirty="0" err="1">
                <a:ln>
                  <a:noFill/>
                </a:ln>
                <a:solidFill>
                  <a:srgbClr val="000000"/>
                </a:solidFill>
                <a:effectLst/>
                <a:uLnTx/>
                <a:uFillTx/>
                <a:latin typeface="72" panose="020B0503030000000003" pitchFamily="34" charset="0"/>
                <a:ea typeface="Arial Unicode MS" pitchFamily="34" charset="-128"/>
                <a:cs typeface="72" panose="020B0503030000000003" pitchFamily="34" charset="0"/>
              </a:endParaRPr>
            </a:p>
          </p:txBody>
        </p:sp>
        <p:cxnSp>
          <p:nvCxnSpPr>
            <p:cNvPr id="15" name="Straight Arrow Connector 14">
              <a:extLst>
                <a:ext uri="{FF2B5EF4-FFF2-40B4-BE49-F238E27FC236}">
                  <a16:creationId xmlns:a16="http://schemas.microsoft.com/office/drawing/2014/main" id="{EB940C03-775E-4E8F-42BD-EB81C64B9163}"/>
                </a:ext>
              </a:extLst>
            </p:cNvPr>
            <p:cNvCxnSpPr>
              <a:cxnSpLocks/>
            </p:cNvCxnSpPr>
            <p:nvPr/>
          </p:nvCxnSpPr>
          <p:spPr>
            <a:xfrm flipH="1">
              <a:off x="8384012" y="4610248"/>
              <a:ext cx="1183106" cy="0"/>
            </a:xfrm>
            <a:prstGeom prst="straightConnector1">
              <a:avLst/>
            </a:prstGeom>
            <a:ln w="28575">
              <a:solidFill>
                <a:srgbClr val="3586FB"/>
              </a:solidFill>
              <a:prstDash val="dash"/>
              <a:headEnd type="triangle" w="med" len="med"/>
              <a:tailEnd type="none" w="lg" len="med"/>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B9F4CD83-AB61-E64C-BE2D-1FA73BD66F3E}"/>
                </a:ext>
              </a:extLst>
            </p:cNvPr>
            <p:cNvCxnSpPr>
              <a:cxnSpLocks/>
            </p:cNvCxnSpPr>
            <p:nvPr/>
          </p:nvCxnSpPr>
          <p:spPr>
            <a:xfrm flipH="1">
              <a:off x="8359878" y="2913621"/>
              <a:ext cx="1183106" cy="0"/>
            </a:xfrm>
            <a:prstGeom prst="straightConnector1">
              <a:avLst/>
            </a:prstGeom>
            <a:ln w="28575">
              <a:solidFill>
                <a:srgbClr val="3586FB"/>
              </a:solidFill>
              <a:prstDash val="dash"/>
              <a:headEnd type="triangle" w="med" len="med"/>
              <a:tailEnd type="none" w="lg" len="med"/>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76715625-AE26-162C-D5D2-EECA2FAB45DB}"/>
                </a:ext>
              </a:extLst>
            </p:cNvPr>
            <p:cNvCxnSpPr>
              <a:cxnSpLocks/>
            </p:cNvCxnSpPr>
            <p:nvPr/>
          </p:nvCxnSpPr>
          <p:spPr>
            <a:xfrm>
              <a:off x="8359878" y="2913621"/>
              <a:ext cx="24133" cy="1673921"/>
            </a:xfrm>
            <a:prstGeom prst="line">
              <a:avLst/>
            </a:prstGeom>
            <a:ln w="28575">
              <a:solidFill>
                <a:srgbClr val="3586FB"/>
              </a:solidFill>
              <a:prstDash val="dash"/>
              <a:headEnd type="none" w="med" len="med"/>
              <a:tailEnd type="none" w="lg" len="med"/>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5450DB6B-A873-9938-58F4-DA309E90B2EC}"/>
                </a:ext>
              </a:extLst>
            </p:cNvPr>
            <p:cNvSpPr/>
            <p:nvPr/>
          </p:nvSpPr>
          <p:spPr bwMode="gray">
            <a:xfrm>
              <a:off x="7793811" y="3531862"/>
              <a:ext cx="919958" cy="426645"/>
            </a:xfrm>
            <a:prstGeom prst="rect">
              <a:avLst/>
            </a:prstGeom>
            <a:solidFill>
              <a:srgbClr val="3586FB"/>
            </a:solidFill>
            <a:ln w="2540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r>
                <a:rPr kumimoji="0" lang="en-US" sz="1100" b="0" i="0" u="none" strike="noStrike" kern="0" cap="none" spc="0" normalizeH="0" baseline="0" noProof="0" dirty="0">
                  <a:ln>
                    <a:noFill/>
                  </a:ln>
                  <a:solidFill>
                    <a:srgbClr val="FFFFFF"/>
                  </a:solidFill>
                  <a:effectLst/>
                  <a:uLnTx/>
                  <a:uFillTx/>
                  <a:latin typeface="72" panose="020B0503030000000003" pitchFamily="34" charset="0"/>
                  <a:ea typeface="Arial Unicode MS" pitchFamily="34" charset="-128"/>
                  <a:cs typeface="72" panose="020B0503030000000003" pitchFamily="34" charset="0"/>
                </a:rPr>
                <a:t>Event Broker</a:t>
              </a:r>
              <a:endParaRPr kumimoji="0" lang="en-DE" sz="1100" b="0" i="0" u="none" strike="noStrike" kern="0" cap="none" spc="0" normalizeH="0" baseline="0" noProof="0" dirty="0" err="1">
                <a:ln>
                  <a:noFill/>
                </a:ln>
                <a:solidFill>
                  <a:srgbClr val="FFFFFF"/>
                </a:solidFill>
                <a:effectLst/>
                <a:uLnTx/>
                <a:uFillTx/>
                <a:latin typeface="72" panose="020B0503030000000003" pitchFamily="34" charset="0"/>
                <a:ea typeface="Arial Unicode MS" pitchFamily="34" charset="-128"/>
                <a:cs typeface="72" panose="020B0503030000000003" pitchFamily="34" charset="0"/>
              </a:endParaRPr>
            </a:p>
          </p:txBody>
        </p:sp>
        <p:sp>
          <p:nvSpPr>
            <p:cNvPr id="19" name="TextBox 18">
              <a:extLst>
                <a:ext uri="{FF2B5EF4-FFF2-40B4-BE49-F238E27FC236}">
                  <a16:creationId xmlns:a16="http://schemas.microsoft.com/office/drawing/2014/main" id="{C398C3DE-D9FD-AB07-BC5B-1CDD9809A832}"/>
                </a:ext>
              </a:extLst>
            </p:cNvPr>
            <p:cNvSpPr txBox="1"/>
            <p:nvPr/>
          </p:nvSpPr>
          <p:spPr>
            <a:xfrm>
              <a:off x="1343161" y="5208570"/>
              <a:ext cx="3636215" cy="553998"/>
            </a:xfrm>
            <a:prstGeom prst="rect">
              <a:avLst/>
            </a:prstGeom>
            <a:noFill/>
          </p:spPr>
          <p:txBody>
            <a:bodyPr wrap="square" lIns="0" tIns="0" rIns="0" bIns="0" rtlCol="0">
              <a:spAutoFit/>
            </a:bodyPr>
            <a:lstStyle/>
            <a:p>
              <a:pPr marL="0" marR="0" lvl="0" indent="0" algn="ctr" defTabSz="1088776" rtl="0" eaLnBrk="1" fontAlgn="base" latinLnBrk="0" hangingPunct="1">
                <a:lnSpc>
                  <a:spcPct val="100000"/>
                </a:lnSpc>
                <a:spcBef>
                  <a:spcPct val="50000"/>
                </a:spcBef>
                <a:spcAft>
                  <a:spcPct val="0"/>
                </a:spcAft>
                <a:buClr>
                  <a:srgbClr val="000000"/>
                </a:buClr>
                <a:buSzPct val="100000"/>
                <a:buFontTx/>
                <a:buNone/>
                <a:tabLst/>
                <a:defRPr/>
              </a:pPr>
              <a:r>
                <a:rPr kumimoji="0" lang="en-US" sz="1800" b="0" i="0" u="none" strike="noStrike" kern="0" cap="none" spc="0" normalizeH="0" baseline="0" noProof="0" dirty="0">
                  <a:ln>
                    <a:noFill/>
                  </a:ln>
                  <a:solidFill>
                    <a:srgbClr val="000000"/>
                  </a:solidFill>
                  <a:effectLst/>
                  <a:uLnTx/>
                  <a:uFillTx/>
                  <a:latin typeface="72 Brand" panose="020B0504030603020204" pitchFamily="34" charset="0"/>
                  <a:ea typeface="Arial Unicode MS" pitchFamily="34" charset="-128"/>
                  <a:cs typeface="Arial Unicode MS" pitchFamily="34" charset="-128"/>
                </a:rPr>
                <a:t>Request and Reply Based</a:t>
              </a:r>
              <a:br>
                <a:rPr kumimoji="0" lang="en-US" sz="1800" b="0" i="0" u="none" strike="noStrike" kern="0" cap="none" spc="0" normalizeH="0" baseline="0" noProof="0" dirty="0">
                  <a:ln>
                    <a:noFill/>
                  </a:ln>
                  <a:solidFill>
                    <a:srgbClr val="000000"/>
                  </a:solidFill>
                  <a:effectLst/>
                  <a:uLnTx/>
                  <a:uFillTx/>
                  <a:latin typeface="72 Brand" panose="020B0504030603020204" pitchFamily="34" charset="0"/>
                  <a:ea typeface="Arial Unicode MS" pitchFamily="34" charset="-128"/>
                  <a:cs typeface="Arial Unicode MS" pitchFamily="34" charset="-128"/>
                </a:rPr>
              </a:br>
              <a:r>
                <a:rPr kumimoji="0" lang="en-US" sz="1800" b="0" i="0" u="none" strike="noStrike" kern="0" cap="none" spc="0" normalizeH="0" baseline="0" noProof="0" dirty="0">
                  <a:ln>
                    <a:noFill/>
                  </a:ln>
                  <a:solidFill>
                    <a:srgbClr val="000000"/>
                  </a:solidFill>
                  <a:effectLst/>
                  <a:uLnTx/>
                  <a:uFillTx/>
                  <a:latin typeface="72 Brand" panose="020B0504030603020204" pitchFamily="34" charset="0"/>
                  <a:ea typeface="Arial Unicode MS" pitchFamily="34" charset="-128"/>
                  <a:cs typeface="Arial Unicode MS" pitchFamily="34" charset="-128"/>
                </a:rPr>
                <a:t>Synchronous</a:t>
              </a:r>
              <a:endParaRPr kumimoji="0" lang="en-DE" sz="1800" b="0" i="0" u="none" strike="noStrike" kern="0" cap="none" spc="0" normalizeH="0" baseline="0" noProof="0" dirty="0" err="1">
                <a:ln>
                  <a:noFill/>
                </a:ln>
                <a:solidFill>
                  <a:srgbClr val="000000"/>
                </a:solidFill>
                <a:effectLst/>
                <a:uLnTx/>
                <a:uFillTx/>
                <a:latin typeface="72 Brand" panose="020B0504030603020204" pitchFamily="34" charset="0"/>
                <a:ea typeface="Arial Unicode MS" pitchFamily="34" charset="-128"/>
                <a:cs typeface="Arial Unicode MS" pitchFamily="34" charset="-128"/>
              </a:endParaRPr>
            </a:p>
          </p:txBody>
        </p:sp>
        <p:sp>
          <p:nvSpPr>
            <p:cNvPr id="20" name="TextBox 19">
              <a:extLst>
                <a:ext uri="{FF2B5EF4-FFF2-40B4-BE49-F238E27FC236}">
                  <a16:creationId xmlns:a16="http://schemas.microsoft.com/office/drawing/2014/main" id="{CD228CAF-70F0-930B-C112-B9B67420EAFA}"/>
                </a:ext>
              </a:extLst>
            </p:cNvPr>
            <p:cNvSpPr txBox="1"/>
            <p:nvPr/>
          </p:nvSpPr>
          <p:spPr>
            <a:xfrm>
              <a:off x="7006727" y="5208570"/>
              <a:ext cx="2292011" cy="830997"/>
            </a:xfrm>
            <a:prstGeom prst="rect">
              <a:avLst/>
            </a:prstGeom>
            <a:noFill/>
          </p:spPr>
          <p:txBody>
            <a:bodyPr wrap="square" lIns="0" tIns="0" rIns="0" bIns="0" rtlCol="0">
              <a:spAutoFit/>
            </a:bodyPr>
            <a:lstStyle/>
            <a:p>
              <a:pPr marL="0" marR="0" lvl="0" indent="0" algn="ctr" defTabSz="1088776" rtl="0" eaLnBrk="1" fontAlgn="base" latinLnBrk="0" hangingPunct="1">
                <a:lnSpc>
                  <a:spcPct val="100000"/>
                </a:lnSpc>
                <a:spcBef>
                  <a:spcPct val="50000"/>
                </a:spcBef>
                <a:spcAft>
                  <a:spcPct val="0"/>
                </a:spcAft>
                <a:buClr>
                  <a:srgbClr val="000000"/>
                </a:buClr>
                <a:buSzPct val="100000"/>
                <a:buFontTx/>
                <a:buNone/>
                <a:tabLst/>
                <a:defRPr/>
              </a:pPr>
              <a:r>
                <a:rPr kumimoji="0" lang="en-US" sz="1800" b="0" i="0" u="none" strike="noStrike" kern="0" cap="none" spc="0" normalizeH="0" baseline="0" noProof="0" dirty="0">
                  <a:ln>
                    <a:noFill/>
                  </a:ln>
                  <a:solidFill>
                    <a:srgbClr val="000000"/>
                  </a:solidFill>
                  <a:effectLst/>
                  <a:uLnTx/>
                  <a:uFillTx/>
                  <a:latin typeface="72 Brand" panose="020B0504030603020204" pitchFamily="34" charset="0"/>
                  <a:ea typeface="Arial Unicode MS" pitchFamily="34" charset="-128"/>
                  <a:cs typeface="Arial Unicode MS" pitchFamily="34" charset="-128"/>
                </a:rPr>
                <a:t>Push-Based</a:t>
              </a:r>
              <a:br>
                <a:rPr kumimoji="0" lang="en-US" sz="1800" b="0" i="0" u="none" strike="noStrike" kern="0" cap="none" spc="0" normalizeH="0" baseline="0" noProof="0" dirty="0">
                  <a:ln>
                    <a:noFill/>
                  </a:ln>
                  <a:solidFill>
                    <a:srgbClr val="000000"/>
                  </a:solidFill>
                  <a:effectLst/>
                  <a:uLnTx/>
                  <a:uFillTx/>
                  <a:latin typeface="72 Brand" panose="020B0504030603020204" pitchFamily="34" charset="0"/>
                  <a:ea typeface="Arial Unicode MS" pitchFamily="34" charset="-128"/>
                  <a:cs typeface="Arial Unicode MS" pitchFamily="34" charset="-128"/>
                </a:rPr>
              </a:br>
              <a:r>
                <a:rPr kumimoji="0" lang="en-US" sz="1800" b="0" i="0" u="none" strike="noStrike" kern="0" cap="none" spc="0" normalizeH="0" baseline="0" noProof="0" dirty="0">
                  <a:ln>
                    <a:noFill/>
                  </a:ln>
                  <a:solidFill>
                    <a:srgbClr val="000000"/>
                  </a:solidFill>
                  <a:effectLst/>
                  <a:uLnTx/>
                  <a:uFillTx/>
                  <a:latin typeface="72 Brand" panose="020B0504030603020204" pitchFamily="34" charset="0"/>
                  <a:ea typeface="Arial Unicode MS" pitchFamily="34" charset="-128"/>
                  <a:cs typeface="Arial Unicode MS" pitchFamily="34" charset="-128"/>
                </a:rPr>
                <a:t>Asynchronous</a:t>
              </a:r>
              <a:br>
                <a:rPr kumimoji="0" lang="en-US" sz="1800" b="0" i="0" u="none" strike="noStrike" kern="0" cap="none" spc="0" normalizeH="0" baseline="0" noProof="0" dirty="0">
                  <a:ln>
                    <a:noFill/>
                  </a:ln>
                  <a:solidFill>
                    <a:srgbClr val="000000"/>
                  </a:solidFill>
                  <a:effectLst/>
                  <a:uLnTx/>
                  <a:uFillTx/>
                  <a:latin typeface="72 Brand" panose="020B0504030603020204" pitchFamily="34" charset="0"/>
                  <a:ea typeface="Arial Unicode MS" pitchFamily="34" charset="-128"/>
                  <a:cs typeface="Arial Unicode MS" pitchFamily="34" charset="-128"/>
                </a:rPr>
              </a:br>
              <a:r>
                <a:rPr kumimoji="0" lang="en-US" sz="1800" b="0" i="0" u="none" strike="noStrike" kern="0" cap="none" spc="0" normalizeH="0" baseline="0" noProof="0" dirty="0">
                  <a:ln>
                    <a:noFill/>
                  </a:ln>
                  <a:solidFill>
                    <a:srgbClr val="000000"/>
                  </a:solidFill>
                  <a:effectLst/>
                  <a:uLnTx/>
                  <a:uFillTx/>
                  <a:latin typeface="72 Brand" panose="020B0504030603020204" pitchFamily="34" charset="0"/>
                  <a:ea typeface="Arial Unicode MS" pitchFamily="34" charset="-128"/>
                  <a:cs typeface="Arial Unicode MS" pitchFamily="34" charset="-128"/>
                </a:rPr>
                <a:t>Decoupled</a:t>
              </a:r>
            </a:p>
          </p:txBody>
        </p:sp>
      </p:grpSp>
    </p:spTree>
    <p:extLst>
      <p:ext uri="{BB962C8B-B14F-4D97-AF65-F5344CB8AC3E}">
        <p14:creationId xmlns:p14="http://schemas.microsoft.com/office/powerpoint/2010/main" val="228661789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Rechteck 2">
            <a:extLst>
              <a:ext uri="{FF2B5EF4-FFF2-40B4-BE49-F238E27FC236}">
                <a16:creationId xmlns:a16="http://schemas.microsoft.com/office/drawing/2014/main" id="{487D4BA3-39B7-3B5C-C09F-8C9522327CB1}"/>
              </a:ext>
            </a:extLst>
          </p:cNvPr>
          <p:cNvSpPr/>
          <p:nvPr/>
        </p:nvSpPr>
        <p:spPr bwMode="gray">
          <a:xfrm>
            <a:off x="524628" y="1628775"/>
            <a:ext cx="11153022" cy="465914"/>
          </a:xfrm>
          <a:prstGeom prst="rect">
            <a:avLst/>
          </a:prstGeom>
          <a:solidFill>
            <a:schemeClr val="bg1">
              <a:lumMod val="95000"/>
            </a:schemeClr>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de-DE" sz="1800" b="0" i="0" u="none" strike="noStrike" kern="0" cap="none" spc="0" normalizeH="0" baseline="0" noProof="0" dirty="0" err="1">
              <a:ln>
                <a:noFill/>
              </a:ln>
              <a:effectLst/>
              <a:uLnTx/>
              <a:uFillTx/>
              <a:ea typeface="Arial Unicode MS" pitchFamily="34" charset="-128"/>
              <a:cs typeface="Arial Unicode MS" pitchFamily="34" charset="-128"/>
            </a:endParaRPr>
          </a:p>
        </p:txBody>
      </p:sp>
      <p:sp>
        <p:nvSpPr>
          <p:cNvPr id="2" name="Title 1">
            <a:extLst>
              <a:ext uri="{FF2B5EF4-FFF2-40B4-BE49-F238E27FC236}">
                <a16:creationId xmlns:a16="http://schemas.microsoft.com/office/drawing/2014/main" id="{B24FFDA2-A2B6-C943-810F-6E7E614B57AB}"/>
              </a:ext>
            </a:extLst>
          </p:cNvPr>
          <p:cNvSpPr>
            <a:spLocks noGrp="1"/>
          </p:cNvSpPr>
          <p:nvPr>
            <p:ph type="title"/>
          </p:nvPr>
        </p:nvSpPr>
        <p:spPr>
          <a:xfrm>
            <a:off x="504000" y="259200"/>
            <a:ext cx="11186476" cy="369332"/>
          </a:xfrm>
        </p:spPr>
        <p:txBody>
          <a:bodyPr/>
          <a:lstStyle/>
          <a:p>
            <a:r>
              <a:rPr lang="en-US" dirty="0"/>
              <a:t>Event sources: </a:t>
            </a:r>
            <a:r>
              <a:rPr lang="en-US" b="1" dirty="0">
                <a:solidFill>
                  <a:schemeClr val="tx1"/>
                </a:solidFill>
              </a:rPr>
              <a:t>Notification and data events</a:t>
            </a:r>
          </a:p>
        </p:txBody>
      </p:sp>
      <p:sp>
        <p:nvSpPr>
          <p:cNvPr id="5" name="TextBox 4">
            <a:extLst>
              <a:ext uri="{FF2B5EF4-FFF2-40B4-BE49-F238E27FC236}">
                <a16:creationId xmlns:a16="http://schemas.microsoft.com/office/drawing/2014/main" id="{64B8AF18-CF47-F9AC-AF3B-85DEC178BFA7}"/>
              </a:ext>
            </a:extLst>
          </p:cNvPr>
          <p:cNvSpPr txBox="1"/>
          <p:nvPr/>
        </p:nvSpPr>
        <p:spPr>
          <a:xfrm>
            <a:off x="524628" y="1640271"/>
            <a:ext cx="4637681" cy="369332"/>
          </a:xfrm>
          <a:prstGeom prst="rect">
            <a:avLst/>
          </a:prstGeom>
          <a:noFill/>
        </p:spPr>
        <p:txBody>
          <a:bodyPr wrap="square" lIns="0" tIns="0" rIns="0" bIns="0" rtlCol="0">
            <a:spAutoFit/>
          </a:bodyPr>
          <a:lstStyle/>
          <a:p>
            <a:pPr algn="ctr" fontAlgn="base">
              <a:spcBef>
                <a:spcPct val="50000"/>
              </a:spcBef>
              <a:spcAft>
                <a:spcPct val="0"/>
              </a:spcAft>
              <a:buClr>
                <a:srgbClr val="F0AB00"/>
              </a:buClr>
              <a:buSzPct val="80000"/>
            </a:pPr>
            <a:r>
              <a:rPr lang="en-DE" sz="2400" b="1" kern="0" dirty="0">
                <a:ea typeface="Arial Unicode MS" pitchFamily="34" charset="-128"/>
                <a:cs typeface="Arial Unicode MS" pitchFamily="34" charset="-128"/>
              </a:rPr>
              <a:t>Data Event</a:t>
            </a:r>
          </a:p>
        </p:txBody>
      </p:sp>
      <p:sp>
        <p:nvSpPr>
          <p:cNvPr id="6" name="TextBox 5">
            <a:extLst>
              <a:ext uri="{FF2B5EF4-FFF2-40B4-BE49-F238E27FC236}">
                <a16:creationId xmlns:a16="http://schemas.microsoft.com/office/drawing/2014/main" id="{261043E0-7F55-763F-F460-2C7D32A9C010}"/>
              </a:ext>
            </a:extLst>
          </p:cNvPr>
          <p:cNvSpPr txBox="1"/>
          <p:nvPr/>
        </p:nvSpPr>
        <p:spPr>
          <a:xfrm>
            <a:off x="6619036" y="1640271"/>
            <a:ext cx="4926874" cy="369332"/>
          </a:xfrm>
          <a:prstGeom prst="rect">
            <a:avLst/>
          </a:prstGeom>
          <a:noFill/>
        </p:spPr>
        <p:txBody>
          <a:bodyPr wrap="square" lIns="0" tIns="0" rIns="0" bIns="0" rtlCol="0">
            <a:spAutoFit/>
          </a:bodyPr>
          <a:lstStyle/>
          <a:p>
            <a:pPr algn="ctr" fontAlgn="base">
              <a:spcBef>
                <a:spcPct val="50000"/>
              </a:spcBef>
              <a:spcAft>
                <a:spcPct val="0"/>
              </a:spcAft>
              <a:buClr>
                <a:srgbClr val="F0AB00"/>
              </a:buClr>
              <a:buSzPct val="80000"/>
            </a:pPr>
            <a:r>
              <a:rPr lang="en-DE" sz="2400" b="1" kern="0" dirty="0">
                <a:ea typeface="Arial Unicode MS" pitchFamily="34" charset="-128"/>
                <a:cs typeface="Arial Unicode MS" pitchFamily="34" charset="-128"/>
              </a:rPr>
              <a:t>Notification Event</a:t>
            </a:r>
          </a:p>
        </p:txBody>
      </p:sp>
      <p:sp>
        <p:nvSpPr>
          <p:cNvPr id="9" name="TextBox 8">
            <a:extLst>
              <a:ext uri="{FF2B5EF4-FFF2-40B4-BE49-F238E27FC236}">
                <a16:creationId xmlns:a16="http://schemas.microsoft.com/office/drawing/2014/main" id="{6446DA7C-2D7A-FB11-D4BC-203AF64BAE0F}"/>
              </a:ext>
            </a:extLst>
          </p:cNvPr>
          <p:cNvSpPr txBox="1"/>
          <p:nvPr/>
        </p:nvSpPr>
        <p:spPr bwMode="black">
          <a:xfrm>
            <a:off x="519866" y="2460648"/>
            <a:ext cx="4832983" cy="3093154"/>
          </a:xfrm>
          <a:prstGeom prst="rect">
            <a:avLst/>
          </a:prstGeom>
        </p:spPr>
        <p:txBody>
          <a:bodyPr vert="horz" wrap="square" lIns="0" tIns="0" rIns="0" bIns="0" rtlCol="0" anchor="t">
            <a:spAutoFit/>
          </a:bodyPr>
          <a:lstStyle/>
          <a:p>
            <a:pPr defTabSz="1088558" fontAlgn="base">
              <a:spcBef>
                <a:spcPts val="1800"/>
              </a:spcBef>
              <a:spcAft>
                <a:spcPct val="0"/>
              </a:spcAft>
              <a:buClr>
                <a:srgbClr val="F0AB00"/>
              </a:buClr>
              <a:buSzPct val="80000"/>
            </a:pPr>
            <a:r>
              <a:rPr lang="en-DE" sz="2000" b="1" dirty="0">
                <a:latin typeface="Arial" panose="020B0604020202020204" pitchFamily="34" charset="0"/>
                <a:cs typeface="Arial" panose="020B0604020202020204" pitchFamily="34" charset="0"/>
              </a:rPr>
              <a:t>Advantages</a:t>
            </a:r>
            <a:endParaRPr lang="en-DE" sz="1800" dirty="0">
              <a:latin typeface="Arial" panose="020B0604020202020204" pitchFamily="34" charset="0"/>
              <a:cs typeface="Arial" panose="020B0604020202020204" pitchFamily="34" charset="0"/>
            </a:endParaRPr>
          </a:p>
          <a:p>
            <a:pPr marL="180975" lvl="1" indent="-180975" defTabSz="1088558" fontAlgn="base">
              <a:spcBef>
                <a:spcPts val="600"/>
              </a:spcBef>
              <a:spcAft>
                <a:spcPct val="0"/>
              </a:spcAft>
              <a:buClr>
                <a:schemeClr val="accent1"/>
              </a:buClr>
              <a:buFont typeface="Wingdings" panose="05000000000000000000" pitchFamily="2" charset="2"/>
              <a:buChar char="§"/>
            </a:pPr>
            <a:r>
              <a:rPr lang="en-DE" sz="1800" dirty="0">
                <a:latin typeface="Arial" panose="020B0604020202020204" pitchFamily="34" charset="0"/>
                <a:cs typeface="Arial" panose="020B0604020202020204" pitchFamily="34" charset="0"/>
              </a:rPr>
              <a:t>All needed </a:t>
            </a:r>
            <a:r>
              <a:rPr lang="en-DE" sz="1800" b="1" dirty="0">
                <a:latin typeface="Arial" panose="020B0604020202020204" pitchFamily="34" charset="0"/>
                <a:cs typeface="Arial" panose="020B0604020202020204" pitchFamily="34" charset="0"/>
              </a:rPr>
              <a:t>data included </a:t>
            </a:r>
            <a:r>
              <a:rPr lang="en-DE" sz="1800" dirty="0">
                <a:latin typeface="Arial" panose="020B0604020202020204" pitchFamily="34" charset="0"/>
                <a:cs typeface="Arial" panose="020B0604020202020204" pitchFamily="34" charset="0"/>
              </a:rPr>
              <a:t>in event</a:t>
            </a:r>
          </a:p>
          <a:p>
            <a:pPr marL="180975" lvl="1" indent="-180975" defTabSz="1088558" fontAlgn="base">
              <a:spcBef>
                <a:spcPts val="600"/>
              </a:spcBef>
              <a:spcAft>
                <a:spcPct val="0"/>
              </a:spcAft>
              <a:buClr>
                <a:schemeClr val="accent1"/>
              </a:buClr>
              <a:buFont typeface="Wingdings" panose="05000000000000000000" pitchFamily="2" charset="2"/>
              <a:buChar char="§"/>
            </a:pPr>
            <a:r>
              <a:rPr lang="en-DE" sz="1800" dirty="0">
                <a:latin typeface="Arial" panose="020B0604020202020204" pitchFamily="34" charset="0"/>
                <a:cs typeface="Arial" panose="020B0604020202020204" pitchFamily="34" charset="0"/>
              </a:rPr>
              <a:t>Good when full data set required in majority of cases</a:t>
            </a:r>
          </a:p>
          <a:p>
            <a:pPr defTabSz="1088558" fontAlgn="base">
              <a:spcBef>
                <a:spcPts val="1800"/>
              </a:spcBef>
              <a:spcAft>
                <a:spcPct val="0"/>
              </a:spcAft>
              <a:buClr>
                <a:srgbClr val="F0AB00"/>
              </a:buClr>
              <a:buSzPct val="80000"/>
            </a:pPr>
            <a:r>
              <a:rPr lang="en-DE" sz="2000" b="1" dirty="0">
                <a:latin typeface="Arial" panose="020B0604020202020204" pitchFamily="34" charset="0"/>
                <a:cs typeface="Arial" panose="020B0604020202020204" pitchFamily="34" charset="0"/>
              </a:rPr>
              <a:t>Challenges</a:t>
            </a:r>
            <a:endParaRPr lang="en-DE" sz="1800" dirty="0">
              <a:latin typeface="Arial" panose="020B0604020202020204" pitchFamily="34" charset="0"/>
              <a:cs typeface="Arial" panose="020B0604020202020204" pitchFamily="34" charset="0"/>
            </a:endParaRPr>
          </a:p>
          <a:p>
            <a:pPr marL="180975" lvl="1" indent="-180975" defTabSz="1088558" fontAlgn="base">
              <a:spcBef>
                <a:spcPts val="600"/>
              </a:spcBef>
              <a:spcAft>
                <a:spcPct val="0"/>
              </a:spcAft>
              <a:buClr>
                <a:schemeClr val="accent1"/>
              </a:buClr>
              <a:buFont typeface="Wingdings" panose="05000000000000000000" pitchFamily="2" charset="2"/>
              <a:buChar char="§"/>
            </a:pPr>
            <a:r>
              <a:rPr lang="en-DE" sz="1800" dirty="0">
                <a:cs typeface="Arial"/>
              </a:rPr>
              <a:t>Larger event size results in</a:t>
            </a:r>
            <a:r>
              <a:rPr lang="en-DE" sz="1800" b="1" dirty="0">
                <a:cs typeface="Arial"/>
              </a:rPr>
              <a:t> higher resource consumption </a:t>
            </a:r>
            <a:r>
              <a:rPr lang="en-DE" sz="1800" dirty="0">
                <a:cs typeface="Arial"/>
              </a:rPr>
              <a:t>for source, event broker</a:t>
            </a:r>
            <a:r>
              <a:rPr lang="en-US" sz="1800" dirty="0">
                <a:cs typeface="Arial"/>
              </a:rPr>
              <a:t>,</a:t>
            </a:r>
            <a:r>
              <a:rPr lang="en-DE" sz="1800" dirty="0">
                <a:cs typeface="Arial"/>
              </a:rPr>
              <a:t> and consumer</a:t>
            </a:r>
          </a:p>
          <a:p>
            <a:pPr marL="180975" lvl="1" indent="-180975" defTabSz="1088558" fontAlgn="base">
              <a:spcBef>
                <a:spcPts val="600"/>
              </a:spcBef>
              <a:spcAft>
                <a:spcPct val="0"/>
              </a:spcAft>
              <a:buClr>
                <a:schemeClr val="accent1"/>
              </a:buClr>
              <a:buFont typeface="Wingdings" panose="05000000000000000000" pitchFamily="2" charset="2"/>
              <a:buChar char="§"/>
            </a:pPr>
            <a:r>
              <a:rPr lang="en-DE" sz="1800" dirty="0">
                <a:latin typeface="Arial" panose="020B0604020202020204" pitchFamily="34" charset="0"/>
                <a:cs typeface="Arial" panose="020B0604020202020204" pitchFamily="34" charset="0"/>
              </a:rPr>
              <a:t>Raises topics like data access and protection</a:t>
            </a:r>
          </a:p>
        </p:txBody>
      </p:sp>
      <p:sp>
        <p:nvSpPr>
          <p:cNvPr id="10" name="TextBox 9">
            <a:extLst>
              <a:ext uri="{FF2B5EF4-FFF2-40B4-BE49-F238E27FC236}">
                <a16:creationId xmlns:a16="http://schemas.microsoft.com/office/drawing/2014/main" id="{1D124777-53C3-2415-BA53-E04A361BBFAC}"/>
              </a:ext>
            </a:extLst>
          </p:cNvPr>
          <p:cNvSpPr txBox="1"/>
          <p:nvPr/>
        </p:nvSpPr>
        <p:spPr bwMode="black">
          <a:xfrm>
            <a:off x="6619036" y="2460648"/>
            <a:ext cx="4926874" cy="2893100"/>
          </a:xfrm>
          <a:prstGeom prst="rect">
            <a:avLst/>
          </a:prstGeom>
        </p:spPr>
        <p:txBody>
          <a:bodyPr vert="horz" wrap="square" lIns="0" tIns="0" rIns="0" bIns="0" rtlCol="0">
            <a:spAutoFit/>
          </a:bodyPr>
          <a:lstStyle/>
          <a:p>
            <a:pPr defTabSz="1088558" fontAlgn="base">
              <a:spcBef>
                <a:spcPts val="1800"/>
              </a:spcBef>
              <a:spcAft>
                <a:spcPct val="0"/>
              </a:spcAft>
              <a:buClr>
                <a:srgbClr val="F0AB00"/>
              </a:buClr>
              <a:buSzPct val="80000"/>
            </a:pPr>
            <a:r>
              <a:rPr lang="en-DE" sz="2000" b="1" dirty="0">
                <a:latin typeface="Arial" panose="020B0604020202020204" pitchFamily="34" charset="0"/>
                <a:cs typeface="Arial" panose="020B0604020202020204" pitchFamily="34" charset="0"/>
              </a:rPr>
              <a:t>Advantages</a:t>
            </a:r>
            <a:endParaRPr lang="en-DE" sz="1800" b="1" dirty="0">
              <a:latin typeface="Arial" panose="020B0604020202020204" pitchFamily="34" charset="0"/>
              <a:cs typeface="Arial" panose="020B0604020202020204" pitchFamily="34" charset="0"/>
            </a:endParaRPr>
          </a:p>
          <a:p>
            <a:pPr marL="180975" lvl="1" indent="-180975" defTabSz="1088558" fontAlgn="base">
              <a:spcBef>
                <a:spcPts val="600"/>
              </a:spcBef>
              <a:spcAft>
                <a:spcPct val="0"/>
              </a:spcAft>
              <a:buClr>
                <a:schemeClr val="accent1"/>
              </a:buClr>
              <a:buFont typeface="Wingdings" panose="05000000000000000000" pitchFamily="2" charset="2"/>
              <a:buChar char="§"/>
            </a:pPr>
            <a:r>
              <a:rPr lang="en-DE" sz="1800" dirty="0">
                <a:latin typeface="Arial" panose="020B0604020202020204" pitchFamily="34" charset="0"/>
                <a:cs typeface="Arial" panose="020B0604020202020204" pitchFamily="34" charset="0"/>
              </a:rPr>
              <a:t>Very </a:t>
            </a:r>
            <a:r>
              <a:rPr lang="en-DE" sz="1800" b="1" dirty="0">
                <a:latin typeface="Arial" panose="020B0604020202020204" pitchFamily="34" charset="0"/>
                <a:cs typeface="Arial" panose="020B0604020202020204" pitchFamily="34" charset="0"/>
              </a:rPr>
              <a:t>small</a:t>
            </a:r>
          </a:p>
          <a:p>
            <a:pPr marL="180975" lvl="1" indent="-180975" defTabSz="1088558" fontAlgn="base">
              <a:spcBef>
                <a:spcPts val="600"/>
              </a:spcBef>
              <a:spcAft>
                <a:spcPct val="0"/>
              </a:spcAft>
              <a:buClr>
                <a:schemeClr val="accent1"/>
              </a:buClr>
              <a:buFont typeface="Wingdings" panose="05000000000000000000" pitchFamily="2" charset="2"/>
              <a:buChar char="§"/>
            </a:pPr>
            <a:r>
              <a:rPr lang="en-DE" sz="1800" dirty="0">
                <a:latin typeface="Arial" panose="020B0604020202020204" pitchFamily="34" charset="0"/>
                <a:cs typeface="Arial" panose="020B0604020202020204" pitchFamily="34" charset="0"/>
              </a:rPr>
              <a:t>Only minimal required data set, </a:t>
            </a:r>
            <a:r>
              <a:rPr lang="en-DE" sz="1800" b="1" dirty="0">
                <a:latin typeface="Arial" panose="020B0604020202020204" pitchFamily="34" charset="0"/>
                <a:cs typeface="Arial" panose="020B0604020202020204" pitchFamily="34" charset="0"/>
              </a:rPr>
              <a:t>controlled data access</a:t>
            </a:r>
            <a:r>
              <a:rPr lang="en-DE" sz="1800" dirty="0">
                <a:latin typeface="Arial" panose="020B0604020202020204" pitchFamily="34" charset="0"/>
                <a:cs typeface="Arial" panose="020B0604020202020204" pitchFamily="34" charset="0"/>
              </a:rPr>
              <a:t>  </a:t>
            </a:r>
          </a:p>
          <a:p>
            <a:pPr defTabSz="1088558" fontAlgn="base">
              <a:spcBef>
                <a:spcPts val="1800"/>
              </a:spcBef>
              <a:spcAft>
                <a:spcPct val="0"/>
              </a:spcAft>
              <a:buClr>
                <a:srgbClr val="F0AB00"/>
              </a:buClr>
              <a:buSzPct val="80000"/>
            </a:pPr>
            <a:r>
              <a:rPr lang="en-DE" sz="1800" b="1" dirty="0">
                <a:latin typeface="Arial" panose="020B0604020202020204" pitchFamily="34" charset="0"/>
                <a:cs typeface="Arial" panose="020B0604020202020204" pitchFamily="34" charset="0"/>
              </a:rPr>
              <a:t>Cha</a:t>
            </a:r>
            <a:r>
              <a:rPr lang="en-DE" sz="2000" b="1" dirty="0">
                <a:latin typeface="Arial" panose="020B0604020202020204" pitchFamily="34" charset="0"/>
                <a:cs typeface="Arial" panose="020B0604020202020204" pitchFamily="34" charset="0"/>
              </a:rPr>
              <a:t>l</a:t>
            </a:r>
            <a:r>
              <a:rPr lang="en-DE" sz="1800" b="1" dirty="0">
                <a:latin typeface="Arial" panose="020B0604020202020204" pitchFamily="34" charset="0"/>
                <a:cs typeface="Arial" panose="020B0604020202020204" pitchFamily="34" charset="0"/>
              </a:rPr>
              <a:t>lenges</a:t>
            </a:r>
          </a:p>
          <a:p>
            <a:pPr marL="180975" lvl="1" indent="-180975" defTabSz="1088558" fontAlgn="base">
              <a:spcBef>
                <a:spcPts val="600"/>
              </a:spcBef>
              <a:spcAft>
                <a:spcPct val="0"/>
              </a:spcAft>
              <a:buClr>
                <a:schemeClr val="accent1"/>
              </a:buClr>
              <a:buFont typeface="Wingdings" panose="05000000000000000000" pitchFamily="2" charset="2"/>
              <a:buChar char="§"/>
            </a:pPr>
            <a:r>
              <a:rPr lang="en-DE" sz="1800" b="1" dirty="0">
                <a:latin typeface="Arial" panose="020B0604020202020204" pitchFamily="34" charset="0"/>
                <a:cs typeface="Arial" panose="020B0604020202020204" pitchFamily="34" charset="0"/>
              </a:rPr>
              <a:t>Additional synchronous step </a:t>
            </a:r>
            <a:r>
              <a:rPr lang="en-DE" sz="1800" dirty="0">
                <a:latin typeface="Arial" panose="020B0604020202020204" pitchFamily="34" charset="0"/>
                <a:cs typeface="Arial" panose="020B0604020202020204" pitchFamily="34" charset="0"/>
              </a:rPr>
              <a:t>required</a:t>
            </a:r>
          </a:p>
          <a:p>
            <a:pPr marL="180975" lvl="1" indent="-180975" defTabSz="1088558" fontAlgn="base">
              <a:spcBef>
                <a:spcPts val="600"/>
              </a:spcBef>
              <a:spcAft>
                <a:spcPct val="0"/>
              </a:spcAft>
              <a:buClr>
                <a:schemeClr val="accent1"/>
              </a:buClr>
              <a:buFont typeface="Wingdings" panose="05000000000000000000" pitchFamily="2" charset="2"/>
              <a:buChar char="§"/>
            </a:pPr>
            <a:r>
              <a:rPr lang="en-DE" sz="1800" b="1" dirty="0">
                <a:latin typeface="Arial" panose="020B0604020202020204" pitchFamily="34" charset="0"/>
                <a:cs typeface="Arial" panose="020B0604020202020204" pitchFamily="34" charset="0"/>
              </a:rPr>
              <a:t>Suitable API needed </a:t>
            </a:r>
            <a:r>
              <a:rPr lang="en-DE" sz="1800" dirty="0">
                <a:latin typeface="Arial" panose="020B0604020202020204" pitchFamily="34" charset="0"/>
                <a:cs typeface="Arial" panose="020B0604020202020204" pitchFamily="34" charset="0"/>
              </a:rPr>
              <a:t>on top of suitable event</a:t>
            </a:r>
          </a:p>
          <a:p>
            <a:pPr marL="180975" lvl="1" indent="-180975" defTabSz="1088558" fontAlgn="base">
              <a:spcBef>
                <a:spcPts val="600"/>
              </a:spcBef>
              <a:spcAft>
                <a:spcPct val="0"/>
              </a:spcAft>
              <a:buClr>
                <a:schemeClr val="accent1"/>
              </a:buClr>
              <a:buFont typeface="Wingdings" panose="05000000000000000000" pitchFamily="2" charset="2"/>
              <a:buChar char="§"/>
            </a:pPr>
            <a:r>
              <a:rPr lang="en-DE" sz="1800" dirty="0">
                <a:latin typeface="Arial" panose="020B0604020202020204" pitchFamily="34" charset="0"/>
                <a:cs typeface="Arial" panose="020B0604020202020204" pitchFamily="34" charset="0"/>
              </a:rPr>
              <a:t>Additional configuration for API access</a:t>
            </a:r>
          </a:p>
        </p:txBody>
      </p:sp>
    </p:spTree>
    <p:extLst>
      <p:ext uri="{BB962C8B-B14F-4D97-AF65-F5344CB8AC3E}">
        <p14:creationId xmlns:p14="http://schemas.microsoft.com/office/powerpoint/2010/main" val="242587260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1" name="Rechteck 10">
            <a:extLst>
              <a:ext uri="{FF2B5EF4-FFF2-40B4-BE49-F238E27FC236}">
                <a16:creationId xmlns:a16="http://schemas.microsoft.com/office/drawing/2014/main" id="{648F0FFD-6732-2A51-4189-CCA368BD7908}"/>
              </a:ext>
            </a:extLst>
          </p:cNvPr>
          <p:cNvSpPr/>
          <p:nvPr/>
        </p:nvSpPr>
        <p:spPr bwMode="gray">
          <a:xfrm>
            <a:off x="524628" y="1628775"/>
            <a:ext cx="11153022" cy="465914"/>
          </a:xfrm>
          <a:prstGeom prst="rect">
            <a:avLst/>
          </a:prstGeom>
          <a:solidFill>
            <a:schemeClr val="bg1">
              <a:lumMod val="95000"/>
            </a:schemeClr>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de-DE" sz="1800" b="0" i="0" u="none" strike="noStrike" kern="0" cap="none" spc="0" normalizeH="0" baseline="0" noProof="0" dirty="0" err="1">
              <a:ln>
                <a:noFill/>
              </a:ln>
              <a:effectLst/>
              <a:uLnTx/>
              <a:uFillTx/>
              <a:ea typeface="Arial Unicode MS" pitchFamily="34" charset="-128"/>
              <a:cs typeface="Arial Unicode MS" pitchFamily="34" charset="-128"/>
            </a:endParaRPr>
          </a:p>
        </p:txBody>
      </p:sp>
      <p:sp>
        <p:nvSpPr>
          <p:cNvPr id="2" name="Title 1">
            <a:extLst>
              <a:ext uri="{FF2B5EF4-FFF2-40B4-BE49-F238E27FC236}">
                <a16:creationId xmlns:a16="http://schemas.microsoft.com/office/drawing/2014/main" id="{B24FFDA2-A2B6-C943-810F-6E7E614B57AB}"/>
              </a:ext>
            </a:extLst>
          </p:cNvPr>
          <p:cNvSpPr>
            <a:spLocks noGrp="1"/>
          </p:cNvSpPr>
          <p:nvPr>
            <p:ph type="title"/>
          </p:nvPr>
        </p:nvSpPr>
        <p:spPr>
          <a:xfrm>
            <a:off x="504000" y="259200"/>
            <a:ext cx="11186476" cy="369332"/>
          </a:xfrm>
        </p:spPr>
        <p:txBody>
          <a:bodyPr/>
          <a:lstStyle/>
          <a:p>
            <a:r>
              <a:rPr lang="en-US" dirty="0"/>
              <a:t>Event sources: </a:t>
            </a:r>
            <a:r>
              <a:rPr lang="en-US" b="1" dirty="0">
                <a:solidFill>
                  <a:schemeClr val="tx1"/>
                </a:solidFill>
              </a:rPr>
              <a:t>Custom and standard events</a:t>
            </a:r>
          </a:p>
        </p:txBody>
      </p:sp>
      <p:sp>
        <p:nvSpPr>
          <p:cNvPr id="4" name="TextBox 3">
            <a:extLst>
              <a:ext uri="{FF2B5EF4-FFF2-40B4-BE49-F238E27FC236}">
                <a16:creationId xmlns:a16="http://schemas.microsoft.com/office/drawing/2014/main" id="{FC3691EE-9369-2308-9EBB-CCEF694A394E}"/>
              </a:ext>
            </a:extLst>
          </p:cNvPr>
          <p:cNvSpPr txBox="1"/>
          <p:nvPr/>
        </p:nvSpPr>
        <p:spPr bwMode="black">
          <a:xfrm>
            <a:off x="519221" y="2460648"/>
            <a:ext cx="5112000" cy="3631763"/>
          </a:xfrm>
          <a:prstGeom prst="rect">
            <a:avLst/>
          </a:prstGeom>
        </p:spPr>
        <p:txBody>
          <a:bodyPr vert="horz" wrap="square" lIns="0" tIns="0" rIns="0" bIns="0" rtlCol="0">
            <a:spAutoFit/>
          </a:bodyPr>
          <a:lstStyle>
            <a:defPPr>
              <a:defRPr lang="de-DE"/>
            </a:defPPr>
            <a:lvl1pPr defTabSz="1088558" fontAlgn="base">
              <a:spcBef>
                <a:spcPts val="1800"/>
              </a:spcBef>
              <a:spcAft>
                <a:spcPct val="0"/>
              </a:spcAft>
              <a:buClr>
                <a:srgbClr val="F0AB00"/>
              </a:buClr>
              <a:buSzPct val="80000"/>
              <a:defRPr sz="2000" b="1">
                <a:solidFill>
                  <a:schemeClr val="accent1"/>
                </a:solidFill>
                <a:latin typeface="Arial" panose="020B0604020202020204" pitchFamily="34" charset="0"/>
                <a:cs typeface="Arial" panose="020B0604020202020204" pitchFamily="34" charset="0"/>
              </a:defRPr>
            </a:lvl1pPr>
            <a:lvl2pPr marL="180975" lvl="1" indent="-180975" defTabSz="1088558" fontAlgn="base">
              <a:spcBef>
                <a:spcPts val="600"/>
              </a:spcBef>
              <a:spcAft>
                <a:spcPct val="0"/>
              </a:spcAft>
              <a:buClr>
                <a:schemeClr val="accent1"/>
              </a:buClr>
              <a:buFont typeface="Wingdings" panose="05000000000000000000" pitchFamily="2" charset="2"/>
              <a:buChar char="§"/>
              <a:defRPr sz="1800">
                <a:latin typeface="Arial" panose="020B0604020202020204" pitchFamily="34" charset="0"/>
                <a:cs typeface="Arial" panose="020B0604020202020204" pitchFamily="34" charset="0"/>
              </a:defRPr>
            </a:lvl2pPr>
          </a:lstStyle>
          <a:p>
            <a:pPr lvl="1"/>
            <a:r>
              <a:rPr lang="en-DE" dirty="0"/>
              <a:t>Provided by SAP business applications / back</a:t>
            </a:r>
            <a:r>
              <a:rPr lang="en-US" dirty="0"/>
              <a:t> </a:t>
            </a:r>
            <a:r>
              <a:rPr lang="en-DE" dirty="0"/>
              <a:t>ends as part of SAP standard</a:t>
            </a:r>
          </a:p>
          <a:p>
            <a:pPr lvl="1"/>
            <a:r>
              <a:rPr lang="en-DE" dirty="0"/>
              <a:t>Can be looked up at SAP Business Accelerator</a:t>
            </a:r>
            <a:r>
              <a:rPr lang="en-US" dirty="0"/>
              <a:t> Hub</a:t>
            </a:r>
            <a:r>
              <a:rPr lang="en-DE" dirty="0"/>
              <a:t> (api.sap.com) or in SFSF Intelligent Services documentation</a:t>
            </a:r>
          </a:p>
          <a:p>
            <a:pPr lvl="1"/>
            <a:r>
              <a:rPr lang="en-DE" dirty="0"/>
              <a:t>Typically notification events</a:t>
            </a:r>
            <a:r>
              <a:rPr lang="en-US" dirty="0"/>
              <a:t>;</a:t>
            </a:r>
            <a:r>
              <a:rPr lang="en-DE" dirty="0"/>
              <a:t> can be data events </a:t>
            </a:r>
            <a:r>
              <a:rPr lang="en-US" dirty="0"/>
              <a:t>too</a:t>
            </a:r>
            <a:endParaRPr lang="en-DE" dirty="0"/>
          </a:p>
          <a:p>
            <a:pPr lvl="1"/>
            <a:r>
              <a:rPr lang="en-DE" dirty="0"/>
              <a:t>Means to adjust/extend standard events provided by back</a:t>
            </a:r>
            <a:r>
              <a:rPr lang="en-US" dirty="0"/>
              <a:t> </a:t>
            </a:r>
            <a:r>
              <a:rPr lang="en-DE" dirty="0"/>
              <a:t>ends and differ from back</a:t>
            </a:r>
            <a:r>
              <a:rPr lang="en-US" dirty="0"/>
              <a:t> </a:t>
            </a:r>
            <a:r>
              <a:rPr lang="en-DE" dirty="0"/>
              <a:t>end to back</a:t>
            </a:r>
            <a:r>
              <a:rPr lang="en-US" dirty="0"/>
              <a:t> </a:t>
            </a:r>
            <a:r>
              <a:rPr lang="en-DE" dirty="0"/>
              <a:t>end</a:t>
            </a:r>
          </a:p>
          <a:p>
            <a:pPr lvl="1"/>
            <a:r>
              <a:rPr lang="en-DE" dirty="0"/>
              <a:t>For some back</a:t>
            </a:r>
            <a:r>
              <a:rPr lang="en-US" dirty="0"/>
              <a:t> </a:t>
            </a:r>
            <a:r>
              <a:rPr lang="en-DE" dirty="0"/>
              <a:t>ends</a:t>
            </a:r>
            <a:r>
              <a:rPr lang="en-US" dirty="0"/>
              <a:t>,</a:t>
            </a:r>
            <a:r>
              <a:rPr lang="en-DE" dirty="0"/>
              <a:t> no adjustments </a:t>
            </a:r>
            <a:r>
              <a:rPr lang="en-US" dirty="0"/>
              <a:t>are </a:t>
            </a:r>
            <a:r>
              <a:rPr lang="en-DE" dirty="0"/>
              <a:t>possible</a:t>
            </a:r>
          </a:p>
        </p:txBody>
      </p:sp>
      <p:sp>
        <p:nvSpPr>
          <p:cNvPr id="6" name="TextBox 5">
            <a:extLst>
              <a:ext uri="{FF2B5EF4-FFF2-40B4-BE49-F238E27FC236}">
                <a16:creationId xmlns:a16="http://schemas.microsoft.com/office/drawing/2014/main" id="{FD4A9F70-D051-D536-1221-D994DA1550D2}"/>
              </a:ext>
            </a:extLst>
          </p:cNvPr>
          <p:cNvSpPr txBox="1"/>
          <p:nvPr/>
        </p:nvSpPr>
        <p:spPr bwMode="black">
          <a:xfrm>
            <a:off x="6619036" y="2460648"/>
            <a:ext cx="5112000" cy="2446824"/>
          </a:xfrm>
          <a:prstGeom prst="rect">
            <a:avLst/>
          </a:prstGeom>
        </p:spPr>
        <p:txBody>
          <a:bodyPr vert="horz" wrap="square" lIns="0" tIns="0" rIns="0" bIns="0" rtlCol="0">
            <a:spAutoFit/>
          </a:bodyPr>
          <a:lstStyle>
            <a:defPPr>
              <a:defRPr lang="de-DE"/>
            </a:defPPr>
            <a:lvl1pPr defTabSz="1088558" fontAlgn="base">
              <a:spcBef>
                <a:spcPts val="1800"/>
              </a:spcBef>
              <a:spcAft>
                <a:spcPct val="0"/>
              </a:spcAft>
              <a:buClr>
                <a:srgbClr val="F0AB00"/>
              </a:buClr>
              <a:buSzPct val="80000"/>
              <a:defRPr sz="2000" b="1">
                <a:solidFill>
                  <a:schemeClr val="accent1"/>
                </a:solidFill>
                <a:latin typeface="Arial" panose="020B0604020202020204" pitchFamily="34" charset="0"/>
                <a:cs typeface="Arial" panose="020B0604020202020204" pitchFamily="34" charset="0"/>
              </a:defRPr>
            </a:lvl1pPr>
            <a:lvl2pPr marL="180975" lvl="1" indent="-180975" defTabSz="1088558" fontAlgn="base">
              <a:spcBef>
                <a:spcPts val="600"/>
              </a:spcBef>
              <a:spcAft>
                <a:spcPct val="0"/>
              </a:spcAft>
              <a:buClr>
                <a:schemeClr val="accent1"/>
              </a:buClr>
              <a:buFont typeface="Wingdings" panose="05000000000000000000" pitchFamily="2" charset="2"/>
              <a:buChar char="§"/>
              <a:defRPr sz="1800">
                <a:latin typeface="Arial" panose="020B0604020202020204" pitchFamily="34" charset="0"/>
                <a:cs typeface="Arial" panose="020B0604020202020204" pitchFamily="34" charset="0"/>
              </a:defRPr>
            </a:lvl2pPr>
          </a:lstStyle>
          <a:p>
            <a:pPr lvl="1"/>
            <a:r>
              <a:rPr lang="en-DE" dirty="0"/>
              <a:t>Created by customers to address use cases for which no standard events are available</a:t>
            </a:r>
          </a:p>
          <a:p>
            <a:pPr lvl="1"/>
            <a:r>
              <a:rPr lang="en-DE" dirty="0"/>
              <a:t>Ways to create custom events differ from back</a:t>
            </a:r>
            <a:r>
              <a:rPr lang="en-US" dirty="0"/>
              <a:t> </a:t>
            </a:r>
            <a:r>
              <a:rPr lang="en-DE" dirty="0"/>
              <a:t>end to back</a:t>
            </a:r>
            <a:r>
              <a:rPr lang="en-US" dirty="0"/>
              <a:t> </a:t>
            </a:r>
            <a:r>
              <a:rPr lang="en-DE" dirty="0"/>
              <a:t>end</a:t>
            </a:r>
          </a:p>
          <a:p>
            <a:pPr lvl="1"/>
            <a:r>
              <a:rPr lang="en-DE" dirty="0"/>
              <a:t>Typical tools are the event-enablement add-on or the RAP</a:t>
            </a:r>
            <a:r>
              <a:rPr lang="en-US" dirty="0"/>
              <a:t>-</a:t>
            </a:r>
            <a:r>
              <a:rPr lang="en-DE" dirty="0"/>
              <a:t>based approach</a:t>
            </a:r>
          </a:p>
          <a:p>
            <a:pPr lvl="1"/>
            <a:r>
              <a:rPr lang="en-DE" dirty="0"/>
              <a:t>Custom events can be completely tailored to fit specific customer needs</a:t>
            </a:r>
          </a:p>
        </p:txBody>
      </p:sp>
      <p:sp>
        <p:nvSpPr>
          <p:cNvPr id="3" name="TextBox 4">
            <a:extLst>
              <a:ext uri="{FF2B5EF4-FFF2-40B4-BE49-F238E27FC236}">
                <a16:creationId xmlns:a16="http://schemas.microsoft.com/office/drawing/2014/main" id="{BA6C07BB-C055-43C7-66C1-11EC084FB042}"/>
              </a:ext>
            </a:extLst>
          </p:cNvPr>
          <p:cNvSpPr txBox="1"/>
          <p:nvPr/>
        </p:nvSpPr>
        <p:spPr>
          <a:xfrm>
            <a:off x="1684882" y="1640271"/>
            <a:ext cx="2257028" cy="369332"/>
          </a:xfrm>
          <a:prstGeom prst="rect">
            <a:avLst/>
          </a:prstGeom>
          <a:noFill/>
        </p:spPr>
        <p:txBody>
          <a:bodyPr wrap="none" lIns="0" tIns="0" rIns="0" bIns="0" rtlCol="0">
            <a:spAutoFit/>
          </a:bodyPr>
          <a:lstStyle/>
          <a:p>
            <a:pPr fontAlgn="base">
              <a:spcBef>
                <a:spcPct val="50000"/>
              </a:spcBef>
              <a:spcAft>
                <a:spcPct val="0"/>
              </a:spcAft>
              <a:buClr>
                <a:srgbClr val="F0AB00"/>
              </a:buClr>
              <a:buSzPct val="80000"/>
            </a:pPr>
            <a:r>
              <a:rPr lang="de-DE" sz="2400" b="1" kern="0">
                <a:ea typeface="Arial Unicode MS" pitchFamily="34" charset="-128"/>
                <a:cs typeface="Arial Unicode MS" pitchFamily="34" charset="-128"/>
              </a:rPr>
              <a:t>Standard</a:t>
            </a:r>
            <a:r>
              <a:rPr lang="en-DE" sz="2400" b="1" kern="0">
                <a:ea typeface="Arial Unicode MS" pitchFamily="34" charset="-128"/>
                <a:cs typeface="Arial Unicode MS" pitchFamily="34" charset="-128"/>
              </a:rPr>
              <a:t> </a:t>
            </a:r>
            <a:r>
              <a:rPr lang="en-DE" sz="2400" b="1" kern="0" dirty="0">
                <a:ea typeface="Arial Unicode MS" pitchFamily="34" charset="-128"/>
                <a:cs typeface="Arial Unicode MS" pitchFamily="34" charset="-128"/>
              </a:rPr>
              <a:t>Event</a:t>
            </a:r>
          </a:p>
        </p:txBody>
      </p:sp>
      <p:sp>
        <p:nvSpPr>
          <p:cNvPr id="5" name="TextBox 5">
            <a:extLst>
              <a:ext uri="{FF2B5EF4-FFF2-40B4-BE49-F238E27FC236}">
                <a16:creationId xmlns:a16="http://schemas.microsoft.com/office/drawing/2014/main" id="{0479A635-0822-7601-58A9-1490C9D92BE2}"/>
              </a:ext>
            </a:extLst>
          </p:cNvPr>
          <p:cNvSpPr txBox="1"/>
          <p:nvPr/>
        </p:nvSpPr>
        <p:spPr>
          <a:xfrm>
            <a:off x="7653663" y="1640271"/>
            <a:ext cx="2069477" cy="369332"/>
          </a:xfrm>
          <a:prstGeom prst="rect">
            <a:avLst/>
          </a:prstGeom>
          <a:noFill/>
        </p:spPr>
        <p:txBody>
          <a:bodyPr wrap="none" lIns="0" tIns="0" rIns="0" bIns="0" rtlCol="0">
            <a:spAutoFit/>
          </a:bodyPr>
          <a:lstStyle/>
          <a:p>
            <a:pPr fontAlgn="base">
              <a:spcBef>
                <a:spcPct val="50000"/>
              </a:spcBef>
              <a:spcAft>
                <a:spcPct val="0"/>
              </a:spcAft>
              <a:buClr>
                <a:srgbClr val="F0AB00"/>
              </a:buClr>
              <a:buSzPct val="80000"/>
            </a:pPr>
            <a:r>
              <a:rPr lang="de-DE" sz="2400" b="1" kern="0">
                <a:ea typeface="Arial Unicode MS" pitchFamily="34" charset="-128"/>
                <a:cs typeface="Arial Unicode MS" pitchFamily="34" charset="-128"/>
              </a:rPr>
              <a:t>Custom</a:t>
            </a:r>
            <a:r>
              <a:rPr lang="en-DE" sz="2400" b="1" kern="0">
                <a:ea typeface="Arial Unicode MS" pitchFamily="34" charset="-128"/>
                <a:cs typeface="Arial Unicode MS" pitchFamily="34" charset="-128"/>
              </a:rPr>
              <a:t> </a:t>
            </a:r>
            <a:r>
              <a:rPr lang="en-DE" sz="2400" b="1" kern="0" dirty="0">
                <a:ea typeface="Arial Unicode MS" pitchFamily="34" charset="-128"/>
                <a:cs typeface="Arial Unicode MS" pitchFamily="34" charset="-128"/>
              </a:rPr>
              <a:t>Event</a:t>
            </a:r>
          </a:p>
        </p:txBody>
      </p:sp>
      <p:sp>
        <p:nvSpPr>
          <p:cNvPr id="7" name="Rechteck 6">
            <a:extLst>
              <a:ext uri="{FF2B5EF4-FFF2-40B4-BE49-F238E27FC236}">
                <a16:creationId xmlns:a16="http://schemas.microsoft.com/office/drawing/2014/main" id="{BEF3B08A-C893-2442-6F1E-C43E92D9F0BC}"/>
              </a:ext>
            </a:extLst>
          </p:cNvPr>
          <p:cNvSpPr/>
          <p:nvPr/>
        </p:nvSpPr>
        <p:spPr bwMode="gray">
          <a:xfrm>
            <a:off x="3941910" y="1223158"/>
            <a:ext cx="1105103" cy="332510"/>
          </a:xfrm>
          <a:prstGeom prst="rect">
            <a:avLst/>
          </a:prstGeom>
          <a:noFill/>
          <a:ln w="2540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800" b="0" i="0" u="none" strike="noStrike" kern="0" cap="none" spc="0" normalizeH="0" baseline="0" noProof="0" dirty="0">
                <a:ln>
                  <a:noFill/>
                </a:ln>
                <a:effectLst/>
                <a:uLnTx/>
                <a:uFillTx/>
                <a:ea typeface="Arial Unicode MS" pitchFamily="34" charset="-128"/>
                <a:cs typeface="Arial Unicode MS" pitchFamily="34" charset="-128"/>
              </a:rPr>
              <a:t>Day 2</a:t>
            </a:r>
          </a:p>
        </p:txBody>
      </p:sp>
      <p:sp>
        <p:nvSpPr>
          <p:cNvPr id="8" name="Rechteck 7">
            <a:extLst>
              <a:ext uri="{FF2B5EF4-FFF2-40B4-BE49-F238E27FC236}">
                <a16:creationId xmlns:a16="http://schemas.microsoft.com/office/drawing/2014/main" id="{681EDE67-891F-BFBD-4354-77939B6BF182}"/>
              </a:ext>
            </a:extLst>
          </p:cNvPr>
          <p:cNvSpPr/>
          <p:nvPr/>
        </p:nvSpPr>
        <p:spPr bwMode="gray">
          <a:xfrm>
            <a:off x="10138850" y="1212080"/>
            <a:ext cx="1105103" cy="332510"/>
          </a:xfrm>
          <a:prstGeom prst="rect">
            <a:avLst/>
          </a:prstGeom>
          <a:noFill/>
          <a:ln w="2540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800" b="0" i="0" u="none" strike="noStrike" kern="0" cap="none" spc="0" normalizeH="0" baseline="0" noProof="0" dirty="0">
                <a:ln>
                  <a:noFill/>
                </a:ln>
                <a:effectLst/>
                <a:uLnTx/>
                <a:uFillTx/>
                <a:ea typeface="Arial Unicode MS" pitchFamily="34" charset="-128"/>
                <a:cs typeface="Arial Unicode MS" pitchFamily="34" charset="-128"/>
              </a:rPr>
              <a:t>Day 2</a:t>
            </a:r>
          </a:p>
        </p:txBody>
      </p:sp>
    </p:spTree>
    <p:extLst>
      <p:ext uri="{BB962C8B-B14F-4D97-AF65-F5344CB8AC3E}">
        <p14:creationId xmlns:p14="http://schemas.microsoft.com/office/powerpoint/2010/main" val="368929265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39D29D7-A1F5-C980-F07F-1358561247DF}"/>
              </a:ext>
            </a:extLst>
          </p:cNvPr>
          <p:cNvSpPr>
            <a:spLocks noGrp="1"/>
          </p:cNvSpPr>
          <p:nvPr>
            <p:ph type="body" sz="quarter" idx="10"/>
          </p:nvPr>
        </p:nvSpPr>
        <p:spPr/>
        <p:txBody>
          <a:bodyPr>
            <a:normAutofit/>
          </a:bodyPr>
          <a:lstStyle/>
          <a:p>
            <a:pPr>
              <a:lnSpc>
                <a:spcPct val="120000"/>
              </a:lnSpc>
              <a:spcBef>
                <a:spcPts val="600"/>
              </a:spcBef>
              <a:buSzPts val="1000"/>
              <a:tabLst>
                <a:tab pos="457200" algn="l"/>
              </a:tabLst>
            </a:pPr>
            <a:endParaRPr lang="en-US" sz="2000" dirty="0">
              <a:latin typeface="+mn-lt"/>
            </a:endParaRPr>
          </a:p>
          <a:p>
            <a:pPr marL="342900" lvl="0" indent="-342900">
              <a:lnSpc>
                <a:spcPct val="120000"/>
              </a:lnSpc>
              <a:spcBef>
                <a:spcPts val="600"/>
              </a:spcBef>
              <a:buSzPts val="1000"/>
              <a:buFont typeface="Symbol" panose="05050102010706020507" pitchFamily="18" charset="2"/>
              <a:buChar char=""/>
              <a:tabLst>
                <a:tab pos="457200" algn="l"/>
              </a:tabLst>
            </a:pPr>
            <a:r>
              <a:rPr lang="en-US" sz="1800" dirty="0">
                <a:effectLst/>
                <a:latin typeface="+mn-lt"/>
                <a:ea typeface="Calibri" panose="020F0502020204030204" pitchFamily="34" charset="0"/>
              </a:rPr>
              <a:t>  </a:t>
            </a:r>
          </a:p>
        </p:txBody>
      </p:sp>
      <p:sp>
        <p:nvSpPr>
          <p:cNvPr id="3" name="Title 2">
            <a:extLst>
              <a:ext uri="{FF2B5EF4-FFF2-40B4-BE49-F238E27FC236}">
                <a16:creationId xmlns:a16="http://schemas.microsoft.com/office/drawing/2014/main" id="{11072366-AF44-D84F-6CBA-3D0D0BB74E9B}"/>
              </a:ext>
            </a:extLst>
          </p:cNvPr>
          <p:cNvSpPr>
            <a:spLocks noGrp="1"/>
          </p:cNvSpPr>
          <p:nvPr>
            <p:ph type="title"/>
          </p:nvPr>
        </p:nvSpPr>
        <p:spPr/>
        <p:txBody>
          <a:bodyPr/>
          <a:lstStyle/>
          <a:p>
            <a:r>
              <a:rPr lang="en-US" dirty="0"/>
              <a:t>Prerequisites Bootcamp</a:t>
            </a:r>
            <a:endParaRPr lang="en-DE"/>
          </a:p>
        </p:txBody>
      </p:sp>
      <p:sp>
        <p:nvSpPr>
          <p:cNvPr id="4" name="Text Placeholder 1">
            <a:extLst>
              <a:ext uri="{FF2B5EF4-FFF2-40B4-BE49-F238E27FC236}">
                <a16:creationId xmlns:a16="http://schemas.microsoft.com/office/drawing/2014/main" id="{A8CBAD58-0C13-2DD0-1079-7F4DB0807AA6}"/>
              </a:ext>
            </a:extLst>
          </p:cNvPr>
          <p:cNvSpPr txBox="1">
            <a:spLocks/>
          </p:cNvSpPr>
          <p:nvPr/>
        </p:nvSpPr>
        <p:spPr bwMode="black">
          <a:xfrm>
            <a:off x="655638" y="1733244"/>
            <a:ext cx="11185200" cy="4764394"/>
          </a:xfrm>
          <a:prstGeom prst="rect">
            <a:avLst/>
          </a:prstGeom>
        </p:spPr>
        <p:txBody>
          <a:bodyPr vert="horz" lIns="0" tIns="0" rIns="0" bIns="0" rtlCol="0" anchor="t">
            <a:normAutofit/>
          </a:bodyPr>
          <a:lstStyle>
            <a:lvl1pPr marL="0" marR="0" indent="0" algn="l" defTabSz="1088558" rtl="0" eaLnBrk="1" fontAlgn="auto" latinLnBrk="0" hangingPunct="1">
              <a:lnSpc>
                <a:spcPct val="100000"/>
              </a:lnSpc>
              <a:spcBef>
                <a:spcPts val="3000"/>
              </a:spcBef>
              <a:spcAft>
                <a:spcPts val="0"/>
              </a:spcAft>
              <a:buClr>
                <a:schemeClr val="accent1"/>
              </a:buClr>
              <a:buSzPct val="80000"/>
              <a:buFontTx/>
              <a:buNone/>
              <a:tabLst/>
              <a:defRPr sz="2000" b="0" i="0" kern="1200">
                <a:solidFill>
                  <a:schemeClr val="tx1"/>
                </a:solidFill>
                <a:latin typeface="72 Brand" panose="020B0504030603020204" pitchFamily="34" charset="0"/>
                <a:ea typeface="+mn-ea"/>
                <a:cs typeface="+mn-cs"/>
              </a:defRPr>
            </a:lvl1pPr>
            <a:lvl2pPr marL="179964" marR="0" indent="-179964" algn="l" defTabSz="1088558"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sz="1800" b="0" i="0" kern="1200">
                <a:solidFill>
                  <a:schemeClr val="tx1"/>
                </a:solidFill>
                <a:latin typeface="72 Brand" panose="020B0504030603020204" pitchFamily="34" charset="0"/>
                <a:ea typeface="+mn-ea"/>
                <a:cs typeface="+mn-cs"/>
              </a:defRPr>
            </a:lvl2pPr>
            <a:lvl3pPr marL="359928" marR="0" indent="-179352" algn="l" defTabSz="1088558" rtl="0" eaLnBrk="1" fontAlgn="auto" latinLnBrk="0" hangingPunct="1">
              <a:lnSpc>
                <a:spcPct val="100000"/>
              </a:lnSpc>
              <a:spcBef>
                <a:spcPts val="400"/>
              </a:spcBef>
              <a:spcAft>
                <a:spcPts val="0"/>
              </a:spcAft>
              <a:buClr>
                <a:schemeClr val="tx1"/>
              </a:buClr>
              <a:buSzPct val="100000"/>
              <a:buFont typeface="Arial" pitchFamily="34" charset="0"/>
              <a:buChar char="–"/>
              <a:tabLst/>
              <a:defRPr lang="en-US" sz="1800" b="0" i="0" kern="1200" baseline="0" noProof="0">
                <a:solidFill>
                  <a:schemeClr val="tx1"/>
                </a:solidFill>
                <a:latin typeface="72 Brand" panose="020B0504030603020204" pitchFamily="34" charset="0"/>
                <a:ea typeface="+mn-ea"/>
                <a:cs typeface="+mn-cs"/>
              </a:defRPr>
            </a:lvl3pPr>
            <a:lvl4pPr marL="539892" marR="0" indent="-179964" algn="l" defTabSz="1088558" rtl="0" eaLnBrk="1" fontAlgn="auto" latinLnBrk="0" hangingPunct="1">
              <a:lnSpc>
                <a:spcPct val="100000"/>
              </a:lnSpc>
              <a:spcBef>
                <a:spcPts val="250"/>
              </a:spcBef>
              <a:spcAft>
                <a:spcPts val="0"/>
              </a:spcAft>
              <a:buClr>
                <a:schemeClr val="tx1"/>
              </a:buClr>
              <a:buSzPct val="100000"/>
              <a:buFont typeface="Courier New" pitchFamily="49" charset="0"/>
              <a:buChar char="o"/>
              <a:tabLst/>
              <a:defRPr sz="1600" b="0" i="0" kern="1200">
                <a:solidFill>
                  <a:schemeClr val="tx1"/>
                </a:solidFill>
                <a:latin typeface="72 Brand" panose="020B0504030603020204" pitchFamily="34" charset="0"/>
                <a:ea typeface="+mn-ea"/>
                <a:cs typeface="+mn-cs"/>
              </a:defRPr>
            </a:lvl4pPr>
            <a:lvl5pPr marL="719856" indent="-179964" algn="l" defTabSz="1088558" rtl="0" eaLnBrk="1" latinLnBrk="0" hangingPunct="1">
              <a:spcBef>
                <a:spcPts val="100"/>
              </a:spcBef>
              <a:buClr>
                <a:schemeClr val="accent2"/>
              </a:buClr>
              <a:buSzPct val="100000"/>
              <a:buFont typeface="Arial" pitchFamily="34" charset="0"/>
              <a:buChar char="–"/>
              <a:defRPr sz="1400" b="0" i="0" kern="1200" baseline="0">
                <a:solidFill>
                  <a:schemeClr val="tx1"/>
                </a:solidFill>
                <a:latin typeface="72 Brand" panose="020B0504030603020204" pitchFamily="34" charset="0"/>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a:spcBef>
                <a:spcPts val="600"/>
              </a:spcBef>
            </a:pPr>
            <a:r>
              <a:rPr lang="de-DE" dirty="0">
                <a:latin typeface="72 Brand"/>
              </a:rPr>
              <a:t>SAP </a:t>
            </a:r>
            <a:r>
              <a:rPr lang="de-DE" dirty="0" err="1">
                <a:latin typeface="72 Brand"/>
              </a:rPr>
              <a:t>Advanced</a:t>
            </a:r>
            <a:r>
              <a:rPr lang="de-DE" dirty="0">
                <a:latin typeface="72 Brand"/>
              </a:rPr>
              <a:t> Event Mesh</a:t>
            </a:r>
          </a:p>
          <a:p>
            <a:pPr>
              <a:spcBef>
                <a:spcPts val="600"/>
              </a:spcBef>
            </a:pPr>
            <a:r>
              <a:rPr lang="de-DE" dirty="0">
                <a:latin typeface="72 Brand"/>
              </a:rPr>
              <a:t>SAP Cloud Foundry </a:t>
            </a:r>
            <a:r>
              <a:rPr lang="de-DE" dirty="0" err="1">
                <a:latin typeface="72 Brand"/>
              </a:rPr>
              <a:t>Runtime</a:t>
            </a:r>
            <a:r>
              <a:rPr lang="de-DE" dirty="0">
                <a:latin typeface="72 Brand"/>
              </a:rPr>
              <a:t> </a:t>
            </a:r>
            <a:r>
              <a:rPr lang="de-DE" dirty="0" err="1">
                <a:latin typeface="72 Brand"/>
              </a:rPr>
              <a:t>with</a:t>
            </a:r>
            <a:r>
              <a:rPr lang="de-DE" dirty="0">
                <a:latin typeface="72 Brand"/>
              </a:rPr>
              <a:t> </a:t>
            </a:r>
            <a:r>
              <a:rPr lang="de-DE" dirty="0" err="1">
                <a:latin typeface="72 Brand"/>
              </a:rPr>
              <a:t>Quota</a:t>
            </a:r>
            <a:r>
              <a:rPr lang="de-DE" dirty="0">
                <a:latin typeface="72 Brand"/>
              </a:rPr>
              <a:t> </a:t>
            </a:r>
          </a:p>
          <a:p>
            <a:pPr>
              <a:spcBef>
                <a:spcPts val="600"/>
              </a:spcBef>
            </a:pPr>
            <a:r>
              <a:rPr lang="de-DE" dirty="0">
                <a:latin typeface="72 Brand"/>
              </a:rPr>
              <a:t>SAP IAS</a:t>
            </a:r>
          </a:p>
          <a:p>
            <a:pPr>
              <a:spcBef>
                <a:spcPts val="600"/>
              </a:spcBef>
            </a:pPr>
            <a:r>
              <a:rPr lang="de-DE" dirty="0">
                <a:latin typeface="72 Brand"/>
              </a:rPr>
              <a:t>SAP S/4HANA Cloud </a:t>
            </a:r>
            <a:r>
              <a:rPr lang="de-DE" dirty="0" err="1">
                <a:latin typeface="72 Brand"/>
              </a:rPr>
              <a:t>or</a:t>
            </a:r>
            <a:r>
              <a:rPr lang="de-DE" dirty="0">
                <a:latin typeface="72 Brand"/>
              </a:rPr>
              <a:t> SAP S/4HANA 2023 </a:t>
            </a:r>
            <a:r>
              <a:rPr lang="de-DE" dirty="0" err="1">
                <a:latin typeface="72 Brand"/>
              </a:rPr>
              <a:t>or</a:t>
            </a:r>
            <a:r>
              <a:rPr lang="de-DE" dirty="0">
                <a:latin typeface="72 Brand"/>
              </a:rPr>
              <a:t> SAP S/4HANA 2022 ( incl. Patch) </a:t>
            </a:r>
          </a:p>
          <a:p>
            <a:pPr>
              <a:spcBef>
                <a:spcPts val="600"/>
              </a:spcBef>
            </a:pPr>
            <a:r>
              <a:rPr lang="de-DE" dirty="0">
                <a:latin typeface="72 Brand"/>
              </a:rPr>
              <a:t>SAP RAP /</a:t>
            </a:r>
            <a:r>
              <a:rPr lang="de-DE" dirty="0" err="1">
                <a:latin typeface="72 Brand"/>
              </a:rPr>
              <a:t>Eclipse</a:t>
            </a:r>
            <a:r>
              <a:rPr lang="de-DE" dirty="0">
                <a:latin typeface="72 Brand"/>
              </a:rPr>
              <a:t> (ABAP Development Tools)  </a:t>
            </a:r>
          </a:p>
          <a:p>
            <a:pPr>
              <a:spcBef>
                <a:spcPts val="600"/>
              </a:spcBef>
            </a:pPr>
            <a:r>
              <a:rPr lang="de-DE" dirty="0">
                <a:latin typeface="72 Brand"/>
              </a:rPr>
              <a:t>SAP Integration Suite </a:t>
            </a:r>
          </a:p>
          <a:p>
            <a:pPr>
              <a:spcBef>
                <a:spcPts val="600"/>
              </a:spcBef>
            </a:pPr>
            <a:r>
              <a:rPr lang="de-DE" dirty="0">
                <a:latin typeface="72 Brand"/>
              </a:rPr>
              <a:t>SAP </a:t>
            </a:r>
            <a:r>
              <a:rPr lang="de-DE" dirty="0" err="1">
                <a:latin typeface="72 Brand"/>
              </a:rPr>
              <a:t>Process</a:t>
            </a:r>
            <a:r>
              <a:rPr lang="de-DE" dirty="0">
                <a:latin typeface="72 Brand"/>
              </a:rPr>
              <a:t> Automation </a:t>
            </a:r>
          </a:p>
          <a:p>
            <a:pPr>
              <a:spcBef>
                <a:spcPts val="600"/>
              </a:spcBef>
            </a:pPr>
            <a:r>
              <a:rPr lang="de-DE" dirty="0">
                <a:latin typeface="72 Brand"/>
              </a:rPr>
              <a:t>Roadmap: SAP CALM</a:t>
            </a:r>
          </a:p>
          <a:p>
            <a:pPr>
              <a:spcBef>
                <a:spcPts val="600"/>
              </a:spcBef>
            </a:pPr>
            <a:r>
              <a:rPr lang="de-DE" dirty="0">
                <a:latin typeface="72 Brand"/>
              </a:rPr>
              <a:t>SAP ECC </a:t>
            </a:r>
            <a:r>
              <a:rPr lang="de-DE" dirty="0" err="1">
                <a:latin typeface="72 Brand"/>
              </a:rPr>
              <a:t>with</a:t>
            </a:r>
            <a:r>
              <a:rPr lang="de-DE" dirty="0">
                <a:latin typeface="72 Brand"/>
              </a:rPr>
              <a:t> </a:t>
            </a:r>
            <a:r>
              <a:rPr lang="de-DE" dirty="0" err="1">
                <a:latin typeface="72 Brand"/>
              </a:rPr>
              <a:t>Application</a:t>
            </a:r>
            <a:r>
              <a:rPr lang="de-DE" dirty="0">
                <a:latin typeface="72 Brand"/>
              </a:rPr>
              <a:t> Interface Framework</a:t>
            </a:r>
            <a:endParaRPr lang="en-DE" dirty="0"/>
          </a:p>
        </p:txBody>
      </p:sp>
    </p:spTree>
    <p:extLst>
      <p:ext uri="{BB962C8B-B14F-4D97-AF65-F5344CB8AC3E}">
        <p14:creationId xmlns:p14="http://schemas.microsoft.com/office/powerpoint/2010/main" val="21932428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0" name="Rechteck 9">
            <a:extLst>
              <a:ext uri="{FF2B5EF4-FFF2-40B4-BE49-F238E27FC236}">
                <a16:creationId xmlns:a16="http://schemas.microsoft.com/office/drawing/2014/main" id="{FA04774E-CDD4-C230-1DC7-DA6A17314E83}"/>
              </a:ext>
            </a:extLst>
          </p:cNvPr>
          <p:cNvSpPr/>
          <p:nvPr/>
        </p:nvSpPr>
        <p:spPr bwMode="gray">
          <a:xfrm>
            <a:off x="524628" y="1628775"/>
            <a:ext cx="11153022" cy="465914"/>
          </a:xfrm>
          <a:prstGeom prst="rect">
            <a:avLst/>
          </a:prstGeom>
          <a:solidFill>
            <a:schemeClr val="bg1">
              <a:lumMod val="95000"/>
            </a:schemeClr>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de-DE" sz="1800" b="0" i="0" u="none" strike="noStrike" kern="0" cap="none" spc="0" normalizeH="0" baseline="0" noProof="0" dirty="0" err="1">
              <a:ln>
                <a:noFill/>
              </a:ln>
              <a:effectLst/>
              <a:uLnTx/>
              <a:uFillTx/>
              <a:ea typeface="Arial Unicode MS" pitchFamily="34" charset="-128"/>
              <a:cs typeface="Arial Unicode MS" pitchFamily="34" charset="-128"/>
            </a:endParaRPr>
          </a:p>
        </p:txBody>
      </p:sp>
      <p:sp>
        <p:nvSpPr>
          <p:cNvPr id="2" name="Title 1">
            <a:extLst>
              <a:ext uri="{FF2B5EF4-FFF2-40B4-BE49-F238E27FC236}">
                <a16:creationId xmlns:a16="http://schemas.microsoft.com/office/drawing/2014/main" id="{B24FFDA2-A2B6-C943-810F-6E7E614B57AB}"/>
              </a:ext>
            </a:extLst>
          </p:cNvPr>
          <p:cNvSpPr>
            <a:spLocks noGrp="1"/>
          </p:cNvSpPr>
          <p:nvPr>
            <p:ph type="title"/>
          </p:nvPr>
        </p:nvSpPr>
        <p:spPr>
          <a:xfrm>
            <a:off x="504000" y="259200"/>
            <a:ext cx="11186476" cy="369332"/>
          </a:xfrm>
        </p:spPr>
        <p:txBody>
          <a:bodyPr/>
          <a:lstStyle/>
          <a:p>
            <a:r>
              <a:rPr lang="en-US" dirty="0"/>
              <a:t>Event sources: </a:t>
            </a:r>
            <a:r>
              <a:rPr lang="en-US" b="1" dirty="0">
                <a:solidFill>
                  <a:schemeClr val="tx1"/>
                </a:solidFill>
              </a:rPr>
              <a:t>Outbound and inbound events</a:t>
            </a:r>
          </a:p>
        </p:txBody>
      </p:sp>
      <p:sp>
        <p:nvSpPr>
          <p:cNvPr id="4" name="TextBox 3">
            <a:extLst>
              <a:ext uri="{FF2B5EF4-FFF2-40B4-BE49-F238E27FC236}">
                <a16:creationId xmlns:a16="http://schemas.microsoft.com/office/drawing/2014/main" id="{F016E57A-A0FB-0B79-E2A9-5806448F7B2D}"/>
              </a:ext>
            </a:extLst>
          </p:cNvPr>
          <p:cNvSpPr txBox="1"/>
          <p:nvPr/>
        </p:nvSpPr>
        <p:spPr bwMode="black">
          <a:xfrm>
            <a:off x="518416" y="2460648"/>
            <a:ext cx="5112000" cy="2169825"/>
          </a:xfrm>
          <a:prstGeom prst="rect">
            <a:avLst/>
          </a:prstGeom>
        </p:spPr>
        <p:txBody>
          <a:bodyPr vert="horz" wrap="square" lIns="0" tIns="0" rIns="0" bIns="0" rtlCol="0">
            <a:spAutoFit/>
          </a:bodyPr>
          <a:lstStyle>
            <a:defPPr>
              <a:defRPr lang="de-DE"/>
            </a:defPPr>
            <a:lvl1pPr defTabSz="1088558" fontAlgn="base">
              <a:spcBef>
                <a:spcPts val="1800"/>
              </a:spcBef>
              <a:spcAft>
                <a:spcPct val="0"/>
              </a:spcAft>
              <a:buClr>
                <a:srgbClr val="F0AB00"/>
              </a:buClr>
              <a:buSzPct val="80000"/>
              <a:defRPr sz="2000" b="1">
                <a:solidFill>
                  <a:schemeClr val="accent1"/>
                </a:solidFill>
                <a:latin typeface="Arial" panose="020B0604020202020204" pitchFamily="34" charset="0"/>
                <a:cs typeface="Arial" panose="020B0604020202020204" pitchFamily="34" charset="0"/>
              </a:defRPr>
            </a:lvl1pPr>
            <a:lvl2pPr marL="180975" lvl="1" indent="-180975" defTabSz="1088558" fontAlgn="base">
              <a:spcBef>
                <a:spcPts val="600"/>
              </a:spcBef>
              <a:spcAft>
                <a:spcPct val="0"/>
              </a:spcAft>
              <a:buClr>
                <a:schemeClr val="accent1"/>
              </a:buClr>
              <a:buFont typeface="Wingdings" panose="05000000000000000000" pitchFamily="2" charset="2"/>
              <a:buChar char="§"/>
              <a:defRPr sz="1800">
                <a:latin typeface="Arial" panose="020B0604020202020204" pitchFamily="34" charset="0"/>
                <a:cs typeface="Arial" panose="020B0604020202020204" pitchFamily="34" charset="0"/>
              </a:defRPr>
            </a:lvl2pPr>
          </a:lstStyle>
          <a:p>
            <a:pPr lvl="1"/>
            <a:r>
              <a:rPr lang="en-DE" dirty="0"/>
              <a:t>Outbound (from a back</a:t>
            </a:r>
            <a:r>
              <a:rPr lang="en-US" dirty="0"/>
              <a:t>-</a:t>
            </a:r>
            <a:r>
              <a:rPr lang="en-DE" dirty="0"/>
              <a:t>end perspective) means that an SAP back</a:t>
            </a:r>
            <a:r>
              <a:rPr lang="en-US" dirty="0"/>
              <a:t> </a:t>
            </a:r>
            <a:r>
              <a:rPr lang="en-DE" dirty="0"/>
              <a:t>end is the event source</a:t>
            </a:r>
          </a:p>
          <a:p>
            <a:pPr lvl="1"/>
            <a:r>
              <a:rPr lang="en-DE" dirty="0"/>
              <a:t>Today this is 90 percent the case</a:t>
            </a:r>
          </a:p>
          <a:p>
            <a:pPr lvl="1"/>
            <a:r>
              <a:rPr lang="en-DE" dirty="0"/>
              <a:t>Standard outbound events enabled with just one click</a:t>
            </a:r>
          </a:p>
          <a:p>
            <a:pPr lvl="1"/>
            <a:r>
              <a:rPr lang="en-DE" dirty="0"/>
              <a:t>Custom outbound events can be created with low</a:t>
            </a:r>
            <a:r>
              <a:rPr lang="en-US" dirty="0"/>
              <a:t>-</a:t>
            </a:r>
            <a:r>
              <a:rPr lang="en-DE" dirty="0"/>
              <a:t>code/no</a:t>
            </a:r>
            <a:r>
              <a:rPr lang="en-US" dirty="0"/>
              <a:t>-</a:t>
            </a:r>
            <a:r>
              <a:rPr lang="en-DE" dirty="0"/>
              <a:t>code to pro</a:t>
            </a:r>
            <a:r>
              <a:rPr lang="en-US" dirty="0"/>
              <a:t>-</a:t>
            </a:r>
            <a:r>
              <a:rPr lang="en-DE" dirty="0"/>
              <a:t>code approaches</a:t>
            </a:r>
          </a:p>
        </p:txBody>
      </p:sp>
      <p:sp>
        <p:nvSpPr>
          <p:cNvPr id="6" name="TextBox 5">
            <a:extLst>
              <a:ext uri="{FF2B5EF4-FFF2-40B4-BE49-F238E27FC236}">
                <a16:creationId xmlns:a16="http://schemas.microsoft.com/office/drawing/2014/main" id="{CF8B690E-3C91-5C65-47C5-DB33A97EB3E7}"/>
              </a:ext>
            </a:extLst>
          </p:cNvPr>
          <p:cNvSpPr txBox="1"/>
          <p:nvPr/>
        </p:nvSpPr>
        <p:spPr bwMode="black">
          <a:xfrm>
            <a:off x="6619036" y="2460648"/>
            <a:ext cx="5112000" cy="2169825"/>
          </a:xfrm>
          <a:prstGeom prst="rect">
            <a:avLst/>
          </a:prstGeom>
        </p:spPr>
        <p:txBody>
          <a:bodyPr vert="horz" wrap="square" lIns="0" tIns="0" rIns="0" bIns="0" rtlCol="0">
            <a:spAutoFit/>
          </a:bodyPr>
          <a:lstStyle>
            <a:defPPr>
              <a:defRPr lang="de-DE"/>
            </a:defPPr>
            <a:lvl1pPr defTabSz="1088558" fontAlgn="base">
              <a:spcBef>
                <a:spcPts val="1800"/>
              </a:spcBef>
              <a:spcAft>
                <a:spcPct val="0"/>
              </a:spcAft>
              <a:buClr>
                <a:srgbClr val="F0AB00"/>
              </a:buClr>
              <a:buSzPct val="80000"/>
              <a:defRPr sz="2000" b="1">
                <a:solidFill>
                  <a:schemeClr val="accent1"/>
                </a:solidFill>
                <a:latin typeface="Arial" panose="020B0604020202020204" pitchFamily="34" charset="0"/>
                <a:cs typeface="Arial" panose="020B0604020202020204" pitchFamily="34" charset="0"/>
              </a:defRPr>
            </a:lvl1pPr>
            <a:lvl2pPr marL="180975" lvl="1" indent="-180975" defTabSz="1088558" fontAlgn="base">
              <a:spcBef>
                <a:spcPts val="600"/>
              </a:spcBef>
              <a:spcAft>
                <a:spcPct val="0"/>
              </a:spcAft>
              <a:buClr>
                <a:schemeClr val="accent1"/>
              </a:buClr>
              <a:buFont typeface="Wingdings" panose="05000000000000000000" pitchFamily="2" charset="2"/>
              <a:buChar char="§"/>
              <a:defRPr sz="1800">
                <a:latin typeface="Arial" panose="020B0604020202020204" pitchFamily="34" charset="0"/>
                <a:cs typeface="Arial" panose="020B0604020202020204" pitchFamily="34" charset="0"/>
              </a:defRPr>
            </a:lvl2pPr>
          </a:lstStyle>
          <a:p>
            <a:pPr lvl="1"/>
            <a:r>
              <a:rPr lang="en-DE" dirty="0"/>
              <a:t>Inbound (from a back</a:t>
            </a:r>
            <a:r>
              <a:rPr lang="en-US" dirty="0"/>
              <a:t>-</a:t>
            </a:r>
            <a:r>
              <a:rPr lang="en-DE" dirty="0"/>
              <a:t>end perspective) means that an SAP back</a:t>
            </a:r>
            <a:r>
              <a:rPr lang="en-US" dirty="0"/>
              <a:t> </a:t>
            </a:r>
            <a:r>
              <a:rPr lang="en-DE" dirty="0"/>
              <a:t>end is the event consumer</a:t>
            </a:r>
          </a:p>
          <a:p>
            <a:pPr lvl="1"/>
            <a:r>
              <a:rPr lang="en-DE" dirty="0"/>
              <a:t>Today this is 10 percent the case</a:t>
            </a:r>
          </a:p>
          <a:p>
            <a:pPr lvl="1"/>
            <a:r>
              <a:rPr lang="en-DE" dirty="0"/>
              <a:t>Pro</a:t>
            </a:r>
            <a:r>
              <a:rPr lang="en-US" dirty="0"/>
              <a:t>-</a:t>
            </a:r>
            <a:r>
              <a:rPr lang="en-DE" dirty="0"/>
              <a:t>code development effort needed to specify what to do when receiving an event</a:t>
            </a:r>
          </a:p>
          <a:p>
            <a:pPr lvl="1"/>
            <a:r>
              <a:rPr lang="en-DE" dirty="0"/>
              <a:t>Calling an API is often seen as </a:t>
            </a:r>
            <a:r>
              <a:rPr lang="en-US" dirty="0"/>
              <a:t>an </a:t>
            </a:r>
            <a:r>
              <a:rPr lang="en-DE" dirty="0"/>
              <a:t>easier alternative</a:t>
            </a:r>
          </a:p>
        </p:txBody>
      </p:sp>
      <p:sp>
        <p:nvSpPr>
          <p:cNvPr id="5" name="TextBox 4">
            <a:extLst>
              <a:ext uri="{FF2B5EF4-FFF2-40B4-BE49-F238E27FC236}">
                <a16:creationId xmlns:a16="http://schemas.microsoft.com/office/drawing/2014/main" id="{2E72A8D9-B0FD-9272-0D90-E108714533CD}"/>
              </a:ext>
            </a:extLst>
          </p:cNvPr>
          <p:cNvSpPr txBox="1"/>
          <p:nvPr/>
        </p:nvSpPr>
        <p:spPr>
          <a:xfrm>
            <a:off x="1775673" y="1640271"/>
            <a:ext cx="2390078" cy="369332"/>
          </a:xfrm>
          <a:prstGeom prst="rect">
            <a:avLst/>
          </a:prstGeom>
          <a:noFill/>
        </p:spPr>
        <p:txBody>
          <a:bodyPr wrap="none" lIns="0" tIns="0" rIns="0" bIns="0" rtlCol="0">
            <a:spAutoFit/>
          </a:bodyPr>
          <a:lstStyle/>
          <a:p>
            <a:pPr fontAlgn="base">
              <a:spcBef>
                <a:spcPct val="50000"/>
              </a:spcBef>
              <a:spcAft>
                <a:spcPct val="0"/>
              </a:spcAft>
              <a:buClr>
                <a:srgbClr val="F0AB00"/>
              </a:buClr>
              <a:buSzPct val="80000"/>
            </a:pPr>
            <a:r>
              <a:rPr lang="de-DE" sz="2400" b="1" kern="0">
                <a:ea typeface="Arial Unicode MS" pitchFamily="34" charset="-128"/>
                <a:cs typeface="Arial Unicode MS" pitchFamily="34" charset="-128"/>
              </a:rPr>
              <a:t>Outbound</a:t>
            </a:r>
            <a:r>
              <a:rPr lang="en-DE" sz="2400" b="1" kern="0">
                <a:ea typeface="Arial Unicode MS" pitchFamily="34" charset="-128"/>
                <a:cs typeface="Arial Unicode MS" pitchFamily="34" charset="-128"/>
              </a:rPr>
              <a:t> </a:t>
            </a:r>
            <a:r>
              <a:rPr lang="en-DE" sz="2400" b="1" kern="0" dirty="0">
                <a:ea typeface="Arial Unicode MS" pitchFamily="34" charset="-128"/>
                <a:cs typeface="Arial Unicode MS" pitchFamily="34" charset="-128"/>
              </a:rPr>
              <a:t>Event</a:t>
            </a:r>
          </a:p>
        </p:txBody>
      </p:sp>
      <p:sp>
        <p:nvSpPr>
          <p:cNvPr id="9" name="TextBox 5">
            <a:extLst>
              <a:ext uri="{FF2B5EF4-FFF2-40B4-BE49-F238E27FC236}">
                <a16:creationId xmlns:a16="http://schemas.microsoft.com/office/drawing/2014/main" id="{BF066493-8250-918B-CADD-651828179599}"/>
              </a:ext>
            </a:extLst>
          </p:cNvPr>
          <p:cNvSpPr txBox="1"/>
          <p:nvPr/>
        </p:nvSpPr>
        <p:spPr>
          <a:xfrm>
            <a:off x="7971430" y="1640271"/>
            <a:ext cx="2133597" cy="369332"/>
          </a:xfrm>
          <a:prstGeom prst="rect">
            <a:avLst/>
          </a:prstGeom>
          <a:noFill/>
        </p:spPr>
        <p:txBody>
          <a:bodyPr wrap="none" lIns="0" tIns="0" rIns="0" bIns="0" rtlCol="0">
            <a:spAutoFit/>
          </a:bodyPr>
          <a:lstStyle/>
          <a:p>
            <a:pPr fontAlgn="base">
              <a:spcBef>
                <a:spcPct val="50000"/>
              </a:spcBef>
              <a:spcAft>
                <a:spcPct val="0"/>
              </a:spcAft>
              <a:buClr>
                <a:srgbClr val="F0AB00"/>
              </a:buClr>
              <a:buSzPct val="80000"/>
            </a:pPr>
            <a:r>
              <a:rPr lang="de-DE" sz="2400" b="1" kern="0">
                <a:ea typeface="Arial Unicode MS" pitchFamily="34" charset="-128"/>
                <a:cs typeface="Arial Unicode MS" pitchFamily="34" charset="-128"/>
              </a:rPr>
              <a:t>Inbound</a:t>
            </a:r>
            <a:r>
              <a:rPr lang="en-DE" sz="2400" b="1" kern="0">
                <a:ea typeface="Arial Unicode MS" pitchFamily="34" charset="-128"/>
                <a:cs typeface="Arial Unicode MS" pitchFamily="34" charset="-128"/>
              </a:rPr>
              <a:t> </a:t>
            </a:r>
            <a:r>
              <a:rPr lang="en-DE" sz="2400" b="1" kern="0" dirty="0">
                <a:ea typeface="Arial Unicode MS" pitchFamily="34" charset="-128"/>
                <a:cs typeface="Arial Unicode MS" pitchFamily="34" charset="-128"/>
              </a:rPr>
              <a:t>Event</a:t>
            </a:r>
          </a:p>
        </p:txBody>
      </p:sp>
    </p:spTree>
    <p:extLst>
      <p:ext uri="{BB962C8B-B14F-4D97-AF65-F5344CB8AC3E}">
        <p14:creationId xmlns:p14="http://schemas.microsoft.com/office/powerpoint/2010/main" val="269990293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39D29D7-A1F5-C980-F07F-1358561247DF}"/>
              </a:ext>
            </a:extLst>
          </p:cNvPr>
          <p:cNvSpPr>
            <a:spLocks noGrp="1"/>
          </p:cNvSpPr>
          <p:nvPr>
            <p:ph type="body" sz="quarter" idx="10"/>
          </p:nvPr>
        </p:nvSpPr>
        <p:spPr/>
        <p:txBody>
          <a:bodyPr>
            <a:normAutofit/>
          </a:bodyPr>
          <a:lstStyle/>
          <a:p>
            <a:pPr marL="342900" indent="-342900">
              <a:lnSpc>
                <a:spcPct val="120000"/>
              </a:lnSpc>
              <a:spcBef>
                <a:spcPts val="600"/>
              </a:spcBef>
              <a:buSzPts val="1000"/>
              <a:buFont typeface="Arial" panose="020B0604020202020204" pitchFamily="34" charset="0"/>
              <a:buChar char="•"/>
              <a:tabLst>
                <a:tab pos="457200" algn="l"/>
              </a:tabLst>
            </a:pPr>
            <a:r>
              <a:rPr lang="en-US" sz="2000" dirty="0">
                <a:latin typeface="+mn-lt"/>
              </a:rPr>
              <a:t>S/4HANA Business Events</a:t>
            </a:r>
          </a:p>
          <a:p>
            <a:pPr marL="522864" lvl="1" indent="-342900">
              <a:lnSpc>
                <a:spcPct val="120000"/>
              </a:lnSpc>
              <a:buSzPts val="1000"/>
              <a:tabLst>
                <a:tab pos="457200" algn="l"/>
              </a:tabLst>
            </a:pPr>
            <a:r>
              <a:rPr lang="en-US">
                <a:latin typeface="+mn-lt"/>
              </a:rPr>
              <a:t>Standard Content</a:t>
            </a:r>
          </a:p>
          <a:p>
            <a:pPr marL="342900" indent="-342900">
              <a:lnSpc>
                <a:spcPct val="120000"/>
              </a:lnSpc>
              <a:spcBef>
                <a:spcPts val="600"/>
              </a:spcBef>
              <a:buSzPts val="1000"/>
              <a:buFont typeface="Arial" panose="020B0604020202020204" pitchFamily="34" charset="0"/>
              <a:buChar char="•"/>
              <a:tabLst>
                <a:tab pos="457200" algn="l"/>
              </a:tabLst>
            </a:pPr>
            <a:r>
              <a:rPr lang="en-US" sz="2000" dirty="0">
                <a:latin typeface="+mn-lt"/>
              </a:rPr>
              <a:t>Creating Custom Business Events</a:t>
            </a:r>
          </a:p>
          <a:p>
            <a:pPr marL="342900" indent="-342900">
              <a:lnSpc>
                <a:spcPct val="120000"/>
              </a:lnSpc>
              <a:spcBef>
                <a:spcPts val="600"/>
              </a:spcBef>
              <a:buSzPts val="1000"/>
              <a:buFont typeface="Arial" panose="020B0604020202020204" pitchFamily="34" charset="0"/>
              <a:buChar char="•"/>
              <a:tabLst>
                <a:tab pos="457200" algn="l"/>
              </a:tabLst>
            </a:pPr>
            <a:r>
              <a:rPr lang="en-US" dirty="0">
                <a:latin typeface="+mn-lt"/>
              </a:rPr>
              <a:t>Customizing and Consuming Business Events</a:t>
            </a:r>
          </a:p>
          <a:p>
            <a:pPr marL="522864" lvl="1" indent="-342900">
              <a:lnSpc>
                <a:spcPct val="120000"/>
              </a:lnSpc>
              <a:buSzPts val="1000"/>
              <a:tabLst>
                <a:tab pos="457200" algn="l"/>
              </a:tabLst>
            </a:pPr>
            <a:r>
              <a:rPr lang="en-US" dirty="0">
                <a:latin typeface="+mn-lt"/>
              </a:rPr>
              <a:t>Derived Events</a:t>
            </a:r>
          </a:p>
          <a:p>
            <a:pPr marL="522864" lvl="1" indent="-342900">
              <a:lnSpc>
                <a:spcPct val="120000"/>
              </a:lnSpc>
              <a:buSzPts val="1000"/>
              <a:tabLst>
                <a:tab pos="457200" algn="l"/>
              </a:tabLst>
            </a:pPr>
            <a:r>
              <a:rPr lang="en-US" dirty="0">
                <a:latin typeface="+mn-lt"/>
              </a:rPr>
              <a:t>Inbound Events</a:t>
            </a:r>
          </a:p>
        </p:txBody>
      </p:sp>
      <p:sp>
        <p:nvSpPr>
          <p:cNvPr id="3" name="Title 2">
            <a:extLst>
              <a:ext uri="{FF2B5EF4-FFF2-40B4-BE49-F238E27FC236}">
                <a16:creationId xmlns:a16="http://schemas.microsoft.com/office/drawing/2014/main" id="{11072366-AF44-D84F-6CBA-3D0D0BB74E9B}"/>
              </a:ext>
            </a:extLst>
          </p:cNvPr>
          <p:cNvSpPr>
            <a:spLocks noGrp="1"/>
          </p:cNvSpPr>
          <p:nvPr>
            <p:ph type="title"/>
          </p:nvPr>
        </p:nvSpPr>
        <p:spPr/>
        <p:txBody>
          <a:bodyPr/>
          <a:lstStyle/>
          <a:p>
            <a:r>
              <a:rPr lang="en-US" dirty="0"/>
              <a:t>Topic 2 - Business Events in S/4HANA</a:t>
            </a:r>
            <a:endParaRPr lang="en-DE" dirty="0"/>
          </a:p>
        </p:txBody>
      </p:sp>
      <p:sp>
        <p:nvSpPr>
          <p:cNvPr id="4" name="Text Placeholder 1">
            <a:extLst>
              <a:ext uri="{FF2B5EF4-FFF2-40B4-BE49-F238E27FC236}">
                <a16:creationId xmlns:a16="http://schemas.microsoft.com/office/drawing/2014/main" id="{A8CBAD58-0C13-2DD0-1079-7F4DB0807AA6}"/>
              </a:ext>
            </a:extLst>
          </p:cNvPr>
          <p:cNvSpPr txBox="1">
            <a:spLocks/>
          </p:cNvSpPr>
          <p:nvPr/>
        </p:nvSpPr>
        <p:spPr bwMode="black">
          <a:xfrm>
            <a:off x="655638" y="1733244"/>
            <a:ext cx="11185200" cy="4764394"/>
          </a:xfrm>
          <a:prstGeom prst="rect">
            <a:avLst/>
          </a:prstGeom>
        </p:spPr>
        <p:txBody>
          <a:bodyPr vert="horz" lIns="0" tIns="0" rIns="0" bIns="0" rtlCol="0" anchor="t">
            <a:normAutofit/>
          </a:bodyPr>
          <a:lstStyle>
            <a:lvl1pPr marL="0" marR="0" indent="0" algn="l" defTabSz="1088558" rtl="0" eaLnBrk="1" fontAlgn="auto" latinLnBrk="0" hangingPunct="1">
              <a:lnSpc>
                <a:spcPct val="100000"/>
              </a:lnSpc>
              <a:spcBef>
                <a:spcPts val="3000"/>
              </a:spcBef>
              <a:spcAft>
                <a:spcPts val="0"/>
              </a:spcAft>
              <a:buClr>
                <a:schemeClr val="accent1"/>
              </a:buClr>
              <a:buSzPct val="80000"/>
              <a:buFontTx/>
              <a:buNone/>
              <a:tabLst/>
              <a:defRPr sz="2000" b="0" i="0" kern="1200">
                <a:solidFill>
                  <a:schemeClr val="tx1"/>
                </a:solidFill>
                <a:latin typeface="72 Brand" panose="020B0504030603020204" pitchFamily="34" charset="0"/>
                <a:ea typeface="+mn-ea"/>
                <a:cs typeface="+mn-cs"/>
              </a:defRPr>
            </a:lvl1pPr>
            <a:lvl2pPr marL="179964" marR="0" indent="-179964" algn="l" defTabSz="1088558"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sz="1800" b="0" i="0" kern="1200">
                <a:solidFill>
                  <a:schemeClr val="tx1"/>
                </a:solidFill>
                <a:latin typeface="72 Brand" panose="020B0504030603020204" pitchFamily="34" charset="0"/>
                <a:ea typeface="+mn-ea"/>
                <a:cs typeface="+mn-cs"/>
              </a:defRPr>
            </a:lvl2pPr>
            <a:lvl3pPr marL="359928" marR="0" indent="-179352" algn="l" defTabSz="1088558" rtl="0" eaLnBrk="1" fontAlgn="auto" latinLnBrk="0" hangingPunct="1">
              <a:lnSpc>
                <a:spcPct val="100000"/>
              </a:lnSpc>
              <a:spcBef>
                <a:spcPts val="400"/>
              </a:spcBef>
              <a:spcAft>
                <a:spcPts val="0"/>
              </a:spcAft>
              <a:buClr>
                <a:schemeClr val="tx1"/>
              </a:buClr>
              <a:buSzPct val="100000"/>
              <a:buFont typeface="Arial" pitchFamily="34" charset="0"/>
              <a:buChar char="–"/>
              <a:tabLst/>
              <a:defRPr lang="en-US" sz="1800" b="0" i="0" kern="1200" baseline="0" noProof="0">
                <a:solidFill>
                  <a:schemeClr val="tx1"/>
                </a:solidFill>
                <a:latin typeface="72 Brand" panose="020B0504030603020204" pitchFamily="34" charset="0"/>
                <a:ea typeface="+mn-ea"/>
                <a:cs typeface="+mn-cs"/>
              </a:defRPr>
            </a:lvl3pPr>
            <a:lvl4pPr marL="539892" marR="0" indent="-179964" algn="l" defTabSz="1088558" rtl="0" eaLnBrk="1" fontAlgn="auto" latinLnBrk="0" hangingPunct="1">
              <a:lnSpc>
                <a:spcPct val="100000"/>
              </a:lnSpc>
              <a:spcBef>
                <a:spcPts val="250"/>
              </a:spcBef>
              <a:spcAft>
                <a:spcPts val="0"/>
              </a:spcAft>
              <a:buClr>
                <a:schemeClr val="tx1"/>
              </a:buClr>
              <a:buSzPct val="100000"/>
              <a:buFont typeface="Courier New" pitchFamily="49" charset="0"/>
              <a:buChar char="o"/>
              <a:tabLst/>
              <a:defRPr sz="1600" b="0" i="0" kern="1200">
                <a:solidFill>
                  <a:schemeClr val="tx1"/>
                </a:solidFill>
                <a:latin typeface="72 Brand" panose="020B0504030603020204" pitchFamily="34" charset="0"/>
                <a:ea typeface="+mn-ea"/>
                <a:cs typeface="+mn-cs"/>
              </a:defRPr>
            </a:lvl4pPr>
            <a:lvl5pPr marL="719856" indent="-179964" algn="l" defTabSz="1088558" rtl="0" eaLnBrk="1" latinLnBrk="0" hangingPunct="1">
              <a:spcBef>
                <a:spcPts val="100"/>
              </a:spcBef>
              <a:buClr>
                <a:schemeClr val="accent2"/>
              </a:buClr>
              <a:buSzPct val="100000"/>
              <a:buFont typeface="Arial" pitchFamily="34" charset="0"/>
              <a:buChar char="–"/>
              <a:defRPr sz="1400" b="0" i="0" kern="1200" baseline="0">
                <a:solidFill>
                  <a:schemeClr val="tx1"/>
                </a:solidFill>
                <a:latin typeface="72 Brand" panose="020B0504030603020204" pitchFamily="34" charset="0"/>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endParaRPr lang="en-DE" err="1"/>
          </a:p>
        </p:txBody>
      </p:sp>
    </p:spTree>
    <p:extLst>
      <p:ext uri="{BB962C8B-B14F-4D97-AF65-F5344CB8AC3E}">
        <p14:creationId xmlns:p14="http://schemas.microsoft.com/office/powerpoint/2010/main" val="267642569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1359CC17-C4B2-465A-BD73-3680556E63C5}"/>
              </a:ext>
            </a:extLst>
          </p:cNvPr>
          <p:cNvSpPr>
            <a:spLocks noGrp="1"/>
          </p:cNvSpPr>
          <p:nvPr>
            <p:ph type="body" sz="quarter" idx="10"/>
          </p:nvPr>
        </p:nvSpPr>
        <p:spPr>
          <a:xfrm>
            <a:off x="568656" y="3701979"/>
            <a:ext cx="4608327" cy="1719560"/>
          </a:xfrm>
        </p:spPr>
        <p:txBody>
          <a:bodyPr>
            <a:normAutofit fontScale="92500" lnSpcReduction="10000"/>
          </a:bodyPr>
          <a:lstStyle/>
          <a:p>
            <a:pPr algn="l"/>
            <a:r>
              <a:rPr lang="en-US" sz="1800" dirty="0">
                <a:solidFill>
                  <a:srgbClr val="3C3C3C"/>
                </a:solidFill>
              </a:rPr>
              <a:t>S</a:t>
            </a:r>
            <a:r>
              <a:rPr lang="en-US" sz="1800" b="0" i="0" dirty="0">
                <a:solidFill>
                  <a:srgbClr val="3C3C3C"/>
                </a:solidFill>
                <a:effectLst/>
              </a:rPr>
              <a:t>eamless integration of reuse components such as </a:t>
            </a:r>
            <a:r>
              <a:rPr lang="en-US" sz="1800" b="1" i="0" dirty="0">
                <a:solidFill>
                  <a:srgbClr val="3C3C3C"/>
                </a:solidFill>
                <a:effectLst/>
              </a:rPr>
              <a:t>business events in the RAP framework</a:t>
            </a:r>
            <a:r>
              <a:rPr lang="en-US" sz="1800" b="0" i="0" dirty="0">
                <a:solidFill>
                  <a:srgbClr val="3C3C3C"/>
                </a:solidFill>
                <a:effectLst/>
              </a:rPr>
              <a:t> is offered to lower total cost of development.</a:t>
            </a:r>
          </a:p>
          <a:p>
            <a:pPr algn="l"/>
            <a:r>
              <a:rPr lang="en-US" sz="1800" b="0" i="0" dirty="0">
                <a:solidFill>
                  <a:srgbClr val="3C3C3C"/>
                </a:solidFill>
                <a:effectLst/>
              </a:rPr>
              <a:t>Developers can easily </a:t>
            </a:r>
            <a:r>
              <a:rPr lang="en-US" sz="1800" b="1" i="0" dirty="0">
                <a:solidFill>
                  <a:srgbClr val="3C3C3C"/>
                </a:solidFill>
                <a:effectLst/>
              </a:rPr>
              <a:t>enable the exposure of business events within RAP based applications</a:t>
            </a:r>
            <a:r>
              <a:rPr lang="en-US" sz="1800" b="0" i="0" dirty="0">
                <a:solidFill>
                  <a:srgbClr val="3C3C3C"/>
                </a:solidFill>
                <a:effectLst/>
              </a:rPr>
              <a:t>.</a:t>
            </a:r>
          </a:p>
        </p:txBody>
      </p:sp>
      <p:sp>
        <p:nvSpPr>
          <p:cNvPr id="2" name="Title 1">
            <a:extLst>
              <a:ext uri="{FF2B5EF4-FFF2-40B4-BE49-F238E27FC236}">
                <a16:creationId xmlns:a16="http://schemas.microsoft.com/office/drawing/2014/main" id="{C1CC881C-14F2-46DA-AB94-B56575E125FB}"/>
              </a:ext>
            </a:extLst>
          </p:cNvPr>
          <p:cNvSpPr>
            <a:spLocks noGrp="1"/>
          </p:cNvSpPr>
          <p:nvPr>
            <p:ph type="title"/>
          </p:nvPr>
        </p:nvSpPr>
        <p:spPr/>
        <p:txBody>
          <a:bodyPr/>
          <a:lstStyle/>
          <a:p>
            <a:r>
              <a:rPr lang="en-US" dirty="0"/>
              <a:t>S/4HANA Business Events based on RAP</a:t>
            </a:r>
            <a:endParaRPr lang="en-DE" dirty="0"/>
          </a:p>
        </p:txBody>
      </p:sp>
      <p:sp>
        <p:nvSpPr>
          <p:cNvPr id="5" name="TextBox 4">
            <a:extLst>
              <a:ext uri="{FF2B5EF4-FFF2-40B4-BE49-F238E27FC236}">
                <a16:creationId xmlns:a16="http://schemas.microsoft.com/office/drawing/2014/main" id="{DA7FCD1A-6DF9-9454-B234-A95570E71C7A}"/>
              </a:ext>
            </a:extLst>
          </p:cNvPr>
          <p:cNvSpPr txBox="1"/>
          <p:nvPr/>
        </p:nvSpPr>
        <p:spPr>
          <a:xfrm>
            <a:off x="387887" y="1141092"/>
            <a:ext cx="11418703" cy="1323439"/>
          </a:xfrm>
          <a:prstGeom prst="rect">
            <a:avLst/>
          </a:prstGeom>
          <a:noFill/>
        </p:spPr>
        <p:txBody>
          <a:bodyPr wrap="square">
            <a:spAutoFit/>
          </a:bodyPr>
          <a:lstStyle/>
          <a:p>
            <a:pPr algn="l"/>
            <a:r>
              <a:rPr lang="en-US" sz="2000" b="1" i="0" dirty="0">
                <a:solidFill>
                  <a:srgbClr val="3C3C3C"/>
                </a:solidFill>
                <a:effectLst/>
                <a:latin typeface="+mn-lt"/>
              </a:rPr>
              <a:t>ABAP RESTful Application Programming Model (RAP) </a:t>
            </a:r>
            <a:r>
              <a:rPr lang="en-US" sz="2000" b="0" i="0" dirty="0">
                <a:solidFill>
                  <a:srgbClr val="3C3C3C"/>
                </a:solidFill>
                <a:effectLst/>
                <a:latin typeface="+mn-lt"/>
              </a:rPr>
              <a:t>combines concepts, tools, languages, and powerful frameworks to build cloud-ready enterprise applications. RAP offers </a:t>
            </a:r>
            <a:r>
              <a:rPr lang="en-US" sz="2000" b="1" i="0" dirty="0">
                <a:solidFill>
                  <a:srgbClr val="3C3C3C"/>
                </a:solidFill>
                <a:effectLst/>
                <a:latin typeface="+mn-lt"/>
              </a:rPr>
              <a:t>standardized development flow </a:t>
            </a:r>
            <a:r>
              <a:rPr lang="en-US" sz="2000" b="0" i="0" dirty="0">
                <a:solidFill>
                  <a:srgbClr val="3C3C3C"/>
                </a:solidFill>
                <a:effectLst/>
                <a:latin typeface="+mn-lt"/>
              </a:rPr>
              <a:t>based on Core Data Services (CDS), ABAP, and business services in Eclipse-based ABAP Development Tools (ADT).</a:t>
            </a:r>
          </a:p>
        </p:txBody>
      </p:sp>
      <p:pic>
        <p:nvPicPr>
          <p:cNvPr id="6" name="Picture 5">
            <a:extLst>
              <a:ext uri="{FF2B5EF4-FFF2-40B4-BE49-F238E27FC236}">
                <a16:creationId xmlns:a16="http://schemas.microsoft.com/office/drawing/2014/main" id="{21F0FFA5-0F9D-C1BD-7941-283BEFE0BBC4}"/>
              </a:ext>
            </a:extLst>
          </p:cNvPr>
          <p:cNvPicPr>
            <a:picLocks noChangeAspect="1"/>
          </p:cNvPicPr>
          <p:nvPr/>
        </p:nvPicPr>
        <p:blipFill>
          <a:blip r:embed="rId2"/>
          <a:stretch>
            <a:fillRect/>
          </a:stretch>
        </p:blipFill>
        <p:spPr>
          <a:xfrm>
            <a:off x="5370461" y="2697018"/>
            <a:ext cx="6220640" cy="3760031"/>
          </a:xfrm>
          <a:prstGeom prst="rect">
            <a:avLst/>
          </a:prstGeom>
        </p:spPr>
      </p:pic>
      <p:sp>
        <p:nvSpPr>
          <p:cNvPr id="7" name="TextBox 6">
            <a:extLst>
              <a:ext uri="{FF2B5EF4-FFF2-40B4-BE49-F238E27FC236}">
                <a16:creationId xmlns:a16="http://schemas.microsoft.com/office/drawing/2014/main" id="{B0702862-272D-2573-CCE0-ADCBB809F5F7}"/>
              </a:ext>
            </a:extLst>
          </p:cNvPr>
          <p:cNvSpPr txBox="1"/>
          <p:nvPr/>
        </p:nvSpPr>
        <p:spPr>
          <a:xfrm>
            <a:off x="10475154" y="3186929"/>
            <a:ext cx="831191" cy="276999"/>
          </a:xfrm>
          <a:prstGeom prst="rect">
            <a:avLst/>
          </a:prstGeom>
          <a:noFill/>
        </p:spPr>
        <p:txBody>
          <a:bodyPr wrap="square" lIns="0" tIns="0" rIns="0" bIns="0" rtlCol="0">
            <a:spAutoFit/>
          </a:bodyPr>
          <a:lstStyle/>
          <a:p>
            <a:pPr algn="l" fontAlgn="base">
              <a:spcBef>
                <a:spcPct val="50000"/>
              </a:spcBef>
              <a:spcAft>
                <a:spcPct val="0"/>
              </a:spcAft>
              <a:buClr>
                <a:srgbClr val="F0AB00"/>
              </a:buClr>
              <a:buSzPct val="80000"/>
            </a:pPr>
            <a:r>
              <a:rPr lang="en-US" sz="1800" b="1" kern="0" dirty="0">
                <a:latin typeface="+mj-lt"/>
                <a:ea typeface="Arial Unicode MS" pitchFamily="34" charset="-128"/>
                <a:cs typeface="Arial Unicode MS" pitchFamily="34" charset="-128"/>
              </a:rPr>
              <a:t>2022+</a:t>
            </a:r>
          </a:p>
        </p:txBody>
      </p:sp>
      <p:sp>
        <p:nvSpPr>
          <p:cNvPr id="8" name="Rectangle 7">
            <a:extLst>
              <a:ext uri="{FF2B5EF4-FFF2-40B4-BE49-F238E27FC236}">
                <a16:creationId xmlns:a16="http://schemas.microsoft.com/office/drawing/2014/main" id="{9C8869DB-5AA0-2DA0-B5DF-E72186C376C0}"/>
              </a:ext>
            </a:extLst>
          </p:cNvPr>
          <p:cNvSpPr/>
          <p:nvPr/>
        </p:nvSpPr>
        <p:spPr bwMode="gray">
          <a:xfrm>
            <a:off x="8332235" y="6074229"/>
            <a:ext cx="793103" cy="440772"/>
          </a:xfrm>
          <a:prstGeom prst="rect">
            <a:avLst/>
          </a:prstGeom>
          <a:noFill/>
          <a:ln w="25400" algn="ctr">
            <a:solidFill>
              <a:srgbClr val="FF0000"/>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DE" sz="1800" b="0" i="0" u="none" strike="noStrike" kern="0" cap="none" spc="0" normalizeH="0" baseline="0" noProof="0" dirty="0" err="1">
              <a:ln>
                <a:noFill/>
              </a:ln>
              <a:effectLst/>
              <a:uLnTx/>
              <a:uFillTx/>
              <a:ea typeface="Arial Unicode MS" pitchFamily="34" charset="-128"/>
              <a:cs typeface="Arial Unicode MS" pitchFamily="34" charset="-128"/>
            </a:endParaRPr>
          </a:p>
        </p:txBody>
      </p:sp>
      <p:sp>
        <p:nvSpPr>
          <p:cNvPr id="4" name="Rectangle 3">
            <a:extLst>
              <a:ext uri="{FF2B5EF4-FFF2-40B4-BE49-F238E27FC236}">
                <a16:creationId xmlns:a16="http://schemas.microsoft.com/office/drawing/2014/main" id="{43157338-B297-93A3-F68C-F3A9BABF8FCF}"/>
              </a:ext>
            </a:extLst>
          </p:cNvPr>
          <p:cNvSpPr/>
          <p:nvPr/>
        </p:nvSpPr>
        <p:spPr bwMode="gray">
          <a:xfrm>
            <a:off x="5843035" y="4778829"/>
            <a:ext cx="793103" cy="440772"/>
          </a:xfrm>
          <a:prstGeom prst="rect">
            <a:avLst/>
          </a:prstGeom>
          <a:noFill/>
          <a:ln w="25400" algn="ctr">
            <a:solidFill>
              <a:srgbClr val="FF0000"/>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DE" sz="1800" b="0" i="0" u="none" strike="noStrike" kern="0" cap="none" spc="0" normalizeH="0" baseline="0" noProof="0" dirty="0" err="1">
              <a:ln>
                <a:noFill/>
              </a:ln>
              <a:effectLst/>
              <a:uLnTx/>
              <a:uFillTx/>
              <a:ea typeface="Arial Unicode MS" pitchFamily="34" charset="-128"/>
              <a:cs typeface="Arial Unicode MS" pitchFamily="34" charset="-128"/>
            </a:endParaRPr>
          </a:p>
        </p:txBody>
      </p:sp>
    </p:spTree>
    <p:extLst>
      <p:ext uri="{BB962C8B-B14F-4D97-AF65-F5344CB8AC3E}">
        <p14:creationId xmlns:p14="http://schemas.microsoft.com/office/powerpoint/2010/main" val="166404497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5921CE4B-3E17-E51A-A09C-6BF79DEA6F73}"/>
              </a:ext>
            </a:extLst>
          </p:cNvPr>
          <p:cNvSpPr/>
          <p:nvPr/>
        </p:nvSpPr>
        <p:spPr bwMode="gray">
          <a:xfrm>
            <a:off x="2262530" y="1335516"/>
            <a:ext cx="5440731" cy="1471960"/>
          </a:xfrm>
          <a:prstGeom prst="rect">
            <a:avLst/>
          </a:prstGeom>
          <a:solidFill>
            <a:schemeClr val="bg1">
              <a:lumMod val="95000"/>
            </a:schemeClr>
          </a:solidFill>
          <a:ln>
            <a:headEnd/>
            <a:tailEnd/>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0000" tIns="72000" rIns="90000" bIns="72000" numCol="1" spcCol="0" rtlCol="0" fromWordArt="0" anchor="t" anchorCtr="0" forceAA="0" compatLnSpc="1">
            <a:prstTxWarp prst="textNoShape">
              <a:avLst/>
            </a:prstTxWarp>
            <a:noAutofit/>
          </a:bodyPr>
          <a:lstStyle/>
          <a:p>
            <a:pPr defTabSz="914400" fontAlgn="base">
              <a:spcBef>
                <a:spcPct val="50000"/>
              </a:spcBef>
              <a:spcAft>
                <a:spcPct val="0"/>
              </a:spcAft>
              <a:buClr>
                <a:srgbClr val="F0AB00"/>
              </a:buClr>
              <a:buSzPct val="80000"/>
            </a:pPr>
            <a:r>
              <a:rPr lang="en-US" sz="1200" b="1" kern="0" dirty="0">
                <a:ea typeface="Arial Unicode MS"/>
                <a:cs typeface="Arial Unicode MS"/>
              </a:rPr>
              <a:t>SAP S/4HANA</a:t>
            </a:r>
            <a:endParaRPr lang="en-US" sz="1200" b="1"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3" name="Text Placeholder 2">
            <a:extLst>
              <a:ext uri="{FF2B5EF4-FFF2-40B4-BE49-F238E27FC236}">
                <a16:creationId xmlns:a16="http://schemas.microsoft.com/office/drawing/2014/main" id="{AC3834C0-9F69-1449-5228-A5210E62D988}"/>
              </a:ext>
            </a:extLst>
          </p:cNvPr>
          <p:cNvSpPr>
            <a:spLocks noGrp="1"/>
          </p:cNvSpPr>
          <p:nvPr>
            <p:ph type="body" sz="quarter" idx="10"/>
          </p:nvPr>
        </p:nvSpPr>
        <p:spPr>
          <a:xfrm>
            <a:off x="2262530" y="3269661"/>
            <a:ext cx="5440731" cy="2924207"/>
          </a:xfrm>
        </p:spPr>
        <p:txBody>
          <a:bodyPr vert="horz" lIns="0" tIns="0" rIns="0" bIns="0" rtlCol="0" anchor="t">
            <a:normAutofit/>
          </a:bodyPr>
          <a:lstStyle/>
          <a:p>
            <a:pPr marL="0" lvl="1" indent="0">
              <a:buNone/>
            </a:pPr>
            <a:r>
              <a:rPr lang="en-US" sz="1400" b="1" dirty="0"/>
              <a:t>Event enablement of applications leverages RAP</a:t>
            </a:r>
          </a:p>
          <a:p>
            <a:pPr lvl="2" indent="-179070">
              <a:buFont typeface="Arial"/>
              <a:buChar char="•"/>
            </a:pPr>
            <a:r>
              <a:rPr lang="en-US" sz="1400" dirty="0"/>
              <a:t>Events as integral part of programming model</a:t>
            </a:r>
          </a:p>
          <a:p>
            <a:pPr lvl="2" indent="-179070">
              <a:buFont typeface="Arial"/>
              <a:buChar char="•"/>
            </a:pPr>
            <a:r>
              <a:rPr lang="en-US" sz="1400" dirty="0"/>
              <a:t>Significant improvements in performance, robustness and administration</a:t>
            </a:r>
          </a:p>
          <a:p>
            <a:pPr lvl="2" indent="-179070">
              <a:buFont typeface="Arial"/>
              <a:buChar char="•"/>
            </a:pPr>
            <a:r>
              <a:rPr lang="en-US" sz="1400" dirty="0"/>
              <a:t>Custom events enabled</a:t>
            </a:r>
          </a:p>
          <a:p>
            <a:pPr marL="0" lvl="1" indent="0">
              <a:buNone/>
            </a:pPr>
            <a:r>
              <a:rPr lang="en-US" sz="1400" b="1" dirty="0"/>
              <a:t>Infrastructure Features</a:t>
            </a:r>
          </a:p>
          <a:p>
            <a:pPr lvl="2" indent="-179070">
              <a:buFont typeface="Arial"/>
              <a:buChar char="•"/>
            </a:pPr>
            <a:r>
              <a:rPr lang="en-US" sz="1400" dirty="0"/>
              <a:t>Improved error handling through (enhanced) integration of Application Integration Framework (AIF)</a:t>
            </a:r>
          </a:p>
          <a:p>
            <a:pPr lvl="2" indent="-179070">
              <a:buClr>
                <a:srgbClr val="000000"/>
              </a:buClr>
              <a:buFont typeface="Arial"/>
              <a:buChar char="•"/>
            </a:pPr>
            <a:r>
              <a:rPr lang="en-US" sz="1400" dirty="0"/>
              <a:t>Performance: Parallelization</a:t>
            </a:r>
          </a:p>
          <a:p>
            <a:pPr lvl="2" indent="-179070">
              <a:buClr>
                <a:srgbClr val="000000"/>
              </a:buClr>
              <a:buFont typeface="Arial"/>
              <a:buChar char="•"/>
            </a:pPr>
            <a:r>
              <a:rPr lang="en-US" sz="1400" dirty="0"/>
              <a:t>Open Resource Discovery (ORD) – discoverability by (future) services</a:t>
            </a:r>
          </a:p>
          <a:p>
            <a:pPr lvl="2" indent="-179070">
              <a:buClr>
                <a:srgbClr val="000000"/>
              </a:buClr>
              <a:buFont typeface="Arial"/>
              <a:buChar char="•"/>
            </a:pPr>
            <a:r>
              <a:rPr lang="en-US" sz="1400" dirty="0"/>
              <a:t>Inbound Events</a:t>
            </a:r>
          </a:p>
        </p:txBody>
      </p:sp>
      <p:sp>
        <p:nvSpPr>
          <p:cNvPr id="2" name="Title 1">
            <a:extLst>
              <a:ext uri="{FF2B5EF4-FFF2-40B4-BE49-F238E27FC236}">
                <a16:creationId xmlns:a16="http://schemas.microsoft.com/office/drawing/2014/main" id="{BE555B28-DBB8-1BAB-95E6-9233FCAC3996}"/>
              </a:ext>
            </a:extLst>
          </p:cNvPr>
          <p:cNvSpPr>
            <a:spLocks noGrp="1"/>
          </p:cNvSpPr>
          <p:nvPr>
            <p:ph type="title"/>
          </p:nvPr>
        </p:nvSpPr>
        <p:spPr>
          <a:xfrm>
            <a:off x="0" y="504000"/>
            <a:ext cx="12195175" cy="369332"/>
          </a:xfrm>
        </p:spPr>
        <p:txBody>
          <a:bodyPr/>
          <a:lstStyle/>
          <a:p>
            <a:pPr algn="ctr"/>
            <a:r>
              <a:rPr lang="en-US" dirty="0"/>
              <a:t>RAP-improved S/4HANA Event Enablement</a:t>
            </a:r>
          </a:p>
        </p:txBody>
      </p:sp>
      <p:sp>
        <p:nvSpPr>
          <p:cNvPr id="7" name="Rectangle 6">
            <a:extLst>
              <a:ext uri="{FF2B5EF4-FFF2-40B4-BE49-F238E27FC236}">
                <a16:creationId xmlns:a16="http://schemas.microsoft.com/office/drawing/2014/main" id="{A0305B3B-E763-2E53-1A8C-1264D051956B}"/>
              </a:ext>
            </a:extLst>
          </p:cNvPr>
          <p:cNvSpPr/>
          <p:nvPr/>
        </p:nvSpPr>
        <p:spPr bwMode="gray">
          <a:xfrm>
            <a:off x="2977350" y="1613058"/>
            <a:ext cx="2397427" cy="1008062"/>
          </a:xfrm>
          <a:prstGeom prst="rect">
            <a:avLst/>
          </a:prstGeom>
          <a:solidFill>
            <a:schemeClr val="tx2">
              <a:lumMod val="40000"/>
              <a:lumOff val="60000"/>
            </a:schemeClr>
          </a:solidFill>
          <a:ln>
            <a:headEnd/>
            <a:tailEnd/>
          </a:ln>
        </p:spPr>
        <p:style>
          <a:lnRef idx="1">
            <a:schemeClr val="accent1"/>
          </a:lnRef>
          <a:fillRef idx="2">
            <a:schemeClr val="accent1"/>
          </a:fillRef>
          <a:effectRef idx="1">
            <a:schemeClr val="accent1"/>
          </a:effectRef>
          <a:fontRef idx="minor">
            <a:schemeClr val="dk1"/>
          </a:fontRef>
        </p:style>
        <p:txBody>
          <a:bodyPr lIns="90000" tIns="72000" rIns="90000" bIns="72000" rtlCol="0" anchor="ctr"/>
          <a:lstStyle/>
          <a:p>
            <a:pPr algn="r" defTabSz="914400" fontAlgn="base">
              <a:spcBef>
                <a:spcPct val="50000"/>
              </a:spcBef>
              <a:spcAft>
                <a:spcPct val="0"/>
              </a:spcAft>
              <a:buClr>
                <a:srgbClr val="F0AB00"/>
              </a:buClr>
              <a:buSzPct val="80000"/>
            </a:pPr>
            <a:r>
              <a:rPr lang="en-US" sz="1600" b="1" kern="0" dirty="0">
                <a:ea typeface="Arial Unicode MS"/>
                <a:cs typeface="Arial Unicode MS"/>
              </a:rPr>
              <a:t>RAP </a:t>
            </a:r>
            <a:endParaRPr kumimoji="0" lang="en-US" sz="1600" b="1"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6" name="Rectangle 5">
            <a:extLst>
              <a:ext uri="{FF2B5EF4-FFF2-40B4-BE49-F238E27FC236}">
                <a16:creationId xmlns:a16="http://schemas.microsoft.com/office/drawing/2014/main" id="{4B56C33C-F2AF-7C6C-33B9-E8144C019973}"/>
              </a:ext>
            </a:extLst>
          </p:cNvPr>
          <p:cNvSpPr/>
          <p:nvPr/>
        </p:nvSpPr>
        <p:spPr bwMode="gray">
          <a:xfrm>
            <a:off x="2975891" y="1613057"/>
            <a:ext cx="1647825" cy="775055"/>
          </a:xfrm>
          <a:prstGeom prst="rect">
            <a:avLst/>
          </a:prstGeom>
          <a:ln>
            <a:headEnd/>
            <a:tailEnd/>
          </a:ln>
        </p:spPr>
        <p:style>
          <a:lnRef idx="1">
            <a:schemeClr val="accent3"/>
          </a:lnRef>
          <a:fillRef idx="2">
            <a:schemeClr val="accent3"/>
          </a:fillRef>
          <a:effectRef idx="1">
            <a:schemeClr val="accent3"/>
          </a:effectRef>
          <a:fontRef idx="minor">
            <a:schemeClr val="dk1"/>
          </a:fontRef>
        </p:style>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lang="en-US" sz="1600" kern="0">
                <a:ea typeface="Arial Unicode MS"/>
                <a:cs typeface="Arial Unicode MS"/>
              </a:rPr>
              <a:t>Application</a:t>
            </a:r>
            <a:endParaRPr kumimoji="0" lang="en-US" sz="1600" b="0" i="0" u="none" strike="noStrike" kern="0" cap="none" spc="0" normalizeH="0" baseline="0" noProof="0" err="1">
              <a:ln>
                <a:noFill/>
              </a:ln>
              <a:effectLst/>
              <a:uLnTx/>
              <a:uFillTx/>
              <a:ea typeface="Arial Unicode MS" pitchFamily="34" charset="-128"/>
              <a:cs typeface="Arial Unicode MS" pitchFamily="34" charset="-128"/>
            </a:endParaRPr>
          </a:p>
        </p:txBody>
      </p:sp>
      <p:sp>
        <p:nvSpPr>
          <p:cNvPr id="8" name="Rectangle 7">
            <a:extLst>
              <a:ext uri="{FF2B5EF4-FFF2-40B4-BE49-F238E27FC236}">
                <a16:creationId xmlns:a16="http://schemas.microsoft.com/office/drawing/2014/main" id="{36321091-4B73-70EC-2645-6CD9F9AE9EBC}"/>
              </a:ext>
            </a:extLst>
          </p:cNvPr>
          <p:cNvSpPr/>
          <p:nvPr/>
        </p:nvSpPr>
        <p:spPr bwMode="gray">
          <a:xfrm>
            <a:off x="5870127" y="1613057"/>
            <a:ext cx="1647825" cy="1008063"/>
          </a:xfrm>
          <a:prstGeom prst="rect">
            <a:avLst/>
          </a:prstGeom>
          <a:solidFill>
            <a:schemeClr val="accent3">
              <a:lumMod val="40000"/>
              <a:lumOff val="60000"/>
            </a:schemeClr>
          </a:solidFill>
          <a:ln>
            <a:solidFill>
              <a:schemeClr val="accent3"/>
            </a:solidFill>
            <a:headEnd/>
            <a:tailEnd/>
          </a:ln>
        </p:spPr>
        <p:style>
          <a:lnRef idx="1">
            <a:schemeClr val="accent4"/>
          </a:lnRef>
          <a:fillRef idx="2">
            <a:schemeClr val="accent4"/>
          </a:fillRef>
          <a:effectRef idx="1">
            <a:schemeClr val="accent4"/>
          </a:effectRef>
          <a:fontRef idx="minor">
            <a:schemeClr val="dk1"/>
          </a:fontRef>
        </p:style>
        <p:txBody>
          <a:bodyPr lIns="90000" tIns="72000" rIns="90000" bIns="72000" rtlCol="0" anchor="ctr"/>
          <a:lstStyle/>
          <a:p>
            <a:pPr algn="ctr" defTabSz="914400" fontAlgn="base">
              <a:spcBef>
                <a:spcPct val="50000"/>
              </a:spcBef>
              <a:spcAft>
                <a:spcPct val="0"/>
              </a:spcAft>
              <a:buClr>
                <a:srgbClr val="F0AB00"/>
              </a:buClr>
              <a:buSzPct val="80000"/>
            </a:pPr>
            <a:r>
              <a:rPr lang="en-US" sz="1600" kern="0" dirty="0">
                <a:ea typeface="Arial Unicode MS"/>
                <a:cs typeface="Arial Unicode MS"/>
              </a:rPr>
              <a:t>Enterprise Event Enablement</a:t>
            </a:r>
            <a:endParaRPr lang="en-US" sz="16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9" name="Rectangle 8">
            <a:extLst>
              <a:ext uri="{FF2B5EF4-FFF2-40B4-BE49-F238E27FC236}">
                <a16:creationId xmlns:a16="http://schemas.microsoft.com/office/drawing/2014/main" id="{BAA3346A-FA24-B3A6-A9D3-E70783FAA3A3}"/>
              </a:ext>
            </a:extLst>
          </p:cNvPr>
          <p:cNvSpPr/>
          <p:nvPr/>
        </p:nvSpPr>
        <p:spPr bwMode="gray">
          <a:xfrm>
            <a:off x="8019602" y="1613057"/>
            <a:ext cx="1647825" cy="1008063"/>
          </a:xfrm>
          <a:prstGeom prst="rect">
            <a:avLst/>
          </a:prstGeom>
          <a:ln>
            <a:headEnd/>
            <a:tailEnd/>
          </a:ln>
        </p:spPr>
        <p:style>
          <a:lnRef idx="1">
            <a:schemeClr val="accent3"/>
          </a:lnRef>
          <a:fillRef idx="3">
            <a:schemeClr val="accent3"/>
          </a:fillRef>
          <a:effectRef idx="2">
            <a:schemeClr val="accent3"/>
          </a:effectRef>
          <a:fontRef idx="minor">
            <a:schemeClr val="lt1"/>
          </a:fontRef>
        </p:style>
        <p:txBody>
          <a:bodyPr lIns="90000" tIns="72000" rIns="90000" bIns="72000" rtlCol="0" anchor="ctr"/>
          <a:lstStyle/>
          <a:p>
            <a:pPr algn="ctr" defTabSz="914400" fontAlgn="base">
              <a:spcBef>
                <a:spcPct val="50000"/>
              </a:spcBef>
              <a:spcAft>
                <a:spcPct val="0"/>
              </a:spcAft>
              <a:buClr>
                <a:srgbClr val="F0AB00"/>
              </a:buClr>
              <a:buSzPct val="80000"/>
            </a:pPr>
            <a:r>
              <a:rPr lang="en-US" sz="1600" kern="0" dirty="0">
                <a:ea typeface="Arial Unicode MS"/>
                <a:cs typeface="Arial Unicode MS"/>
              </a:rPr>
              <a:t>SAP * Event Mesh</a:t>
            </a:r>
            <a:endParaRPr kumimoji="0" lang="en-US" sz="16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12" name="Arrow: Striped Right 11">
            <a:extLst>
              <a:ext uri="{FF2B5EF4-FFF2-40B4-BE49-F238E27FC236}">
                <a16:creationId xmlns:a16="http://schemas.microsoft.com/office/drawing/2014/main" id="{089C325A-E8BA-A929-B0A6-E1D7C3E20B9D}"/>
              </a:ext>
            </a:extLst>
          </p:cNvPr>
          <p:cNvSpPr/>
          <p:nvPr/>
        </p:nvSpPr>
        <p:spPr bwMode="gray">
          <a:xfrm>
            <a:off x="7583375" y="1875643"/>
            <a:ext cx="392818" cy="484632"/>
          </a:xfrm>
          <a:prstGeom prst="stripedRightArrow">
            <a:avLst/>
          </a:prstGeom>
          <a:solidFill>
            <a:schemeClr val="bg1"/>
          </a:solidFill>
          <a:ln w="2540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err="1">
              <a:ln>
                <a:noFill/>
              </a:ln>
              <a:effectLst/>
              <a:uLnTx/>
              <a:uFillTx/>
              <a:ea typeface="Arial Unicode MS" pitchFamily="34" charset="-128"/>
              <a:cs typeface="Arial Unicode MS" pitchFamily="34" charset="-128"/>
            </a:endParaRPr>
          </a:p>
        </p:txBody>
      </p:sp>
      <p:sp>
        <p:nvSpPr>
          <p:cNvPr id="13" name="Arrow: Striped Right 12">
            <a:extLst>
              <a:ext uri="{FF2B5EF4-FFF2-40B4-BE49-F238E27FC236}">
                <a16:creationId xmlns:a16="http://schemas.microsoft.com/office/drawing/2014/main" id="{69763E8D-7C11-5391-A725-F24BA37F2D83}"/>
              </a:ext>
            </a:extLst>
          </p:cNvPr>
          <p:cNvSpPr/>
          <p:nvPr/>
        </p:nvSpPr>
        <p:spPr bwMode="gray">
          <a:xfrm>
            <a:off x="5426875" y="1875643"/>
            <a:ext cx="392818" cy="484632"/>
          </a:xfrm>
          <a:prstGeom prst="stripedRightArrow">
            <a:avLst/>
          </a:prstGeom>
          <a:noFill/>
          <a:ln w="2540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err="1">
              <a:ln>
                <a:noFill/>
              </a:ln>
              <a:effectLst/>
              <a:uLnTx/>
              <a:uFillTx/>
              <a:ea typeface="Arial Unicode MS" pitchFamily="34" charset="-128"/>
              <a:cs typeface="Arial Unicode MS" pitchFamily="34" charset="-128"/>
            </a:endParaRPr>
          </a:p>
        </p:txBody>
      </p:sp>
      <p:pic>
        <p:nvPicPr>
          <p:cNvPr id="16" name="Picture 15">
            <a:extLst>
              <a:ext uri="{FF2B5EF4-FFF2-40B4-BE49-F238E27FC236}">
                <a16:creationId xmlns:a16="http://schemas.microsoft.com/office/drawing/2014/main" id="{50A3E38D-C6D6-8D1F-1CBE-1534933D09C1}"/>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472549" y="0"/>
            <a:ext cx="1722626" cy="6858000"/>
          </a:xfrm>
          <a:prstGeom prst="rect">
            <a:avLst/>
          </a:prstGeom>
        </p:spPr>
      </p:pic>
      <p:pic>
        <p:nvPicPr>
          <p:cNvPr id="19" name="Picture 18">
            <a:extLst>
              <a:ext uri="{FF2B5EF4-FFF2-40B4-BE49-F238E27FC236}">
                <a16:creationId xmlns:a16="http://schemas.microsoft.com/office/drawing/2014/main" id="{B4CBEEB8-F473-4F7A-4DD9-0B9E07030474}"/>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0" y="0"/>
            <a:ext cx="1722626" cy="6858000"/>
          </a:xfrm>
          <a:prstGeom prst="rect">
            <a:avLst/>
          </a:prstGeom>
        </p:spPr>
      </p:pic>
      <p:graphicFrame>
        <p:nvGraphicFramePr>
          <p:cNvPr id="10" name="Table 10">
            <a:extLst>
              <a:ext uri="{FF2B5EF4-FFF2-40B4-BE49-F238E27FC236}">
                <a16:creationId xmlns:a16="http://schemas.microsoft.com/office/drawing/2014/main" id="{A35129D9-C088-E3D4-4B55-88AD5A173BD0}"/>
              </a:ext>
            </a:extLst>
          </p:cNvPr>
          <p:cNvGraphicFramePr>
            <a:graphicFrameLocks noGrp="1"/>
          </p:cNvGraphicFramePr>
          <p:nvPr/>
        </p:nvGraphicFramePr>
        <p:xfrm>
          <a:off x="8019602" y="3269661"/>
          <a:ext cx="1966130" cy="2193156"/>
        </p:xfrm>
        <a:graphic>
          <a:graphicData uri="http://schemas.openxmlformats.org/drawingml/2006/table">
            <a:tbl>
              <a:tblPr firstRow="1" bandRow="1">
                <a:tableStyleId>{284E427A-3D55-4303-BF80-6455036E1DE7}</a:tableStyleId>
              </a:tblPr>
              <a:tblGrid>
                <a:gridCol w="1148621">
                  <a:extLst>
                    <a:ext uri="{9D8B030D-6E8A-4147-A177-3AD203B41FA5}">
                      <a16:colId xmlns:a16="http://schemas.microsoft.com/office/drawing/2014/main" val="2099615116"/>
                    </a:ext>
                  </a:extLst>
                </a:gridCol>
                <a:gridCol w="817509">
                  <a:extLst>
                    <a:ext uri="{9D8B030D-6E8A-4147-A177-3AD203B41FA5}">
                      <a16:colId xmlns:a16="http://schemas.microsoft.com/office/drawing/2014/main" val="163945280"/>
                    </a:ext>
                  </a:extLst>
                </a:gridCol>
              </a:tblGrid>
              <a:tr h="731052">
                <a:tc>
                  <a:txBody>
                    <a:bodyPr/>
                    <a:lstStyle/>
                    <a:p>
                      <a:endParaRPr lang="en-DE" sz="1200" dirty="0">
                        <a:solidFill>
                          <a:schemeClr val="tx1"/>
                        </a:solidFill>
                      </a:endParaRPr>
                    </a:p>
                  </a:txBody>
                  <a:tcPr/>
                </a:tc>
                <a:tc>
                  <a:txBody>
                    <a:bodyPr/>
                    <a:lstStyle/>
                    <a:p>
                      <a:r>
                        <a:rPr lang="en-DE" sz="1200" dirty="0">
                          <a:solidFill>
                            <a:schemeClr val="tx1"/>
                          </a:solidFill>
                        </a:rPr>
                        <a:t>RAP based Events</a:t>
                      </a:r>
                    </a:p>
                  </a:txBody>
                  <a:tcPr/>
                </a:tc>
                <a:extLst>
                  <a:ext uri="{0D108BD9-81ED-4DB2-BD59-A6C34878D82A}">
                    <a16:rowId xmlns:a16="http://schemas.microsoft.com/office/drawing/2014/main" val="2060406174"/>
                  </a:ext>
                </a:extLst>
              </a:tr>
              <a:tr h="731052">
                <a:tc>
                  <a:txBody>
                    <a:bodyPr/>
                    <a:lstStyle/>
                    <a:p>
                      <a:r>
                        <a:rPr lang="en-DE" sz="1200" dirty="0">
                          <a:solidFill>
                            <a:schemeClr val="tx1"/>
                          </a:solidFill>
                        </a:rPr>
                        <a:t>May 23</a:t>
                      </a:r>
                    </a:p>
                  </a:txBody>
                  <a:tcPr anchor="ctr"/>
                </a:tc>
                <a:tc>
                  <a:txBody>
                    <a:bodyPr/>
                    <a:lstStyle/>
                    <a:p>
                      <a:r>
                        <a:rPr lang="en-DE" sz="1200" dirty="0">
                          <a:solidFill>
                            <a:schemeClr val="tx1"/>
                          </a:solidFill>
                        </a:rPr>
                        <a:t>144</a:t>
                      </a:r>
                    </a:p>
                  </a:txBody>
                  <a:tcPr anchor="ctr"/>
                </a:tc>
                <a:extLst>
                  <a:ext uri="{0D108BD9-81ED-4DB2-BD59-A6C34878D82A}">
                    <a16:rowId xmlns:a16="http://schemas.microsoft.com/office/drawing/2014/main" val="3646084141"/>
                  </a:ext>
                </a:extLst>
              </a:tr>
              <a:tr h="731052">
                <a:tc>
                  <a:txBody>
                    <a:bodyPr/>
                    <a:lstStyle/>
                    <a:p>
                      <a:r>
                        <a:rPr lang="en-DE" sz="1200" dirty="0">
                          <a:solidFill>
                            <a:schemeClr val="tx1"/>
                          </a:solidFill>
                        </a:rPr>
                        <a:t>September 23</a:t>
                      </a:r>
                    </a:p>
                  </a:txBody>
                  <a:tcPr anchor="ctr"/>
                </a:tc>
                <a:tc>
                  <a:txBody>
                    <a:bodyPr/>
                    <a:lstStyle/>
                    <a:p>
                      <a:r>
                        <a:rPr lang="en-DE" sz="1200" dirty="0">
                          <a:solidFill>
                            <a:schemeClr val="tx1"/>
                          </a:solidFill>
                        </a:rPr>
                        <a:t>389</a:t>
                      </a:r>
                    </a:p>
                  </a:txBody>
                  <a:tcPr anchor="ctr"/>
                </a:tc>
                <a:extLst>
                  <a:ext uri="{0D108BD9-81ED-4DB2-BD59-A6C34878D82A}">
                    <a16:rowId xmlns:a16="http://schemas.microsoft.com/office/drawing/2014/main" val="2385274109"/>
                  </a:ext>
                </a:extLst>
              </a:tr>
            </a:tbl>
          </a:graphicData>
        </a:graphic>
      </p:graphicFrame>
    </p:spTree>
    <p:extLst>
      <p:ext uri="{BB962C8B-B14F-4D97-AF65-F5344CB8AC3E}">
        <p14:creationId xmlns:p14="http://schemas.microsoft.com/office/powerpoint/2010/main" val="229125862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CB7F646B-67DE-98F5-1409-4F09C9BC044E}"/>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5167086" y="0"/>
            <a:ext cx="7028089" cy="6403851"/>
          </a:xfrm>
          <a:prstGeom prst="rect">
            <a:avLst/>
          </a:prstGeom>
        </p:spPr>
      </p:pic>
      <p:sp>
        <p:nvSpPr>
          <p:cNvPr id="2" name="Title 1">
            <a:extLst>
              <a:ext uri="{FF2B5EF4-FFF2-40B4-BE49-F238E27FC236}">
                <a16:creationId xmlns:a16="http://schemas.microsoft.com/office/drawing/2014/main" id="{E2C8A811-4410-4D16-991C-976A97B9A814}"/>
              </a:ext>
            </a:extLst>
          </p:cNvPr>
          <p:cNvSpPr>
            <a:spLocks noGrp="1"/>
          </p:cNvSpPr>
          <p:nvPr>
            <p:ph type="title"/>
          </p:nvPr>
        </p:nvSpPr>
        <p:spPr>
          <a:xfrm>
            <a:off x="504002" y="806049"/>
            <a:ext cx="3383998" cy="1107996"/>
          </a:xfrm>
        </p:spPr>
        <p:txBody>
          <a:bodyPr/>
          <a:lstStyle/>
          <a:p>
            <a:r>
              <a:rPr lang="en-US" dirty="0"/>
              <a:t>Standard Content on </a:t>
            </a:r>
            <a:br>
              <a:rPr lang="en-US" dirty="0"/>
            </a:br>
            <a:r>
              <a:rPr lang="en-US" dirty="0"/>
              <a:t>SAP Business Accelerator Hub</a:t>
            </a:r>
            <a:endParaRPr lang="en-DE" dirty="0"/>
          </a:p>
        </p:txBody>
      </p:sp>
      <p:sp>
        <p:nvSpPr>
          <p:cNvPr id="4" name="TextBox 3">
            <a:extLst>
              <a:ext uri="{FF2B5EF4-FFF2-40B4-BE49-F238E27FC236}">
                <a16:creationId xmlns:a16="http://schemas.microsoft.com/office/drawing/2014/main" id="{F65F53F9-005F-4A1A-968A-89E37CC749C7}"/>
              </a:ext>
            </a:extLst>
          </p:cNvPr>
          <p:cNvSpPr txBox="1"/>
          <p:nvPr/>
        </p:nvSpPr>
        <p:spPr>
          <a:xfrm>
            <a:off x="384739" y="3001027"/>
            <a:ext cx="3992527" cy="1938992"/>
          </a:xfrm>
          <a:prstGeom prst="rect">
            <a:avLst/>
          </a:prstGeom>
          <a:noFill/>
        </p:spPr>
        <p:txBody>
          <a:bodyPr wrap="square" lIns="0" tIns="0" rIns="0" bIns="0" rtlCol="0">
            <a:spAutoFit/>
          </a:bodyPr>
          <a:lstStyle/>
          <a:p>
            <a:pPr fontAlgn="base">
              <a:spcAft>
                <a:spcPct val="0"/>
              </a:spcAft>
              <a:buClr>
                <a:srgbClr val="F0AB00"/>
              </a:buClr>
              <a:buSzPct val="80000"/>
            </a:pPr>
            <a:r>
              <a:rPr lang="en-US" sz="1800" kern="0" dirty="0">
                <a:ea typeface="Arial Unicode MS" pitchFamily="34" charset="-128"/>
                <a:cs typeface="Arial Unicode MS" pitchFamily="34" charset="-128"/>
              </a:rPr>
              <a:t>Currently (2402) released for public cloud: </a:t>
            </a:r>
            <a:r>
              <a:rPr lang="en-US" sz="1800" b="1" kern="0" dirty="0">
                <a:ea typeface="Arial Unicode MS" pitchFamily="34" charset="-128"/>
                <a:cs typeface="Arial Unicode MS" pitchFamily="34" charset="-128"/>
              </a:rPr>
              <a:t>139 objects with 538 events</a:t>
            </a:r>
          </a:p>
          <a:p>
            <a:pPr fontAlgn="base">
              <a:spcAft>
                <a:spcPct val="0"/>
              </a:spcAft>
              <a:buClr>
                <a:srgbClr val="F0AB00"/>
              </a:buClr>
              <a:buSzPct val="80000"/>
            </a:pPr>
            <a:endParaRPr lang="en-US" sz="1800" kern="0" dirty="0">
              <a:ea typeface="Arial Unicode MS" pitchFamily="34" charset="-128"/>
              <a:cs typeface="Arial Unicode MS" pitchFamily="34" charset="-128"/>
            </a:endParaRPr>
          </a:p>
          <a:p>
            <a:pPr fontAlgn="base">
              <a:spcAft>
                <a:spcPct val="0"/>
              </a:spcAft>
              <a:buClr>
                <a:srgbClr val="F0AB00"/>
              </a:buClr>
              <a:buSzPct val="80000"/>
            </a:pPr>
            <a:r>
              <a:rPr lang="en-US" sz="1800" kern="0" dirty="0">
                <a:ea typeface="Arial Unicode MS" pitchFamily="34" charset="-128"/>
                <a:cs typeface="Arial Unicode MS" pitchFamily="34" charset="-128"/>
              </a:rPr>
              <a:t>Roughly the same content for private cloud/on premise (2023FPS1): </a:t>
            </a:r>
            <a:r>
              <a:rPr lang="en-US" sz="1800" b="1" kern="0" dirty="0">
                <a:ea typeface="Arial Unicode MS" pitchFamily="34" charset="-128"/>
                <a:cs typeface="Arial Unicode MS" pitchFamily="34" charset="-128"/>
              </a:rPr>
              <a:t>147 objects with 555 events</a:t>
            </a:r>
          </a:p>
          <a:p>
            <a:pPr fontAlgn="base">
              <a:spcAft>
                <a:spcPct val="0"/>
              </a:spcAft>
              <a:buClr>
                <a:srgbClr val="F0AB00"/>
              </a:buClr>
              <a:buSzPct val="80000"/>
            </a:pPr>
            <a:endParaRPr lang="en-US" sz="1800" b="1" kern="0" dirty="0">
              <a:ea typeface="Arial Unicode MS" pitchFamily="34" charset="-128"/>
              <a:cs typeface="Arial Unicode MS" pitchFamily="34" charset="-128"/>
            </a:endParaRPr>
          </a:p>
        </p:txBody>
      </p:sp>
    </p:spTree>
    <p:extLst>
      <p:ext uri="{BB962C8B-B14F-4D97-AF65-F5344CB8AC3E}">
        <p14:creationId xmlns:p14="http://schemas.microsoft.com/office/powerpoint/2010/main" val="234632328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1" name="Picture 30">
            <a:extLst>
              <a:ext uri="{FF2B5EF4-FFF2-40B4-BE49-F238E27FC236}">
                <a16:creationId xmlns:a16="http://schemas.microsoft.com/office/drawing/2014/main" id="{52350D4B-C4D4-F17D-988F-45E8F60A01D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43562" y="3980316"/>
            <a:ext cx="10745618" cy="2446057"/>
          </a:xfrm>
          <a:prstGeom prst="rect">
            <a:avLst/>
          </a:prstGeom>
        </p:spPr>
      </p:pic>
      <p:sp>
        <p:nvSpPr>
          <p:cNvPr id="4" name="Title 3">
            <a:extLst>
              <a:ext uri="{FF2B5EF4-FFF2-40B4-BE49-F238E27FC236}">
                <a16:creationId xmlns:a16="http://schemas.microsoft.com/office/drawing/2014/main" id="{3B69BFCC-79B9-6BA0-16AB-19D8AD8E1BF0}"/>
              </a:ext>
            </a:extLst>
          </p:cNvPr>
          <p:cNvSpPr>
            <a:spLocks noGrp="1"/>
          </p:cNvSpPr>
          <p:nvPr>
            <p:ph type="title"/>
          </p:nvPr>
        </p:nvSpPr>
        <p:spPr/>
        <p:txBody>
          <a:bodyPr/>
          <a:lstStyle/>
          <a:p>
            <a:r>
              <a:rPr lang="en-US" dirty="0"/>
              <a:t>Custom Events</a:t>
            </a:r>
            <a:endParaRPr lang="en-DE" dirty="0"/>
          </a:p>
        </p:txBody>
      </p:sp>
      <p:sp>
        <p:nvSpPr>
          <p:cNvPr id="7" name="Rectangle 6">
            <a:extLst>
              <a:ext uri="{FF2B5EF4-FFF2-40B4-BE49-F238E27FC236}">
                <a16:creationId xmlns:a16="http://schemas.microsoft.com/office/drawing/2014/main" id="{46313718-CBB2-A07B-DBBC-100C93B7E1F7}"/>
              </a:ext>
            </a:extLst>
          </p:cNvPr>
          <p:cNvSpPr/>
          <p:nvPr/>
        </p:nvSpPr>
        <p:spPr bwMode="gray">
          <a:xfrm>
            <a:off x="504001" y="1600891"/>
            <a:ext cx="2790564" cy="1828109"/>
          </a:xfrm>
          <a:prstGeom prst="rect">
            <a:avLst/>
          </a:prstGeom>
          <a:solidFill>
            <a:schemeClr val="accent4">
              <a:lumMod val="40000"/>
              <a:lumOff val="60000"/>
              <a:alpha val="89804"/>
            </a:schemeClr>
          </a:solidFill>
          <a:ln w="25400" algn="ctr">
            <a:solidFill>
              <a:schemeClr val="tx1"/>
            </a:solidFill>
            <a:miter lim="800000"/>
            <a:headEnd/>
            <a:tailEnd/>
          </a:ln>
          <a:effectLst>
            <a:outerShdw blurRad="38100" dist="25400" dir="5400000" algn="ctr" rotWithShape="0">
              <a:srgbClr val="000000">
                <a:alpha val="45000"/>
              </a:srgbClr>
            </a:outerShdw>
          </a:effectLst>
        </p:spPr>
        <p:txBody>
          <a:bodyPr lIns="90000" tIns="72000" rIns="90000" bIns="72000" rtlCol="0" anchor="t"/>
          <a:lstStyle/>
          <a:p>
            <a:pPr marR="0" defTabSz="914400" eaLnBrk="1" fontAlgn="base" latinLnBrk="0" hangingPunct="1">
              <a:lnSpc>
                <a:spcPct val="100000"/>
              </a:lnSpc>
              <a:spcBef>
                <a:spcPct val="50000"/>
              </a:spcBef>
              <a:spcAft>
                <a:spcPct val="0"/>
              </a:spcAft>
              <a:buClr>
                <a:srgbClr val="F0AB00"/>
              </a:buClr>
              <a:buSzPct val="80000"/>
              <a:tabLst/>
            </a:pPr>
            <a:r>
              <a:rPr lang="en-US" sz="1000" b="1" i="0" dirty="0">
                <a:solidFill>
                  <a:srgbClr val="000000"/>
                </a:solidFill>
                <a:effectLst/>
                <a:latin typeface="Consolas" panose="020B0609020204030204" pitchFamily="49" charset="0"/>
              </a:rPr>
              <a:t>Behavior Definition (BDEF)</a:t>
            </a:r>
          </a:p>
          <a:p>
            <a:pPr marR="0" algn="ctr" defTabSz="914400" eaLnBrk="1" fontAlgn="base" latinLnBrk="0" hangingPunct="1">
              <a:lnSpc>
                <a:spcPct val="100000"/>
              </a:lnSpc>
              <a:spcBef>
                <a:spcPct val="50000"/>
              </a:spcBef>
              <a:spcAft>
                <a:spcPct val="0"/>
              </a:spcAft>
              <a:buClr>
                <a:srgbClr val="F0AB00"/>
              </a:buClr>
              <a:buSzPct val="80000"/>
              <a:tabLst/>
            </a:pPr>
            <a:endParaRPr lang="en-US" sz="1000" b="0" i="0" dirty="0">
              <a:solidFill>
                <a:srgbClr val="000000"/>
              </a:solidFill>
              <a:effectLst/>
              <a:latin typeface="Consolas" panose="020B0609020204030204" pitchFamily="49" charset="0"/>
            </a:endParaRPr>
          </a:p>
          <a:p>
            <a:pPr algn="l"/>
            <a:r>
              <a:rPr lang="en-US" sz="1100" b="1" dirty="0">
                <a:solidFill>
                  <a:srgbClr val="7F0074"/>
                </a:solidFill>
                <a:latin typeface="Consolas" panose="020B0609020204030204" pitchFamily="49" charset="0"/>
              </a:rPr>
              <a:t>… implementation</a:t>
            </a:r>
            <a:r>
              <a:rPr lang="en-US" sz="1100" b="1" dirty="0">
                <a:solidFill>
                  <a:srgbClr val="000000"/>
                </a:solidFill>
                <a:latin typeface="Consolas" panose="020B0609020204030204" pitchFamily="49" charset="0"/>
              </a:rPr>
              <a:t> </a:t>
            </a:r>
            <a:r>
              <a:rPr lang="en-US" sz="1100" b="1" dirty="0">
                <a:solidFill>
                  <a:srgbClr val="7F0074"/>
                </a:solidFill>
                <a:latin typeface="Consolas" panose="020B0609020204030204" pitchFamily="49" charset="0"/>
              </a:rPr>
              <a:t>…</a:t>
            </a:r>
          </a:p>
          <a:p>
            <a:pPr algn="l"/>
            <a:endParaRPr lang="en-DE" sz="1100" dirty="0">
              <a:latin typeface="Consolas" panose="020B0609020204030204" pitchFamily="49" charset="0"/>
            </a:endParaRPr>
          </a:p>
          <a:p>
            <a:pPr algn="l"/>
            <a:r>
              <a:rPr lang="nb-NO" sz="1100" b="1" dirty="0">
                <a:solidFill>
                  <a:srgbClr val="7F0074"/>
                </a:solidFill>
                <a:latin typeface="Consolas" panose="020B0609020204030204" pitchFamily="49" charset="0"/>
              </a:rPr>
              <a:t>define</a:t>
            </a:r>
            <a:r>
              <a:rPr lang="nb-NO" sz="1100" b="1" dirty="0">
                <a:solidFill>
                  <a:srgbClr val="000000"/>
                </a:solidFill>
                <a:latin typeface="Consolas" panose="020B0609020204030204" pitchFamily="49" charset="0"/>
              </a:rPr>
              <a:t> </a:t>
            </a:r>
            <a:r>
              <a:rPr lang="nb-NO" sz="1100" b="1" dirty="0">
                <a:solidFill>
                  <a:srgbClr val="7F0074"/>
                </a:solidFill>
                <a:latin typeface="Consolas" panose="020B0609020204030204" pitchFamily="49" charset="0"/>
              </a:rPr>
              <a:t>behavior</a:t>
            </a:r>
            <a:r>
              <a:rPr lang="nb-NO" sz="1100" b="1" dirty="0">
                <a:solidFill>
                  <a:srgbClr val="000000"/>
                </a:solidFill>
                <a:latin typeface="Consolas" panose="020B0609020204030204" pitchFamily="49" charset="0"/>
              </a:rPr>
              <a:t> </a:t>
            </a:r>
            <a:r>
              <a:rPr lang="nb-NO" sz="1100" b="1" dirty="0">
                <a:solidFill>
                  <a:srgbClr val="7F0074"/>
                </a:solidFill>
                <a:latin typeface="Consolas" panose="020B0609020204030204" pitchFamily="49" charset="0"/>
              </a:rPr>
              <a:t>for</a:t>
            </a:r>
            <a:r>
              <a:rPr lang="nb-NO" sz="1100" b="1" dirty="0">
                <a:solidFill>
                  <a:srgbClr val="000000"/>
                </a:solidFill>
                <a:latin typeface="Consolas" panose="020B0609020204030204" pitchFamily="49" charset="0"/>
              </a:rPr>
              <a:t> </a:t>
            </a:r>
            <a:r>
              <a:rPr lang="en-US" sz="1100" b="1" dirty="0">
                <a:solidFill>
                  <a:srgbClr val="7F0074"/>
                </a:solidFill>
                <a:latin typeface="Consolas" panose="020B0609020204030204" pitchFamily="49" charset="0"/>
              </a:rPr>
              <a:t>…</a:t>
            </a:r>
            <a:endParaRPr lang="nb-NO" sz="1100" b="1" dirty="0">
              <a:solidFill>
                <a:srgbClr val="000000"/>
              </a:solidFill>
              <a:latin typeface="Consolas" panose="020B0609020204030204" pitchFamily="49" charset="0"/>
            </a:endParaRPr>
          </a:p>
          <a:p>
            <a:pPr algn="l"/>
            <a:r>
              <a:rPr lang="en-DE" sz="1100" dirty="0">
                <a:solidFill>
                  <a:srgbClr val="000000"/>
                </a:solidFill>
                <a:latin typeface="Consolas" panose="020B0609020204030204" pitchFamily="49" charset="0"/>
              </a:rPr>
              <a:t>  </a:t>
            </a:r>
            <a:r>
              <a:rPr lang="en-DE" sz="1100" b="1" dirty="0">
                <a:solidFill>
                  <a:srgbClr val="7F0074"/>
                </a:solidFill>
                <a:latin typeface="Consolas" panose="020B0609020204030204" pitchFamily="49" charset="0"/>
              </a:rPr>
              <a:t>{</a:t>
            </a:r>
          </a:p>
          <a:p>
            <a:pPr algn="l"/>
            <a:r>
              <a:rPr lang="en-US" sz="1100" dirty="0">
                <a:solidFill>
                  <a:srgbClr val="000000"/>
                </a:solidFill>
                <a:latin typeface="Consolas" panose="020B0609020204030204" pitchFamily="49" charset="0"/>
              </a:rPr>
              <a:t>	…</a:t>
            </a:r>
            <a:endParaRPr lang="en-US" sz="1100" b="1" dirty="0">
              <a:solidFill>
                <a:srgbClr val="7F0074"/>
              </a:solidFill>
              <a:latin typeface="Consolas" panose="020B0609020204030204" pitchFamily="49" charset="0"/>
            </a:endParaRPr>
          </a:p>
          <a:p>
            <a:pPr algn="l"/>
            <a:r>
              <a:rPr lang="en-US" sz="1100" b="1" dirty="0">
                <a:solidFill>
                  <a:srgbClr val="7F0074"/>
                </a:solidFill>
                <a:latin typeface="Consolas" panose="020B0609020204030204" pitchFamily="49" charset="0"/>
              </a:rPr>
              <a:t>     event</a:t>
            </a:r>
            <a:r>
              <a:rPr lang="en-US" sz="1100" b="1" dirty="0">
                <a:solidFill>
                  <a:srgbClr val="000000"/>
                </a:solidFill>
                <a:latin typeface="Consolas" panose="020B0609020204030204" pitchFamily="49" charset="0"/>
              </a:rPr>
              <a:t> deleted </a:t>
            </a:r>
            <a:r>
              <a:rPr lang="en-US" sz="1100" b="1" dirty="0">
                <a:solidFill>
                  <a:srgbClr val="7F0074"/>
                </a:solidFill>
                <a:latin typeface="Consolas" panose="020B0609020204030204" pitchFamily="49" charset="0"/>
              </a:rPr>
              <a:t>parameter</a:t>
            </a:r>
            <a:r>
              <a:rPr lang="en-US" sz="1100" b="1" dirty="0">
                <a:solidFill>
                  <a:srgbClr val="000000"/>
                </a:solidFill>
                <a:latin typeface="Consolas" panose="020B0609020204030204" pitchFamily="49" charset="0"/>
              </a:rPr>
              <a:t> D_…</a:t>
            </a:r>
            <a:r>
              <a:rPr lang="en-US" sz="1100" b="1" dirty="0">
                <a:solidFill>
                  <a:srgbClr val="7F0074"/>
                </a:solidFill>
                <a:latin typeface="Consolas" panose="020B0609020204030204" pitchFamily="49" charset="0"/>
              </a:rPr>
              <a:t>;</a:t>
            </a:r>
          </a:p>
          <a:p>
            <a:pPr algn="l"/>
            <a:r>
              <a:rPr lang="en-DE" sz="1100" dirty="0">
                <a:solidFill>
                  <a:srgbClr val="000000"/>
                </a:solidFill>
                <a:latin typeface="Consolas" panose="020B0609020204030204" pitchFamily="49" charset="0"/>
              </a:rPr>
              <a:t>  </a:t>
            </a:r>
            <a:r>
              <a:rPr lang="en-DE" sz="1100" b="1" dirty="0">
                <a:solidFill>
                  <a:srgbClr val="7F0074"/>
                </a:solidFill>
                <a:latin typeface="Consolas" panose="020B0609020204030204" pitchFamily="49" charset="0"/>
              </a:rPr>
              <a:t>}</a:t>
            </a:r>
            <a:endParaRPr kumimoji="0" lang="en-DE" sz="1100" b="0" i="0" u="none" strike="noStrike" kern="0" cap="none" spc="0" normalizeH="0" baseline="0" noProof="0" dirty="0" err="1">
              <a:ln>
                <a:noFill/>
              </a:ln>
              <a:effectLst/>
              <a:uLnTx/>
              <a:uFillTx/>
              <a:ea typeface="Arial Unicode MS" pitchFamily="34" charset="-128"/>
              <a:cs typeface="Arial Unicode MS" pitchFamily="34" charset="-128"/>
            </a:endParaRPr>
          </a:p>
        </p:txBody>
      </p:sp>
      <p:sp>
        <p:nvSpPr>
          <p:cNvPr id="8" name="Rectangle 7">
            <a:extLst>
              <a:ext uri="{FF2B5EF4-FFF2-40B4-BE49-F238E27FC236}">
                <a16:creationId xmlns:a16="http://schemas.microsoft.com/office/drawing/2014/main" id="{72A8D21F-8769-4500-8168-614F4CFE93F1}"/>
              </a:ext>
            </a:extLst>
          </p:cNvPr>
          <p:cNvSpPr/>
          <p:nvPr/>
        </p:nvSpPr>
        <p:spPr bwMode="gray">
          <a:xfrm>
            <a:off x="3560485" y="1016428"/>
            <a:ext cx="3491520" cy="1669327"/>
          </a:xfrm>
          <a:prstGeom prst="rect">
            <a:avLst/>
          </a:prstGeom>
          <a:solidFill>
            <a:srgbClr val="E7FDF3">
              <a:alpha val="89804"/>
            </a:srgbClr>
          </a:solidFill>
          <a:ln w="25400" algn="ctr">
            <a:solidFill>
              <a:schemeClr val="tx1"/>
            </a:solidFill>
            <a:miter lim="800000"/>
            <a:headEnd/>
            <a:tailEnd/>
          </a:ln>
          <a:effectLst>
            <a:outerShdw blurRad="38100" dist="25400" dir="5400000" algn="ctr" rotWithShape="0">
              <a:srgbClr val="000000">
                <a:alpha val="45000"/>
              </a:srgbClr>
            </a:outerShdw>
          </a:effectLst>
        </p:spPr>
        <p:txBody>
          <a:bodyPr lIns="90000" tIns="72000" rIns="90000" bIns="72000" rtlCol="0" anchor="t"/>
          <a:lstStyle/>
          <a:p>
            <a:pPr marR="0" defTabSz="914400" eaLnBrk="1" fontAlgn="base" latinLnBrk="0" hangingPunct="1">
              <a:lnSpc>
                <a:spcPct val="100000"/>
              </a:lnSpc>
              <a:spcBef>
                <a:spcPct val="50000"/>
              </a:spcBef>
              <a:spcAft>
                <a:spcPct val="0"/>
              </a:spcAft>
              <a:buClr>
                <a:srgbClr val="F0AB00"/>
              </a:buClr>
              <a:buSzPct val="80000"/>
              <a:tabLst/>
            </a:pPr>
            <a:r>
              <a:rPr lang="en-US" sz="1000" b="1" i="0" dirty="0">
                <a:solidFill>
                  <a:srgbClr val="000000"/>
                </a:solidFill>
                <a:effectLst/>
                <a:latin typeface="Consolas" panose="020B0609020204030204" pitchFamily="49" charset="0"/>
              </a:rPr>
              <a:t>Abstract Entity</a:t>
            </a:r>
          </a:p>
          <a:p>
            <a:pPr marR="0" algn="ctr" defTabSz="914400" eaLnBrk="1" fontAlgn="base" latinLnBrk="0" hangingPunct="1">
              <a:lnSpc>
                <a:spcPct val="100000"/>
              </a:lnSpc>
              <a:spcBef>
                <a:spcPct val="50000"/>
              </a:spcBef>
              <a:spcAft>
                <a:spcPct val="0"/>
              </a:spcAft>
              <a:buClr>
                <a:srgbClr val="F0AB00"/>
              </a:buClr>
              <a:buSzPct val="80000"/>
              <a:tabLst/>
            </a:pPr>
            <a:endParaRPr lang="en-US" sz="1000" b="0" i="0" dirty="0">
              <a:solidFill>
                <a:srgbClr val="000000"/>
              </a:solidFill>
              <a:effectLst/>
              <a:latin typeface="Consolas" panose="020B0609020204030204" pitchFamily="49" charset="0"/>
            </a:endParaRPr>
          </a:p>
          <a:p>
            <a:pPr algn="l"/>
            <a:r>
              <a:rPr lang="nb-NO" sz="1100" b="1" dirty="0">
                <a:solidFill>
                  <a:srgbClr val="7F0074"/>
                </a:solidFill>
                <a:latin typeface="Consolas" panose="020B0609020204030204" pitchFamily="49" charset="0"/>
              </a:rPr>
              <a:t>define</a:t>
            </a:r>
            <a:r>
              <a:rPr lang="nb-NO" sz="1100" b="1" dirty="0">
                <a:solidFill>
                  <a:srgbClr val="000000"/>
                </a:solidFill>
                <a:latin typeface="Consolas" panose="020B0609020204030204" pitchFamily="49" charset="0"/>
              </a:rPr>
              <a:t> </a:t>
            </a:r>
            <a:r>
              <a:rPr lang="nb-NO" sz="1100" b="1" dirty="0">
                <a:solidFill>
                  <a:srgbClr val="7F0074"/>
                </a:solidFill>
                <a:latin typeface="Consolas" panose="020B0609020204030204" pitchFamily="49" charset="0"/>
              </a:rPr>
              <a:t>abstract entity </a:t>
            </a:r>
            <a:r>
              <a:rPr lang="en-US" sz="1100" b="1" dirty="0">
                <a:solidFill>
                  <a:srgbClr val="7F0074"/>
                </a:solidFill>
                <a:latin typeface="Consolas" panose="020B0609020204030204" pitchFamily="49" charset="0"/>
              </a:rPr>
              <a:t>…</a:t>
            </a:r>
            <a:endParaRPr lang="nb-NO" sz="1100" b="1" dirty="0">
              <a:solidFill>
                <a:srgbClr val="000000"/>
              </a:solidFill>
              <a:latin typeface="Consolas" panose="020B0609020204030204" pitchFamily="49" charset="0"/>
            </a:endParaRPr>
          </a:p>
          <a:p>
            <a:pPr algn="l"/>
            <a:r>
              <a:rPr lang="en-DE" sz="1100" dirty="0">
                <a:solidFill>
                  <a:srgbClr val="000000"/>
                </a:solidFill>
                <a:latin typeface="Consolas" panose="020B0609020204030204" pitchFamily="49" charset="0"/>
              </a:rPr>
              <a:t>  </a:t>
            </a:r>
            <a:r>
              <a:rPr lang="en-DE" sz="1100" b="1" dirty="0">
                <a:solidFill>
                  <a:srgbClr val="7F0074"/>
                </a:solidFill>
                <a:latin typeface="Consolas" panose="020B0609020204030204" pitchFamily="49" charset="0"/>
              </a:rPr>
              <a:t>{</a:t>
            </a:r>
            <a:endParaRPr lang="en-US" sz="1100" b="1" dirty="0">
              <a:solidFill>
                <a:srgbClr val="7F0074"/>
              </a:solidFill>
              <a:latin typeface="Consolas" panose="020B0609020204030204" pitchFamily="49" charset="0"/>
            </a:endParaRPr>
          </a:p>
          <a:p>
            <a:pPr algn="l"/>
            <a:r>
              <a:rPr lang="en-US" sz="1100" b="1" dirty="0">
                <a:solidFill>
                  <a:srgbClr val="7F0074"/>
                </a:solidFill>
                <a:latin typeface="Consolas" panose="020B0609020204030204" pitchFamily="49" charset="0"/>
              </a:rPr>
              <a:t>	// </a:t>
            </a:r>
            <a:r>
              <a:rPr lang="en-US" sz="1100" b="1" i="1" dirty="0">
                <a:solidFill>
                  <a:srgbClr val="7F0074"/>
                </a:solidFill>
                <a:latin typeface="Consolas" panose="020B0609020204030204" pitchFamily="49" charset="0"/>
              </a:rPr>
              <a:t>define fields of payload:</a:t>
            </a:r>
            <a:endParaRPr lang="en-DE" sz="1100" b="1" i="1" dirty="0">
              <a:solidFill>
                <a:srgbClr val="7F0074"/>
              </a:solidFill>
              <a:latin typeface="Consolas" panose="020B0609020204030204" pitchFamily="49" charset="0"/>
            </a:endParaRPr>
          </a:p>
          <a:p>
            <a:pPr algn="l"/>
            <a:r>
              <a:rPr lang="en-US" sz="1100" b="1" dirty="0">
                <a:solidFill>
                  <a:srgbClr val="000000"/>
                </a:solidFill>
                <a:latin typeface="Consolas" panose="020B0609020204030204" pitchFamily="49" charset="0"/>
              </a:rPr>
              <a:t>        </a:t>
            </a:r>
            <a:r>
              <a:rPr lang="en-US" sz="1100" b="1" dirty="0" err="1">
                <a:solidFill>
                  <a:srgbClr val="000000"/>
                </a:solidFill>
                <a:latin typeface="Consolas" panose="020B0609020204030204" pitchFamily="49" charset="0"/>
              </a:rPr>
              <a:t>FieldOne</a:t>
            </a:r>
            <a:r>
              <a:rPr lang="en-US" sz="1100" b="1" dirty="0">
                <a:solidFill>
                  <a:srgbClr val="000000"/>
                </a:solidFill>
                <a:latin typeface="Consolas" panose="020B0609020204030204" pitchFamily="49" charset="0"/>
              </a:rPr>
              <a:t> : </a:t>
            </a:r>
            <a:r>
              <a:rPr lang="en-US" sz="1100" b="1" dirty="0" err="1">
                <a:solidFill>
                  <a:srgbClr val="000000"/>
                </a:solidFill>
                <a:latin typeface="Consolas" panose="020B0609020204030204" pitchFamily="49" charset="0"/>
              </a:rPr>
              <a:t>sometype</a:t>
            </a:r>
            <a:r>
              <a:rPr lang="en-US" sz="1100" b="1" dirty="0">
                <a:solidFill>
                  <a:srgbClr val="7F0074"/>
                </a:solidFill>
                <a:latin typeface="Consolas" panose="020B0609020204030204" pitchFamily="49" charset="0"/>
              </a:rPr>
              <a:t>;</a:t>
            </a:r>
          </a:p>
          <a:p>
            <a:pPr algn="l"/>
            <a:r>
              <a:rPr lang="en-US" sz="1100" b="1" dirty="0">
                <a:solidFill>
                  <a:srgbClr val="7F0074"/>
                </a:solidFill>
                <a:latin typeface="Consolas" panose="020B0609020204030204" pitchFamily="49" charset="0"/>
              </a:rPr>
              <a:t>	…</a:t>
            </a:r>
          </a:p>
          <a:p>
            <a:pPr algn="l"/>
            <a:r>
              <a:rPr lang="en-DE" sz="1100" dirty="0">
                <a:solidFill>
                  <a:srgbClr val="000000"/>
                </a:solidFill>
                <a:latin typeface="Consolas" panose="020B0609020204030204" pitchFamily="49" charset="0"/>
              </a:rPr>
              <a:t>  </a:t>
            </a:r>
            <a:r>
              <a:rPr lang="en-DE" sz="1100" b="1" dirty="0">
                <a:solidFill>
                  <a:srgbClr val="7F0074"/>
                </a:solidFill>
                <a:latin typeface="Consolas" panose="020B0609020204030204" pitchFamily="49" charset="0"/>
              </a:rPr>
              <a:t>}</a:t>
            </a:r>
            <a:endParaRPr kumimoji="0" lang="en-DE" sz="1100" b="0" i="0" u="none" strike="noStrike" kern="0" cap="none" spc="0" normalizeH="0" baseline="0" noProof="0" dirty="0" err="1">
              <a:ln>
                <a:noFill/>
              </a:ln>
              <a:effectLst/>
              <a:uLnTx/>
              <a:uFillTx/>
              <a:ea typeface="Arial Unicode MS" pitchFamily="34" charset="-128"/>
              <a:cs typeface="Arial Unicode MS" pitchFamily="34" charset="-128"/>
            </a:endParaRPr>
          </a:p>
        </p:txBody>
      </p:sp>
      <p:sp>
        <p:nvSpPr>
          <p:cNvPr id="12" name="Rectangle 11">
            <a:extLst>
              <a:ext uri="{FF2B5EF4-FFF2-40B4-BE49-F238E27FC236}">
                <a16:creationId xmlns:a16="http://schemas.microsoft.com/office/drawing/2014/main" id="{9B1778A5-B1ED-93BC-D4AF-4646C7FB842E}"/>
              </a:ext>
            </a:extLst>
          </p:cNvPr>
          <p:cNvSpPr/>
          <p:nvPr/>
        </p:nvSpPr>
        <p:spPr bwMode="gray">
          <a:xfrm>
            <a:off x="3184118" y="2804467"/>
            <a:ext cx="3176185" cy="1122208"/>
          </a:xfrm>
          <a:prstGeom prst="rect">
            <a:avLst/>
          </a:prstGeom>
          <a:solidFill>
            <a:schemeClr val="accent4">
              <a:lumMod val="20000"/>
              <a:lumOff val="80000"/>
              <a:alpha val="89804"/>
            </a:schemeClr>
          </a:solidFill>
          <a:ln w="25400" algn="ctr">
            <a:solidFill>
              <a:schemeClr val="tx1"/>
            </a:solidFill>
            <a:miter lim="800000"/>
            <a:headEnd/>
            <a:tailEnd/>
          </a:ln>
          <a:effectLst>
            <a:outerShdw blurRad="38100" dist="25400" dir="5400000" algn="ctr" rotWithShape="0">
              <a:srgbClr val="000000">
                <a:alpha val="45000"/>
              </a:srgbClr>
            </a:outerShdw>
          </a:effectLst>
        </p:spPr>
        <p:txBody>
          <a:bodyPr lIns="90000" tIns="72000" rIns="90000" bIns="72000" rtlCol="0" anchor="t"/>
          <a:lstStyle/>
          <a:p>
            <a:pPr marR="0" defTabSz="914400" eaLnBrk="1" fontAlgn="base" latinLnBrk="0" hangingPunct="1">
              <a:lnSpc>
                <a:spcPct val="100000"/>
              </a:lnSpc>
              <a:spcBef>
                <a:spcPct val="50000"/>
              </a:spcBef>
              <a:spcAft>
                <a:spcPct val="0"/>
              </a:spcAft>
              <a:buClr>
                <a:srgbClr val="F0AB00"/>
              </a:buClr>
              <a:buSzPct val="80000"/>
              <a:tabLst/>
            </a:pPr>
            <a:r>
              <a:rPr lang="en-US" sz="1000" b="1" i="0" dirty="0">
                <a:solidFill>
                  <a:srgbClr val="000000"/>
                </a:solidFill>
                <a:effectLst/>
                <a:latin typeface="Consolas" panose="020B0609020204030204" pitchFamily="49" charset="0"/>
              </a:rPr>
              <a:t>Implementation 1</a:t>
            </a:r>
          </a:p>
          <a:p>
            <a:pPr marR="0" algn="ctr" defTabSz="914400" eaLnBrk="1" fontAlgn="base" latinLnBrk="0" hangingPunct="1">
              <a:lnSpc>
                <a:spcPct val="100000"/>
              </a:lnSpc>
              <a:spcBef>
                <a:spcPct val="50000"/>
              </a:spcBef>
              <a:spcAft>
                <a:spcPct val="0"/>
              </a:spcAft>
              <a:buClr>
                <a:srgbClr val="F0AB00"/>
              </a:buClr>
              <a:buSzPct val="80000"/>
              <a:tabLst/>
            </a:pPr>
            <a:endParaRPr lang="en-US" sz="1000" b="0" i="0" dirty="0">
              <a:solidFill>
                <a:srgbClr val="000000"/>
              </a:solidFill>
              <a:effectLst/>
              <a:latin typeface="Consolas" panose="020B0609020204030204" pitchFamily="49" charset="0"/>
            </a:endParaRPr>
          </a:p>
          <a:p>
            <a:pPr algn="l"/>
            <a:r>
              <a:rPr lang="nb-NO" sz="1100" b="1" dirty="0">
                <a:solidFill>
                  <a:srgbClr val="7F0074"/>
                </a:solidFill>
                <a:latin typeface="Consolas" panose="020B0609020204030204" pitchFamily="49" charset="0"/>
              </a:rPr>
              <a:t>METHOD save_modified.</a:t>
            </a:r>
          </a:p>
          <a:p>
            <a:pPr algn="l"/>
            <a:r>
              <a:rPr lang="en-US" sz="1100" b="1" dirty="0">
                <a:solidFill>
                  <a:srgbClr val="7F0074"/>
                </a:solidFill>
                <a:latin typeface="Consolas" panose="020B0609020204030204" pitchFamily="49" charset="0"/>
              </a:rPr>
              <a:t>…</a:t>
            </a:r>
            <a:endParaRPr lang="nb-NO" sz="1100" b="1" dirty="0">
              <a:solidFill>
                <a:srgbClr val="7F0074"/>
              </a:solidFill>
              <a:latin typeface="Consolas" panose="020B0609020204030204" pitchFamily="49" charset="0"/>
            </a:endParaRPr>
          </a:p>
          <a:p>
            <a:pPr algn="l"/>
            <a:r>
              <a:rPr lang="nb-NO" sz="1100" b="1" dirty="0">
                <a:solidFill>
                  <a:srgbClr val="7F0074"/>
                </a:solidFill>
                <a:latin typeface="Consolas" panose="020B0609020204030204" pitchFamily="49" charset="0"/>
              </a:rPr>
              <a:t>   RAISE ENTITY EVENT </a:t>
            </a:r>
            <a:r>
              <a:rPr lang="en-US" sz="1100" b="1" dirty="0">
                <a:solidFill>
                  <a:srgbClr val="7F0074"/>
                </a:solidFill>
                <a:latin typeface="Consolas" panose="020B0609020204030204" pitchFamily="49" charset="0"/>
              </a:rPr>
              <a:t>…</a:t>
            </a:r>
            <a:r>
              <a:rPr lang="nb-NO" sz="1100" b="1" dirty="0" err="1">
                <a:latin typeface="Consolas" panose="020B0609020204030204" pitchFamily="49" charset="0"/>
              </a:rPr>
              <a:t>deleted</a:t>
            </a:r>
            <a:r>
              <a:rPr lang="nb-NO" sz="1100" b="1" dirty="0">
                <a:solidFill>
                  <a:srgbClr val="7F0074"/>
                </a:solidFill>
                <a:latin typeface="Consolas" panose="020B0609020204030204" pitchFamily="49" charset="0"/>
              </a:rPr>
              <a:t> FROM </a:t>
            </a:r>
            <a:r>
              <a:rPr lang="en-US" sz="1100" b="1" dirty="0">
                <a:solidFill>
                  <a:srgbClr val="7F0074"/>
                </a:solidFill>
                <a:latin typeface="Consolas" panose="020B0609020204030204" pitchFamily="49" charset="0"/>
              </a:rPr>
              <a:t>…</a:t>
            </a:r>
            <a:endParaRPr lang="nb-NO" sz="1100" b="1" dirty="0">
              <a:solidFill>
                <a:srgbClr val="000000"/>
              </a:solidFill>
              <a:latin typeface="Consolas" panose="020B0609020204030204" pitchFamily="49" charset="0"/>
            </a:endParaRPr>
          </a:p>
        </p:txBody>
      </p:sp>
      <p:sp>
        <p:nvSpPr>
          <p:cNvPr id="15" name="Rectangle 14">
            <a:extLst>
              <a:ext uri="{FF2B5EF4-FFF2-40B4-BE49-F238E27FC236}">
                <a16:creationId xmlns:a16="http://schemas.microsoft.com/office/drawing/2014/main" id="{CC05670C-9AC7-A531-BBC0-3FE9200C1ADF}"/>
              </a:ext>
            </a:extLst>
          </p:cNvPr>
          <p:cNvSpPr/>
          <p:nvPr/>
        </p:nvSpPr>
        <p:spPr bwMode="gray">
          <a:xfrm>
            <a:off x="8968453" y="2276113"/>
            <a:ext cx="2194560" cy="1319141"/>
          </a:xfrm>
          <a:prstGeom prst="rect">
            <a:avLst/>
          </a:prstGeom>
          <a:solidFill>
            <a:schemeClr val="accent5">
              <a:lumMod val="20000"/>
              <a:lumOff val="80000"/>
            </a:schemeClr>
          </a:solidFill>
          <a:ln>
            <a:solidFill>
              <a:schemeClr val="tx1"/>
            </a:solidFill>
            <a:headEnd/>
            <a:tailEnd/>
          </a:ln>
        </p:spPr>
        <p:style>
          <a:lnRef idx="1">
            <a:schemeClr val="accent5"/>
          </a:lnRef>
          <a:fillRef idx="2">
            <a:schemeClr val="accent5"/>
          </a:fillRef>
          <a:effectRef idx="1">
            <a:schemeClr val="accent5"/>
          </a:effectRef>
          <a:fontRef idx="minor">
            <a:schemeClr val="dk1"/>
          </a:fontRef>
        </p:style>
        <p:txBody>
          <a:bodyPr lIns="90000" tIns="72000" rIns="90000" bIns="72000" rtlCol="0" anchor="t"/>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800" b="1" i="0" u="none" strike="noStrike" kern="0" cap="none" spc="0" normalizeH="0" baseline="0" noProof="0" dirty="0" err="1">
                <a:ln>
                  <a:noFill/>
                </a:ln>
                <a:effectLst/>
                <a:uLnTx/>
                <a:uFillTx/>
                <a:ea typeface="Arial Unicode MS" pitchFamily="34" charset="-128"/>
                <a:cs typeface="Arial Unicode MS" pitchFamily="34" charset="-128"/>
              </a:rPr>
              <a:t>BAdI</a:t>
            </a:r>
            <a:endParaRPr kumimoji="0" lang="en-US" sz="1800" b="1" i="0" u="none" strike="noStrike" kern="0" cap="none" spc="0" normalizeH="0" baseline="0" noProof="0" dirty="0">
              <a:ln>
                <a:noFill/>
              </a:ln>
              <a:effectLst/>
              <a:uLnTx/>
              <a:uFillTx/>
              <a:ea typeface="Arial Unicode MS" pitchFamily="34" charset="-128"/>
              <a:cs typeface="Arial Unicode MS" pitchFamily="34" charset="-128"/>
            </a:endParaRPr>
          </a:p>
          <a:p>
            <a:pPr marR="0" algn="ctr" defTabSz="914400" eaLnBrk="1" fontAlgn="base" latinLnBrk="0" hangingPunct="1">
              <a:lnSpc>
                <a:spcPct val="100000"/>
              </a:lnSpc>
              <a:spcBef>
                <a:spcPct val="50000"/>
              </a:spcBef>
              <a:spcAft>
                <a:spcPct val="0"/>
              </a:spcAft>
              <a:buClr>
                <a:srgbClr val="F0AB00"/>
              </a:buClr>
              <a:buSzPct val="80000"/>
              <a:tabLst/>
            </a:pPr>
            <a:endParaRPr lang="en-US" sz="1800" kern="0" dirty="0">
              <a:ea typeface="Arial Unicode MS" pitchFamily="34" charset="-128"/>
              <a:cs typeface="Arial Unicode MS" pitchFamily="34" charset="-128"/>
            </a:endParaRPr>
          </a:p>
          <a:p>
            <a:pPr marR="0" algn="ctr" defTabSz="914400" eaLnBrk="1" fontAlgn="base" latinLnBrk="0" hangingPunct="1">
              <a:lnSpc>
                <a:spcPct val="100000"/>
              </a:lnSpc>
              <a:spcBef>
                <a:spcPct val="50000"/>
              </a:spcBef>
              <a:spcAft>
                <a:spcPct val="0"/>
              </a:spcAft>
              <a:buClr>
                <a:srgbClr val="F0AB00"/>
              </a:buClr>
              <a:buSzPct val="80000"/>
              <a:tabLst/>
            </a:pPr>
            <a:r>
              <a:rPr lang="en-US" sz="1600" b="1" dirty="0">
                <a:solidFill>
                  <a:srgbClr val="7F0074"/>
                </a:solidFill>
                <a:latin typeface="Consolas" panose="020B0609020204030204" pitchFamily="49" charset="0"/>
              </a:rPr>
              <a:t>…=&gt;Raise…</a:t>
            </a:r>
            <a:endParaRPr lang="en-DE" sz="1600" b="1" dirty="0" err="1">
              <a:solidFill>
                <a:srgbClr val="7F0074"/>
              </a:solidFill>
              <a:latin typeface="Consolas" panose="020B0609020204030204" pitchFamily="49" charset="0"/>
            </a:endParaRPr>
          </a:p>
        </p:txBody>
      </p:sp>
      <p:sp>
        <p:nvSpPr>
          <p:cNvPr id="16" name="Arrow: Right 15">
            <a:extLst>
              <a:ext uri="{FF2B5EF4-FFF2-40B4-BE49-F238E27FC236}">
                <a16:creationId xmlns:a16="http://schemas.microsoft.com/office/drawing/2014/main" id="{DE3CEBBC-FB58-9F6A-89BE-9E5BE95A5FC4}"/>
              </a:ext>
            </a:extLst>
          </p:cNvPr>
          <p:cNvSpPr/>
          <p:nvPr/>
        </p:nvSpPr>
        <p:spPr bwMode="gray">
          <a:xfrm rot="10800000">
            <a:off x="6453919" y="3095068"/>
            <a:ext cx="2714465" cy="474231"/>
          </a:xfrm>
          <a:prstGeom prst="rightArrow">
            <a:avLst/>
          </a:prstGeom>
          <a:solidFill>
            <a:schemeClr val="bg1"/>
          </a:solidFill>
          <a:ln w="2540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DE" sz="1800" b="0" i="0" u="none" strike="noStrike" kern="0" cap="none" spc="0" normalizeH="0" baseline="0" noProof="0" dirty="0" err="1">
              <a:ln>
                <a:noFill/>
              </a:ln>
              <a:effectLst/>
              <a:uLnTx/>
              <a:uFillTx/>
              <a:ea typeface="Arial Unicode MS" pitchFamily="34" charset="-128"/>
              <a:cs typeface="Arial Unicode MS" pitchFamily="34" charset="-128"/>
            </a:endParaRPr>
          </a:p>
        </p:txBody>
      </p:sp>
      <p:cxnSp>
        <p:nvCxnSpPr>
          <p:cNvPr id="22" name="Straight Arrow Connector 21">
            <a:extLst>
              <a:ext uri="{FF2B5EF4-FFF2-40B4-BE49-F238E27FC236}">
                <a16:creationId xmlns:a16="http://schemas.microsoft.com/office/drawing/2014/main" id="{DD67AD4E-3B97-F339-9FD3-0B800508266C}"/>
              </a:ext>
            </a:extLst>
          </p:cNvPr>
          <p:cNvCxnSpPr>
            <a:cxnSpLocks/>
          </p:cNvCxnSpPr>
          <p:nvPr/>
        </p:nvCxnSpPr>
        <p:spPr>
          <a:xfrm>
            <a:off x="1731264" y="3095069"/>
            <a:ext cx="4535424" cy="2842435"/>
          </a:xfrm>
          <a:prstGeom prst="straightConnector1">
            <a:avLst/>
          </a:prstGeom>
          <a:ln w="25400">
            <a:solidFill>
              <a:schemeClr val="tx1"/>
            </a:solidFill>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D5BD993C-13C0-D4C1-E6AC-959F0E00C672}"/>
              </a:ext>
            </a:extLst>
          </p:cNvPr>
          <p:cNvCxnSpPr>
            <a:cxnSpLocks/>
          </p:cNvCxnSpPr>
          <p:nvPr/>
        </p:nvCxnSpPr>
        <p:spPr>
          <a:xfrm flipV="1">
            <a:off x="2922867" y="1644807"/>
            <a:ext cx="1307757" cy="1238961"/>
          </a:xfrm>
          <a:prstGeom prst="straightConnector1">
            <a:avLst/>
          </a:prstGeom>
          <a:ln w="25400">
            <a:solidFill>
              <a:schemeClr val="tx1"/>
            </a:solidFill>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26" name="Rectangle 25">
            <a:extLst>
              <a:ext uri="{FF2B5EF4-FFF2-40B4-BE49-F238E27FC236}">
                <a16:creationId xmlns:a16="http://schemas.microsoft.com/office/drawing/2014/main" id="{6B39EE18-586F-E83B-D873-60B38EC7F3F4}"/>
              </a:ext>
            </a:extLst>
          </p:cNvPr>
          <p:cNvSpPr/>
          <p:nvPr/>
        </p:nvSpPr>
        <p:spPr bwMode="gray">
          <a:xfrm>
            <a:off x="8968453" y="930184"/>
            <a:ext cx="2194560" cy="1139685"/>
          </a:xfrm>
          <a:prstGeom prst="rect">
            <a:avLst/>
          </a:prstGeom>
          <a:noFill/>
          <a:ln w="2540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800" b="0" i="0" u="none" strike="noStrike" kern="0" cap="none" spc="0" normalizeH="0" baseline="0" noProof="0" dirty="0">
                <a:ln>
                  <a:noFill/>
                </a:ln>
                <a:solidFill>
                  <a:schemeClr val="bg1">
                    <a:lumMod val="65000"/>
                  </a:schemeClr>
                </a:solidFill>
                <a:effectLst/>
                <a:uLnTx/>
                <a:uFillTx/>
                <a:ea typeface="Arial Unicode MS" pitchFamily="34" charset="-128"/>
                <a:cs typeface="Arial Unicode MS" pitchFamily="34" charset="-128"/>
              </a:rPr>
              <a:t>Application</a:t>
            </a:r>
            <a:endParaRPr kumimoji="0" lang="en-DE" sz="1800" b="0" i="0" u="none" strike="noStrike" kern="0" cap="none" spc="0" normalizeH="0" baseline="0" noProof="0" dirty="0" err="1">
              <a:ln>
                <a:noFill/>
              </a:ln>
              <a:solidFill>
                <a:schemeClr val="bg1">
                  <a:lumMod val="65000"/>
                </a:schemeClr>
              </a:solidFill>
              <a:effectLst/>
              <a:uLnTx/>
              <a:uFillTx/>
              <a:ea typeface="Arial Unicode MS" pitchFamily="34" charset="-128"/>
              <a:cs typeface="Arial Unicode MS" pitchFamily="34" charset="-128"/>
            </a:endParaRPr>
          </a:p>
        </p:txBody>
      </p:sp>
      <p:cxnSp>
        <p:nvCxnSpPr>
          <p:cNvPr id="28" name="Straight Arrow Connector 27">
            <a:extLst>
              <a:ext uri="{FF2B5EF4-FFF2-40B4-BE49-F238E27FC236}">
                <a16:creationId xmlns:a16="http://schemas.microsoft.com/office/drawing/2014/main" id="{45C502AA-1958-F564-EF2C-BC591455DC1A}"/>
              </a:ext>
            </a:extLst>
          </p:cNvPr>
          <p:cNvCxnSpPr>
            <a:stCxn id="26" idx="2"/>
            <a:endCxn id="15" idx="0"/>
          </p:cNvCxnSpPr>
          <p:nvPr/>
        </p:nvCxnSpPr>
        <p:spPr>
          <a:xfrm>
            <a:off x="10065733" y="2069869"/>
            <a:ext cx="0" cy="206244"/>
          </a:xfrm>
          <a:prstGeom prst="straightConnector1">
            <a:avLst/>
          </a:prstGeom>
          <a:ln w="25400">
            <a:solidFill>
              <a:schemeClr val="tx1"/>
            </a:solidFill>
            <a:headEnd type="none" w="med" len="med"/>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5729014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C5A9C71-CB52-9DE7-334D-DA99F6CE0DDC}"/>
            </a:ext>
          </a:extLst>
        </p:cNvPr>
        <p:cNvGrpSpPr/>
        <p:nvPr/>
      </p:nvGrpSpPr>
      <p:grpSpPr>
        <a:xfrm>
          <a:off x="0" y="0"/>
          <a:ext cx="0" cy="0"/>
          <a:chOff x="0" y="0"/>
          <a:chExt cx="0" cy="0"/>
        </a:xfrm>
      </p:grpSpPr>
      <p:sp>
        <p:nvSpPr>
          <p:cNvPr id="3" name="Text Placeholder 2">
            <a:extLst>
              <a:ext uri="{FF2B5EF4-FFF2-40B4-BE49-F238E27FC236}">
                <a16:creationId xmlns:a16="http://schemas.microsoft.com/office/drawing/2014/main" id="{DE9A3DF2-E970-AD0F-21E1-1C1BFA9AB49D}"/>
              </a:ext>
            </a:extLst>
          </p:cNvPr>
          <p:cNvSpPr>
            <a:spLocks noGrp="1"/>
          </p:cNvSpPr>
          <p:nvPr>
            <p:ph type="body" sz="quarter" idx="10"/>
          </p:nvPr>
        </p:nvSpPr>
        <p:spPr>
          <a:xfrm>
            <a:off x="504002" y="1340081"/>
            <a:ext cx="7944868" cy="4716000"/>
          </a:xfrm>
        </p:spPr>
        <p:txBody>
          <a:bodyPr>
            <a:normAutofit/>
          </a:bodyPr>
          <a:lstStyle/>
          <a:p>
            <a:r>
              <a:rPr lang="en-US" dirty="0">
                <a:solidFill>
                  <a:schemeClr val="accent3">
                    <a:lumMod val="75000"/>
                  </a:schemeClr>
                </a:solidFill>
              </a:rPr>
              <a:t>Source-side filtering (2308)</a:t>
            </a:r>
          </a:p>
          <a:p>
            <a:r>
              <a:rPr lang="en-US" dirty="0">
                <a:solidFill>
                  <a:schemeClr val="accent3">
                    <a:lumMod val="75000"/>
                  </a:schemeClr>
                </a:solidFill>
              </a:rPr>
              <a:t>Internal event consumption (2308)</a:t>
            </a:r>
          </a:p>
          <a:p>
            <a:r>
              <a:rPr lang="en-US" dirty="0"/>
              <a:t>More and better content</a:t>
            </a:r>
          </a:p>
          <a:p>
            <a:pPr marL="522864" lvl="1" indent="-342900">
              <a:buFont typeface="Arial" panose="020B0604020202020204" pitchFamily="34" charset="0"/>
              <a:buChar char="•"/>
            </a:pPr>
            <a:r>
              <a:rPr lang="en-US" dirty="0"/>
              <a:t>Notification events grow in number and in size</a:t>
            </a:r>
          </a:p>
          <a:p>
            <a:pPr marL="522864" lvl="1" indent="-342900">
              <a:buFont typeface="Arial" panose="020B0604020202020204" pitchFamily="34" charset="0"/>
              <a:buChar char="•"/>
            </a:pPr>
            <a:r>
              <a:rPr lang="en-US" dirty="0"/>
              <a:t>First data events (on demand and on CUSTOMER request)</a:t>
            </a:r>
          </a:p>
          <a:p>
            <a:r>
              <a:rPr lang="en-US" dirty="0"/>
              <a:t>Event extensibility</a:t>
            </a:r>
          </a:p>
          <a:p>
            <a:pPr marL="522864" lvl="1" indent="-342900">
              <a:buFont typeface="Arial" panose="020B0604020202020204" pitchFamily="34" charset="0"/>
              <a:buChar char="•"/>
            </a:pPr>
            <a:r>
              <a:rPr lang="en-US" dirty="0"/>
              <a:t>Enhancements of standard events (context attributes, remove payload; add payload)</a:t>
            </a:r>
          </a:p>
          <a:p>
            <a:r>
              <a:rPr lang="en-US" dirty="0"/>
              <a:t>Overall infrastructure improvements</a:t>
            </a:r>
          </a:p>
          <a:p>
            <a:pPr marL="522864" lvl="1" indent="-342900">
              <a:buFont typeface="Arial" panose="020B0604020202020204" pitchFamily="34" charset="0"/>
              <a:buChar char="•"/>
            </a:pPr>
            <a:r>
              <a:rPr lang="en-US" dirty="0"/>
              <a:t>Monitoring, tracing, performance, robustness</a:t>
            </a:r>
          </a:p>
          <a:p>
            <a:r>
              <a:rPr lang="en-US" dirty="0"/>
              <a:t>Continuous adoption of internal SAP event standards</a:t>
            </a:r>
            <a:endParaRPr lang="en-DE" dirty="0"/>
          </a:p>
        </p:txBody>
      </p:sp>
      <p:sp>
        <p:nvSpPr>
          <p:cNvPr id="2" name="Title 1">
            <a:extLst>
              <a:ext uri="{FF2B5EF4-FFF2-40B4-BE49-F238E27FC236}">
                <a16:creationId xmlns:a16="http://schemas.microsoft.com/office/drawing/2014/main" id="{3A8BFCCE-F072-C9E9-2B97-BE7CE1944150}"/>
              </a:ext>
            </a:extLst>
          </p:cNvPr>
          <p:cNvSpPr>
            <a:spLocks noGrp="1"/>
          </p:cNvSpPr>
          <p:nvPr>
            <p:ph type="title"/>
          </p:nvPr>
        </p:nvSpPr>
        <p:spPr/>
        <p:txBody>
          <a:bodyPr/>
          <a:lstStyle/>
          <a:p>
            <a:r>
              <a:rPr lang="en-US" dirty="0"/>
              <a:t>S/4HANA: </a:t>
            </a:r>
            <a:r>
              <a:rPr lang="en-US" dirty="0">
                <a:solidFill>
                  <a:schemeClr val="accent3">
                    <a:lumMod val="75000"/>
                  </a:schemeClr>
                </a:solidFill>
              </a:rPr>
              <a:t>New Features </a:t>
            </a:r>
            <a:r>
              <a:rPr lang="en-US" dirty="0"/>
              <a:t>and Way Forward </a:t>
            </a:r>
            <a:endParaRPr lang="en-DE" dirty="0"/>
          </a:p>
        </p:txBody>
      </p:sp>
      <p:pic>
        <p:nvPicPr>
          <p:cNvPr id="5" name="Picture 4">
            <a:extLst>
              <a:ext uri="{FF2B5EF4-FFF2-40B4-BE49-F238E27FC236}">
                <a16:creationId xmlns:a16="http://schemas.microsoft.com/office/drawing/2014/main" id="{C03AC754-E26E-163A-A380-4914D4BA2F3A}"/>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8755459" y="0"/>
            <a:ext cx="3439716" cy="6858000"/>
          </a:xfrm>
          <a:prstGeom prst="rect">
            <a:avLst/>
          </a:prstGeom>
        </p:spPr>
      </p:pic>
    </p:spTree>
    <p:extLst>
      <p:ext uri="{BB962C8B-B14F-4D97-AF65-F5344CB8AC3E}">
        <p14:creationId xmlns:p14="http://schemas.microsoft.com/office/powerpoint/2010/main" val="405782646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F008E57-C771-4778-16D0-6D002F79D598}"/>
            </a:ext>
          </a:extLst>
        </p:cNvPr>
        <p:cNvGrpSpPr/>
        <p:nvPr/>
      </p:nvGrpSpPr>
      <p:grpSpPr>
        <a:xfrm>
          <a:off x="0" y="0"/>
          <a:ext cx="0" cy="0"/>
          <a:chOff x="0" y="0"/>
          <a:chExt cx="0" cy="0"/>
        </a:xfrm>
      </p:grpSpPr>
      <p:sp>
        <p:nvSpPr>
          <p:cNvPr id="3" name="Text Placeholder 2">
            <a:extLst>
              <a:ext uri="{FF2B5EF4-FFF2-40B4-BE49-F238E27FC236}">
                <a16:creationId xmlns:a16="http://schemas.microsoft.com/office/drawing/2014/main" id="{5863CC82-8326-CD38-8C2B-2B0600C92804}"/>
              </a:ext>
            </a:extLst>
          </p:cNvPr>
          <p:cNvSpPr>
            <a:spLocks noGrp="1"/>
          </p:cNvSpPr>
          <p:nvPr>
            <p:ph type="body" sz="quarter" idx="10"/>
          </p:nvPr>
        </p:nvSpPr>
        <p:spPr>
          <a:xfrm>
            <a:off x="504001" y="1340081"/>
            <a:ext cx="5414199" cy="3138786"/>
          </a:xfrm>
        </p:spPr>
        <p:txBody>
          <a:bodyPr>
            <a:normAutofit fontScale="85000" lnSpcReduction="10000"/>
          </a:bodyPr>
          <a:lstStyle/>
          <a:p>
            <a:pPr marL="342900" indent="-342900">
              <a:buFont typeface="Arial" panose="020B0604020202020204" pitchFamily="34" charset="0"/>
              <a:buChar char="•"/>
            </a:pPr>
            <a:r>
              <a:rPr lang="en-US" dirty="0"/>
              <a:t>Create a </a:t>
            </a:r>
            <a:r>
              <a:rPr lang="en-US" b="1" dirty="0"/>
              <a:t>Derived Event </a:t>
            </a:r>
            <a:r>
              <a:rPr lang="en-US" dirty="0"/>
              <a:t>based on standard notification events</a:t>
            </a:r>
          </a:p>
          <a:p>
            <a:pPr marL="342900" indent="-342900">
              <a:buFont typeface="Arial" panose="020B0604020202020204" pitchFamily="34" charset="0"/>
              <a:buChar char="•"/>
            </a:pPr>
            <a:r>
              <a:rPr lang="en-US" dirty="0"/>
              <a:t>The original event remains </a:t>
            </a:r>
            <a:r>
              <a:rPr lang="en-US" b="1" dirty="0"/>
              <a:t>untouched</a:t>
            </a:r>
          </a:p>
          <a:p>
            <a:pPr marL="342900" indent="-342900">
              <a:buFont typeface="Arial" panose="020B0604020202020204" pitchFamily="34" charset="0"/>
              <a:buChar char="•"/>
            </a:pPr>
            <a:r>
              <a:rPr lang="en-US" dirty="0"/>
              <a:t>Standard payload is replaced with a matching CDS view (key available in standard event as well)</a:t>
            </a:r>
          </a:p>
          <a:p>
            <a:pPr marL="342900" indent="-342900">
              <a:buFont typeface="Arial" panose="020B0604020202020204" pitchFamily="34" charset="0"/>
              <a:buChar char="•"/>
            </a:pPr>
            <a:r>
              <a:rPr lang="en-US" dirty="0"/>
              <a:t>No programming, just configuration</a:t>
            </a:r>
          </a:p>
          <a:p>
            <a:pPr marL="342900" indent="-342900">
              <a:buFont typeface="Arial" panose="020B0604020202020204" pitchFamily="34" charset="0"/>
              <a:buChar char="•"/>
            </a:pPr>
            <a:r>
              <a:rPr lang="en-US" dirty="0"/>
              <a:t>Internally, the notification event is used as a trigger, the configuration defines the “enrichment”</a:t>
            </a:r>
          </a:p>
        </p:txBody>
      </p:sp>
      <p:sp>
        <p:nvSpPr>
          <p:cNvPr id="2" name="Title 1">
            <a:extLst>
              <a:ext uri="{FF2B5EF4-FFF2-40B4-BE49-F238E27FC236}">
                <a16:creationId xmlns:a16="http://schemas.microsoft.com/office/drawing/2014/main" id="{5C85B5D4-DE09-0A3D-A83E-A9DC6537F474}"/>
              </a:ext>
            </a:extLst>
          </p:cNvPr>
          <p:cNvSpPr>
            <a:spLocks noGrp="1"/>
          </p:cNvSpPr>
          <p:nvPr>
            <p:ph type="title"/>
          </p:nvPr>
        </p:nvSpPr>
        <p:spPr/>
        <p:txBody>
          <a:bodyPr/>
          <a:lstStyle/>
          <a:p>
            <a:r>
              <a:rPr lang="en-US" dirty="0"/>
              <a:t>S/4HANA Business Events: Derived Events</a:t>
            </a:r>
            <a:endParaRPr lang="en-DE" dirty="0"/>
          </a:p>
        </p:txBody>
      </p:sp>
      <p:pic>
        <p:nvPicPr>
          <p:cNvPr id="6" name="Picture 5">
            <a:extLst>
              <a:ext uri="{FF2B5EF4-FFF2-40B4-BE49-F238E27FC236}">
                <a16:creationId xmlns:a16="http://schemas.microsoft.com/office/drawing/2014/main" id="{9ABC3929-5C37-F5B3-1F8A-9E21D6187972}"/>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5918200" y="1395536"/>
            <a:ext cx="6266993" cy="2640809"/>
          </a:xfrm>
          <a:prstGeom prst="rect">
            <a:avLst/>
          </a:prstGeom>
        </p:spPr>
      </p:pic>
      <p:pic>
        <p:nvPicPr>
          <p:cNvPr id="8" name="Picture 7">
            <a:extLst>
              <a:ext uri="{FF2B5EF4-FFF2-40B4-BE49-F238E27FC236}">
                <a16:creationId xmlns:a16="http://schemas.microsoft.com/office/drawing/2014/main" id="{6BBF4EE4-C4BE-CAE9-3FCF-F2D9A2B1160C}"/>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 y="4558549"/>
            <a:ext cx="12195175" cy="2299452"/>
          </a:xfrm>
          <a:prstGeom prst="rect">
            <a:avLst/>
          </a:prstGeom>
        </p:spPr>
      </p:pic>
      <p:sp>
        <p:nvSpPr>
          <p:cNvPr id="5" name="Alternative Process 4">
            <a:extLst>
              <a:ext uri="{FF2B5EF4-FFF2-40B4-BE49-F238E27FC236}">
                <a16:creationId xmlns:a16="http://schemas.microsoft.com/office/drawing/2014/main" id="{35A66C85-837E-AA70-D2EF-0D6E5E737A88}"/>
              </a:ext>
            </a:extLst>
          </p:cNvPr>
          <p:cNvSpPr/>
          <p:nvPr/>
        </p:nvSpPr>
        <p:spPr bwMode="gray">
          <a:xfrm>
            <a:off x="9908246" y="382342"/>
            <a:ext cx="1647824" cy="612648"/>
          </a:xfrm>
          <a:prstGeom prst="flowChartAlternateProcess">
            <a:avLst/>
          </a:prstGeom>
          <a:noFill/>
          <a:ln w="38100" algn="ctr">
            <a:solidFill>
              <a:srgbClr val="FF0000"/>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DE" sz="1800" b="0" i="0" u="none" strike="noStrike" kern="0" cap="none" spc="0" normalizeH="0" baseline="0" noProof="0" dirty="0">
                <a:ln>
                  <a:noFill/>
                </a:ln>
                <a:solidFill>
                  <a:srgbClr val="FF0000"/>
                </a:solidFill>
                <a:effectLst/>
                <a:uLnTx/>
                <a:uFillTx/>
                <a:latin typeface="+mn-lt"/>
                <a:ea typeface="72 Brand" pitchFamily="34" charset="-128"/>
                <a:cs typeface="72 Brand" pitchFamily="34" charset="-128"/>
              </a:rPr>
              <a:t>2023</a:t>
            </a:r>
          </a:p>
        </p:txBody>
      </p:sp>
    </p:spTree>
    <p:extLst>
      <p:ext uri="{BB962C8B-B14F-4D97-AF65-F5344CB8AC3E}">
        <p14:creationId xmlns:p14="http://schemas.microsoft.com/office/powerpoint/2010/main" val="115596261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A63E59E-D09B-1967-98D9-3C52DBDCA1A3}"/>
            </a:ext>
          </a:extLst>
        </p:cNvPr>
        <p:cNvGrpSpPr/>
        <p:nvPr/>
      </p:nvGrpSpPr>
      <p:grpSpPr>
        <a:xfrm>
          <a:off x="0" y="0"/>
          <a:ext cx="0" cy="0"/>
          <a:chOff x="0" y="0"/>
          <a:chExt cx="0" cy="0"/>
        </a:xfrm>
      </p:grpSpPr>
      <p:pic>
        <p:nvPicPr>
          <p:cNvPr id="13" name="Picture 12">
            <a:extLst>
              <a:ext uri="{FF2B5EF4-FFF2-40B4-BE49-F238E27FC236}">
                <a16:creationId xmlns:a16="http://schemas.microsoft.com/office/drawing/2014/main" id="{78EA4E82-69EB-6324-4CF3-FA466B64433E}"/>
              </a:ext>
            </a:extLst>
          </p:cNvPr>
          <p:cNvPicPr>
            <a:picLocks noChangeAspect="1"/>
          </p:cNvPicPr>
          <p:nvPr/>
        </p:nvPicPr>
        <p:blipFill>
          <a:blip r:embed="rId2"/>
          <a:stretch>
            <a:fillRect/>
          </a:stretch>
        </p:blipFill>
        <p:spPr>
          <a:xfrm>
            <a:off x="6053202" y="2817289"/>
            <a:ext cx="5438703" cy="3362862"/>
          </a:xfrm>
          <a:prstGeom prst="rect">
            <a:avLst/>
          </a:prstGeom>
        </p:spPr>
      </p:pic>
      <p:sp>
        <p:nvSpPr>
          <p:cNvPr id="2" name="Title 1">
            <a:extLst>
              <a:ext uri="{FF2B5EF4-FFF2-40B4-BE49-F238E27FC236}">
                <a16:creationId xmlns:a16="http://schemas.microsoft.com/office/drawing/2014/main" id="{907F9432-068B-E67D-D7AC-B8B047016F53}"/>
              </a:ext>
            </a:extLst>
          </p:cNvPr>
          <p:cNvSpPr>
            <a:spLocks noGrp="1"/>
          </p:cNvSpPr>
          <p:nvPr>
            <p:ph type="title"/>
          </p:nvPr>
        </p:nvSpPr>
        <p:spPr/>
        <p:txBody>
          <a:bodyPr/>
          <a:lstStyle/>
          <a:p>
            <a:r>
              <a:rPr lang="en-US" dirty="0"/>
              <a:t>S/4HANA Business Events: </a:t>
            </a:r>
            <a:r>
              <a:rPr lang="en-GB" dirty="0"/>
              <a:t>Context Extensibility</a:t>
            </a:r>
            <a:endParaRPr lang="en-DE" dirty="0"/>
          </a:p>
        </p:txBody>
      </p:sp>
      <p:sp>
        <p:nvSpPr>
          <p:cNvPr id="4" name="TextBox 3">
            <a:extLst>
              <a:ext uri="{FF2B5EF4-FFF2-40B4-BE49-F238E27FC236}">
                <a16:creationId xmlns:a16="http://schemas.microsoft.com/office/drawing/2014/main" id="{9EC8ECD5-E356-2E1C-CB59-70A6A7A909A2}"/>
              </a:ext>
            </a:extLst>
          </p:cNvPr>
          <p:cNvSpPr txBox="1"/>
          <p:nvPr/>
        </p:nvSpPr>
        <p:spPr>
          <a:xfrm>
            <a:off x="504001" y="1185534"/>
            <a:ext cx="5496695" cy="2492990"/>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GB" sz="1800" kern="0" dirty="0">
                <a:latin typeface="+mn-lt"/>
                <a:ea typeface="Arial Unicode MS" pitchFamily="34" charset="-128"/>
                <a:cs typeface="Arial Unicode MS" pitchFamily="34" charset="-128"/>
              </a:rPr>
              <a:t>Add attributes </a:t>
            </a:r>
            <a:r>
              <a:rPr lang="en-GB" sz="1800" b="1" kern="0" dirty="0">
                <a:latin typeface="+mn-lt"/>
                <a:ea typeface="Arial Unicode MS" pitchFamily="34" charset="-128"/>
                <a:cs typeface="Arial Unicode MS" pitchFamily="34" charset="-128"/>
              </a:rPr>
              <a:t>from payload to context </a:t>
            </a:r>
            <a:r>
              <a:rPr lang="en-GB" sz="1800" kern="0" dirty="0">
                <a:latin typeface="+mn-lt"/>
                <a:ea typeface="Arial Unicode MS" pitchFamily="34" charset="-128"/>
                <a:cs typeface="Arial Unicode MS" pitchFamily="34" charset="-128"/>
              </a:rPr>
              <a:t>(header)</a:t>
            </a:r>
          </a:p>
          <a:p>
            <a:pPr fontAlgn="base">
              <a:spcBef>
                <a:spcPct val="50000"/>
              </a:spcBef>
              <a:spcAft>
                <a:spcPct val="0"/>
              </a:spcAft>
              <a:buClr>
                <a:srgbClr val="F0AB00"/>
              </a:buClr>
              <a:buSzPct val="80000"/>
            </a:pPr>
            <a:r>
              <a:rPr lang="en-GB" sz="1800" kern="0" dirty="0">
                <a:latin typeface="+mn-lt"/>
                <a:ea typeface="Arial Unicode MS" pitchFamily="34" charset="-128"/>
                <a:cs typeface="Arial Unicode MS" pitchFamily="34" charset="-128"/>
              </a:rPr>
              <a:t>Requires an extension of the </a:t>
            </a:r>
            <a:r>
              <a:rPr lang="en-GB" sz="1800" b="1" kern="0" dirty="0">
                <a:latin typeface="+mn-lt"/>
                <a:ea typeface="Arial Unicode MS" pitchFamily="34" charset="-128"/>
                <a:cs typeface="Arial Unicode MS" pitchFamily="34" charset="-128"/>
              </a:rPr>
              <a:t>CDS view</a:t>
            </a:r>
            <a:r>
              <a:rPr lang="en-GB" sz="1800" kern="0" dirty="0">
                <a:latin typeface="+mn-lt"/>
                <a:ea typeface="Arial Unicode MS" pitchFamily="34" charset="-128"/>
                <a:cs typeface="Arial Unicode MS" pitchFamily="34" charset="-128"/>
              </a:rPr>
              <a:t>, which</a:t>
            </a:r>
            <a:br>
              <a:rPr lang="en-GB" sz="1800" kern="0" dirty="0">
                <a:latin typeface="+mn-lt"/>
                <a:ea typeface="Arial Unicode MS" pitchFamily="34" charset="-128"/>
                <a:cs typeface="Arial Unicode MS" pitchFamily="34" charset="-128"/>
              </a:rPr>
            </a:br>
            <a:r>
              <a:rPr lang="en-GB" sz="1800" kern="0" dirty="0">
                <a:latin typeface="+mn-lt"/>
                <a:ea typeface="Arial Unicode MS" pitchFamily="34" charset="-128"/>
                <a:cs typeface="Arial Unicode MS" pitchFamily="34" charset="-128"/>
              </a:rPr>
              <a:t>must be extensible (prerequisite for ABAP cloud)</a:t>
            </a:r>
          </a:p>
          <a:p>
            <a:pPr fontAlgn="base">
              <a:spcBef>
                <a:spcPct val="50000"/>
              </a:spcBef>
              <a:spcAft>
                <a:spcPct val="0"/>
              </a:spcAft>
              <a:buClr>
                <a:srgbClr val="F0AB00"/>
              </a:buClr>
              <a:buSzPct val="80000"/>
            </a:pPr>
            <a:r>
              <a:rPr lang="en-GB" sz="1800" kern="0" dirty="0">
                <a:latin typeface="+mn-lt"/>
                <a:ea typeface="Arial Unicode MS" pitchFamily="34" charset="-128"/>
                <a:cs typeface="Arial Unicode MS" pitchFamily="34" charset="-128"/>
              </a:rPr>
              <a:t>Context is used for </a:t>
            </a:r>
            <a:r>
              <a:rPr lang="en-GB" sz="1800" b="1" kern="0" dirty="0">
                <a:latin typeface="+mn-lt"/>
                <a:ea typeface="Arial Unicode MS" pitchFamily="34" charset="-128"/>
                <a:cs typeface="Arial Unicode MS" pitchFamily="34" charset="-128"/>
              </a:rPr>
              <a:t>outbound filtering </a:t>
            </a:r>
            <a:r>
              <a:rPr lang="en-GB" sz="1800" kern="0" dirty="0">
                <a:latin typeface="+mn-lt"/>
                <a:ea typeface="Arial Unicode MS" pitchFamily="34" charset="-128"/>
                <a:cs typeface="Arial Unicode MS" pitchFamily="34" charset="-128"/>
              </a:rPr>
              <a:t>in S/4HANA</a:t>
            </a:r>
          </a:p>
          <a:p>
            <a:pPr fontAlgn="base">
              <a:spcBef>
                <a:spcPct val="50000"/>
              </a:spcBef>
              <a:spcAft>
                <a:spcPct val="0"/>
              </a:spcAft>
              <a:buClr>
                <a:srgbClr val="F0AB00"/>
              </a:buClr>
              <a:buSzPct val="80000"/>
            </a:pPr>
            <a:r>
              <a:rPr lang="en-GB" sz="1800" kern="0" dirty="0">
                <a:latin typeface="+mn-lt"/>
                <a:ea typeface="Arial Unicode MS" pitchFamily="34" charset="-128"/>
                <a:cs typeface="Arial Unicode MS" pitchFamily="34" charset="-128"/>
              </a:rPr>
              <a:t>Context will be supported for further operations in infrastructure (routing, filtering)</a:t>
            </a:r>
          </a:p>
          <a:p>
            <a:pPr marL="285750" indent="-285750" fontAlgn="base">
              <a:spcBef>
                <a:spcPct val="50000"/>
              </a:spcBef>
              <a:spcAft>
                <a:spcPct val="0"/>
              </a:spcAft>
              <a:buClr>
                <a:srgbClr val="F0AB00"/>
              </a:buClr>
              <a:buSzPct val="80000"/>
              <a:buFont typeface="Arial" panose="020B0604020202020204" pitchFamily="34" charset="0"/>
              <a:buChar char="•"/>
            </a:pPr>
            <a:endParaRPr lang="en-DE" sz="1800" kern="0" dirty="0" err="1">
              <a:ea typeface="Arial Unicode MS" pitchFamily="34" charset="-128"/>
              <a:cs typeface="Arial Unicode MS" pitchFamily="34" charset="-128"/>
            </a:endParaRPr>
          </a:p>
        </p:txBody>
      </p:sp>
      <p:sp>
        <p:nvSpPr>
          <p:cNvPr id="6" name="Arrow: Right 5">
            <a:extLst>
              <a:ext uri="{FF2B5EF4-FFF2-40B4-BE49-F238E27FC236}">
                <a16:creationId xmlns:a16="http://schemas.microsoft.com/office/drawing/2014/main" id="{3E10B1AE-3AA9-920E-3175-1FCD6BE50A67}"/>
              </a:ext>
            </a:extLst>
          </p:cNvPr>
          <p:cNvSpPr/>
          <p:nvPr/>
        </p:nvSpPr>
        <p:spPr bwMode="gray">
          <a:xfrm>
            <a:off x="4486551" y="3732043"/>
            <a:ext cx="1267566" cy="883792"/>
          </a:xfrm>
          <a:prstGeom prst="rightArrow">
            <a:avLst/>
          </a:prstGeom>
          <a:solidFill>
            <a:schemeClr val="bg1"/>
          </a:solidFill>
          <a:ln w="2540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DE" sz="1800" b="0" i="0" u="none" strike="noStrike" kern="0" cap="none" spc="0" normalizeH="0" baseline="0" noProof="0" dirty="0" err="1">
              <a:ln>
                <a:noFill/>
              </a:ln>
              <a:effectLst/>
              <a:uLnTx/>
              <a:uFillTx/>
              <a:ea typeface="Arial Unicode MS" pitchFamily="34" charset="-128"/>
              <a:cs typeface="Arial Unicode MS" pitchFamily="34" charset="-128"/>
            </a:endParaRPr>
          </a:p>
        </p:txBody>
      </p:sp>
      <p:sp>
        <p:nvSpPr>
          <p:cNvPr id="9" name="Alternative Process 8">
            <a:extLst>
              <a:ext uri="{FF2B5EF4-FFF2-40B4-BE49-F238E27FC236}">
                <a16:creationId xmlns:a16="http://schemas.microsoft.com/office/drawing/2014/main" id="{EDFF49B7-1BFF-D491-3BD2-0BD88C0E0C47}"/>
              </a:ext>
            </a:extLst>
          </p:cNvPr>
          <p:cNvSpPr/>
          <p:nvPr/>
        </p:nvSpPr>
        <p:spPr bwMode="gray">
          <a:xfrm>
            <a:off x="9908246" y="382342"/>
            <a:ext cx="1647824" cy="612648"/>
          </a:xfrm>
          <a:prstGeom prst="flowChartAlternateProcess">
            <a:avLst/>
          </a:prstGeom>
          <a:noFill/>
          <a:ln w="38100" algn="ctr">
            <a:solidFill>
              <a:srgbClr val="FF0000"/>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DE" sz="1800" b="0" i="0" u="none" strike="noStrike" kern="0" cap="none" spc="0" normalizeH="0" baseline="0" noProof="0" dirty="0">
                <a:ln>
                  <a:noFill/>
                </a:ln>
                <a:solidFill>
                  <a:srgbClr val="FF0000"/>
                </a:solidFill>
                <a:effectLst/>
                <a:uLnTx/>
                <a:uFillTx/>
                <a:latin typeface="+mn-lt"/>
                <a:ea typeface="72 Brand" pitchFamily="34" charset="-128"/>
                <a:cs typeface="72 Brand" pitchFamily="34" charset="-128"/>
              </a:rPr>
              <a:t>2023</a:t>
            </a:r>
          </a:p>
        </p:txBody>
      </p:sp>
      <p:pic>
        <p:nvPicPr>
          <p:cNvPr id="10" name="Picture 9">
            <a:extLst>
              <a:ext uri="{FF2B5EF4-FFF2-40B4-BE49-F238E27FC236}">
                <a16:creationId xmlns:a16="http://schemas.microsoft.com/office/drawing/2014/main" id="{F2983782-1CAB-09E9-5ABA-8C211636AFC6}"/>
              </a:ext>
            </a:extLst>
          </p:cNvPr>
          <p:cNvPicPr>
            <a:picLocks noChangeAspect="1"/>
          </p:cNvPicPr>
          <p:nvPr/>
        </p:nvPicPr>
        <p:blipFill>
          <a:blip r:embed="rId3"/>
          <a:stretch>
            <a:fillRect/>
          </a:stretch>
        </p:blipFill>
        <p:spPr>
          <a:xfrm>
            <a:off x="458782" y="4718084"/>
            <a:ext cx="4996250" cy="1824027"/>
          </a:xfrm>
          <a:prstGeom prst="rect">
            <a:avLst/>
          </a:prstGeom>
        </p:spPr>
      </p:pic>
      <p:sp>
        <p:nvSpPr>
          <p:cNvPr id="3" name="Rectangle 2">
            <a:extLst>
              <a:ext uri="{FF2B5EF4-FFF2-40B4-BE49-F238E27FC236}">
                <a16:creationId xmlns:a16="http://schemas.microsoft.com/office/drawing/2014/main" id="{82700FA0-8E77-D824-8E70-3E789F28B4A9}"/>
              </a:ext>
            </a:extLst>
          </p:cNvPr>
          <p:cNvSpPr/>
          <p:nvPr/>
        </p:nvSpPr>
        <p:spPr bwMode="gray">
          <a:xfrm>
            <a:off x="6064593" y="4001612"/>
            <a:ext cx="2763722" cy="344654"/>
          </a:xfrm>
          <a:prstGeom prst="rect">
            <a:avLst/>
          </a:prstGeom>
          <a:noFill/>
          <a:ln w="57150" cap="flat" cmpd="sng" algn="ctr">
            <a:solidFill>
              <a:srgbClr val="FF0000"/>
            </a:solidFill>
            <a:prstDash val="solid"/>
            <a:round/>
            <a:headEnd type="none" w="med" len="med"/>
            <a:tailEnd type="none" w="med" len="med"/>
          </a:ln>
        </p:spPr>
        <p:style>
          <a:lnRef idx="0">
            <a:scrgbClr r="0" g="0" b="0"/>
          </a:lnRef>
          <a:fillRef idx="0">
            <a:scrgbClr r="0" g="0" b="0"/>
          </a:fillRef>
          <a:effectRef idx="0">
            <a:scrgbClr r="0" g="0" b="0"/>
          </a:effectRef>
          <a:fontRef idx="minor">
            <a:schemeClr val="accent5"/>
          </a:fontRef>
        </p:style>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DE" sz="1800" b="0" i="0" u="none" strike="noStrike" kern="0" cap="none" spc="0" normalizeH="0" baseline="0" noProof="0" dirty="0" err="1">
              <a:ln>
                <a:noFill/>
              </a:ln>
              <a:effectLst/>
              <a:uLnTx/>
              <a:uFillTx/>
              <a:ea typeface="Arial Unicode MS" pitchFamily="34" charset="-128"/>
              <a:cs typeface="Arial Unicode MS" pitchFamily="34" charset="-128"/>
            </a:endParaRPr>
          </a:p>
        </p:txBody>
      </p:sp>
      <p:sp>
        <p:nvSpPr>
          <p:cNvPr id="15" name="Curved Right Arrow 14">
            <a:extLst>
              <a:ext uri="{FF2B5EF4-FFF2-40B4-BE49-F238E27FC236}">
                <a16:creationId xmlns:a16="http://schemas.microsoft.com/office/drawing/2014/main" id="{40BF1820-67A9-FAB1-6000-8B4AFFFC966C}"/>
              </a:ext>
            </a:extLst>
          </p:cNvPr>
          <p:cNvSpPr/>
          <p:nvPr/>
        </p:nvSpPr>
        <p:spPr bwMode="gray">
          <a:xfrm rot="10800000">
            <a:off x="9035141" y="4049484"/>
            <a:ext cx="620486" cy="1251857"/>
          </a:xfrm>
          <a:prstGeom prst="curvedRightArrow">
            <a:avLst/>
          </a:prstGeom>
          <a:solidFill>
            <a:srgbClr val="FF0000"/>
          </a:solidFill>
          <a:ln w="25400" algn="ctr">
            <a:solidFill>
              <a:srgbClr val="FF0000"/>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DE" sz="1800" b="0" i="0" u="none" strike="noStrike" kern="0" cap="none" spc="0" normalizeH="0" baseline="0" noProof="0" dirty="0">
              <a:ln>
                <a:noFill/>
              </a:ln>
              <a:effectLst/>
              <a:uLnTx/>
              <a:uFillTx/>
              <a:latin typeface="+mn-lt"/>
              <a:ea typeface="72 Brand" pitchFamily="34" charset="-128"/>
              <a:cs typeface="72 Brand" pitchFamily="34" charset="-128"/>
            </a:endParaRPr>
          </a:p>
        </p:txBody>
      </p:sp>
    </p:spTree>
    <p:extLst>
      <p:ext uri="{BB962C8B-B14F-4D97-AF65-F5344CB8AC3E}">
        <p14:creationId xmlns:p14="http://schemas.microsoft.com/office/powerpoint/2010/main" val="299421509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104CFC5-DCDA-DFBC-E9FD-1C20162F3C5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E9FDA8B-A478-4CC4-69D1-AD85CC90457C}"/>
              </a:ext>
            </a:extLst>
          </p:cNvPr>
          <p:cNvSpPr>
            <a:spLocks noGrp="1"/>
          </p:cNvSpPr>
          <p:nvPr>
            <p:ph type="title"/>
          </p:nvPr>
        </p:nvSpPr>
        <p:spPr/>
        <p:txBody>
          <a:bodyPr/>
          <a:lstStyle/>
          <a:p>
            <a:r>
              <a:rPr lang="en-US" dirty="0"/>
              <a:t>S/4HANA Business Events: Outbound Filtering</a:t>
            </a:r>
            <a:endParaRPr lang="en-DE" dirty="0"/>
          </a:p>
        </p:txBody>
      </p:sp>
      <p:sp>
        <p:nvSpPr>
          <p:cNvPr id="3" name="TextBox 2">
            <a:extLst>
              <a:ext uri="{FF2B5EF4-FFF2-40B4-BE49-F238E27FC236}">
                <a16:creationId xmlns:a16="http://schemas.microsoft.com/office/drawing/2014/main" id="{CE03614D-739F-2DEB-9EEE-CF0DBFFD7B37}"/>
              </a:ext>
            </a:extLst>
          </p:cNvPr>
          <p:cNvSpPr txBox="1"/>
          <p:nvPr/>
        </p:nvSpPr>
        <p:spPr>
          <a:xfrm>
            <a:off x="504001" y="1204876"/>
            <a:ext cx="5878285" cy="2354491"/>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800" kern="0" dirty="0">
                <a:ea typeface="Arial Unicode MS" pitchFamily="34" charset="-128"/>
                <a:cs typeface="Arial Unicode MS" pitchFamily="34" charset="-128"/>
              </a:rPr>
              <a:t>Send out only events that match “filter” (on source side)</a:t>
            </a:r>
          </a:p>
          <a:p>
            <a:pPr fontAlgn="base">
              <a:spcBef>
                <a:spcPct val="50000"/>
              </a:spcBef>
              <a:spcAft>
                <a:spcPct val="0"/>
              </a:spcAft>
              <a:buClr>
                <a:srgbClr val="F0AB00"/>
              </a:buClr>
              <a:buSzPct val="80000"/>
            </a:pPr>
            <a:r>
              <a:rPr lang="en-US" sz="1800" kern="0" dirty="0">
                <a:ea typeface="Arial Unicode MS" pitchFamily="34" charset="-128"/>
                <a:cs typeface="Arial Unicode MS" pitchFamily="34" charset="-128"/>
              </a:rPr>
              <a:t>Selection screen like conditions for “filter”</a:t>
            </a:r>
          </a:p>
          <a:p>
            <a:pPr fontAlgn="base">
              <a:spcBef>
                <a:spcPct val="50000"/>
              </a:spcBef>
              <a:spcAft>
                <a:spcPct val="0"/>
              </a:spcAft>
              <a:buClr>
                <a:srgbClr val="F0AB00"/>
              </a:buClr>
              <a:buSzPct val="80000"/>
            </a:pPr>
            <a:r>
              <a:rPr lang="en-US" sz="1800" kern="0" dirty="0">
                <a:ea typeface="Arial Unicode MS" pitchFamily="34" charset="-128"/>
                <a:cs typeface="Arial Unicode MS" pitchFamily="34" charset="-128"/>
              </a:rPr>
              <a:t>Channel-based</a:t>
            </a:r>
          </a:p>
          <a:p>
            <a:pPr fontAlgn="base">
              <a:spcBef>
                <a:spcPct val="50000"/>
              </a:spcBef>
              <a:spcAft>
                <a:spcPct val="0"/>
              </a:spcAft>
              <a:buClr>
                <a:srgbClr val="F0AB00"/>
              </a:buClr>
              <a:buSzPct val="80000"/>
            </a:pPr>
            <a:r>
              <a:rPr lang="en-US" sz="1800" kern="0" dirty="0">
                <a:ea typeface="Arial Unicode MS" pitchFamily="34" charset="-128"/>
                <a:cs typeface="Arial Unicode MS" pitchFamily="34" charset="-128"/>
              </a:rPr>
              <a:t>Condition based on </a:t>
            </a:r>
            <a:r>
              <a:rPr lang="en-US" sz="1800" b="1" kern="0" dirty="0">
                <a:ea typeface="Arial Unicode MS" pitchFamily="34" charset="-128"/>
                <a:cs typeface="Arial Unicode MS" pitchFamily="34" charset="-128"/>
              </a:rPr>
              <a:t>Context</a:t>
            </a:r>
            <a:r>
              <a:rPr lang="en-US" sz="1800" kern="0" dirty="0">
                <a:ea typeface="Arial Unicode MS" pitchFamily="34" charset="-128"/>
                <a:cs typeface="Arial Unicode MS" pitchFamily="34" charset="-128"/>
              </a:rPr>
              <a:t> attributes</a:t>
            </a:r>
          </a:p>
          <a:p>
            <a:pPr fontAlgn="base">
              <a:spcBef>
                <a:spcPct val="50000"/>
              </a:spcBef>
              <a:spcAft>
                <a:spcPct val="0"/>
              </a:spcAft>
              <a:buClr>
                <a:srgbClr val="F0AB00"/>
              </a:buClr>
              <a:buSzPct val="80000"/>
            </a:pPr>
            <a:r>
              <a:rPr lang="en-US" sz="1800" kern="0" dirty="0">
                <a:ea typeface="Arial Unicode MS" pitchFamily="34" charset="-128"/>
                <a:cs typeface="Arial Unicode MS" pitchFamily="34" charset="-128"/>
              </a:rPr>
              <a:t>Works with derived events</a:t>
            </a:r>
          </a:p>
          <a:p>
            <a:pPr marL="285750" indent="-285750" fontAlgn="base">
              <a:spcBef>
                <a:spcPct val="50000"/>
              </a:spcBef>
              <a:spcAft>
                <a:spcPct val="0"/>
              </a:spcAft>
              <a:buClr>
                <a:srgbClr val="F0AB00"/>
              </a:buClr>
              <a:buSzPct val="80000"/>
              <a:buFont typeface="Arial" panose="020B0604020202020204" pitchFamily="34" charset="0"/>
              <a:buChar char="•"/>
            </a:pPr>
            <a:endParaRPr lang="en-US" sz="1800" kern="0" dirty="0">
              <a:ea typeface="Arial Unicode MS" pitchFamily="34" charset="-128"/>
              <a:cs typeface="Arial Unicode MS" pitchFamily="34" charset="-128"/>
            </a:endParaRPr>
          </a:p>
        </p:txBody>
      </p:sp>
      <p:pic>
        <p:nvPicPr>
          <p:cNvPr id="5" name="Picture 4">
            <a:extLst>
              <a:ext uri="{FF2B5EF4-FFF2-40B4-BE49-F238E27FC236}">
                <a16:creationId xmlns:a16="http://schemas.microsoft.com/office/drawing/2014/main" id="{3F442AC7-4F3E-EE0C-0FD0-8527EB88C2DF}"/>
              </a:ext>
            </a:extLst>
          </p:cNvPr>
          <p:cNvPicPr>
            <a:picLocks noChangeAspect="1"/>
          </p:cNvPicPr>
          <p:nvPr/>
        </p:nvPicPr>
        <p:blipFill>
          <a:blip r:embed="rId2"/>
          <a:stretch>
            <a:fillRect/>
          </a:stretch>
        </p:blipFill>
        <p:spPr>
          <a:xfrm>
            <a:off x="1090689" y="3429000"/>
            <a:ext cx="10013100" cy="2847008"/>
          </a:xfrm>
          <a:prstGeom prst="rect">
            <a:avLst/>
          </a:prstGeom>
        </p:spPr>
      </p:pic>
      <p:sp>
        <p:nvSpPr>
          <p:cNvPr id="6" name="Alternative Process 5">
            <a:extLst>
              <a:ext uri="{FF2B5EF4-FFF2-40B4-BE49-F238E27FC236}">
                <a16:creationId xmlns:a16="http://schemas.microsoft.com/office/drawing/2014/main" id="{17A93852-B846-157A-18E1-4B1F80274435}"/>
              </a:ext>
            </a:extLst>
          </p:cNvPr>
          <p:cNvSpPr/>
          <p:nvPr/>
        </p:nvSpPr>
        <p:spPr bwMode="gray">
          <a:xfrm>
            <a:off x="9908246" y="382342"/>
            <a:ext cx="1647824" cy="612648"/>
          </a:xfrm>
          <a:prstGeom prst="flowChartAlternateProcess">
            <a:avLst/>
          </a:prstGeom>
          <a:noFill/>
          <a:ln w="38100" algn="ctr">
            <a:solidFill>
              <a:srgbClr val="FF0000"/>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DE" sz="1800" b="0" i="0" u="none" strike="noStrike" kern="0" cap="none" spc="0" normalizeH="0" baseline="0" noProof="0" dirty="0">
                <a:ln>
                  <a:noFill/>
                </a:ln>
                <a:solidFill>
                  <a:srgbClr val="FF0000"/>
                </a:solidFill>
                <a:effectLst/>
                <a:uLnTx/>
                <a:uFillTx/>
                <a:latin typeface="+mn-lt"/>
                <a:ea typeface="72 Brand" pitchFamily="34" charset="-128"/>
                <a:cs typeface="72 Brand" pitchFamily="34" charset="-128"/>
              </a:rPr>
              <a:t>2023</a:t>
            </a:r>
          </a:p>
        </p:txBody>
      </p:sp>
    </p:spTree>
    <p:extLst>
      <p:ext uri="{BB962C8B-B14F-4D97-AF65-F5344CB8AC3E}">
        <p14:creationId xmlns:p14="http://schemas.microsoft.com/office/powerpoint/2010/main" val="386430230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02A570CD-E4DF-D3A5-4077-3D02C8F1AFB5}"/>
              </a:ext>
            </a:extLst>
          </p:cNvPr>
          <p:cNvSpPr>
            <a:spLocks noGrp="1"/>
          </p:cNvSpPr>
          <p:nvPr>
            <p:ph type="title"/>
          </p:nvPr>
        </p:nvSpPr>
        <p:spPr/>
        <p:txBody>
          <a:bodyPr/>
          <a:lstStyle/>
          <a:p>
            <a:r>
              <a:rPr lang="en-US" dirty="0"/>
              <a:t>Bootcamp Agenda</a:t>
            </a:r>
          </a:p>
        </p:txBody>
      </p:sp>
      <p:graphicFrame>
        <p:nvGraphicFramePr>
          <p:cNvPr id="2" name="Tabelle 1">
            <a:extLst>
              <a:ext uri="{FF2B5EF4-FFF2-40B4-BE49-F238E27FC236}">
                <a16:creationId xmlns:a16="http://schemas.microsoft.com/office/drawing/2014/main" id="{1B13D625-8245-F64B-9432-43601C6B7E18}"/>
              </a:ext>
            </a:extLst>
          </p:cNvPr>
          <p:cNvGraphicFramePr>
            <a:graphicFrameLocks noGrp="1"/>
          </p:cNvGraphicFramePr>
          <p:nvPr>
            <p:extLst>
              <p:ext uri="{D42A27DB-BD31-4B8C-83A1-F6EECF244321}">
                <p14:modId xmlns:p14="http://schemas.microsoft.com/office/powerpoint/2010/main" val="2129661243"/>
              </p:ext>
            </p:extLst>
          </p:nvPr>
        </p:nvGraphicFramePr>
        <p:xfrm>
          <a:off x="504002" y="1601829"/>
          <a:ext cx="10994315" cy="5210734"/>
        </p:xfrm>
        <a:graphic>
          <a:graphicData uri="http://schemas.openxmlformats.org/drawingml/2006/table">
            <a:tbl>
              <a:tblPr firstRow="1" bandRow="1">
                <a:tableStyleId>{72833802-FEF1-4C79-8D5D-14CF1EAF98D9}</a:tableStyleId>
              </a:tblPr>
              <a:tblGrid>
                <a:gridCol w="2340798">
                  <a:extLst>
                    <a:ext uri="{9D8B030D-6E8A-4147-A177-3AD203B41FA5}">
                      <a16:colId xmlns:a16="http://schemas.microsoft.com/office/drawing/2014/main" val="1617478456"/>
                    </a:ext>
                  </a:extLst>
                </a:gridCol>
                <a:gridCol w="2056928">
                  <a:extLst>
                    <a:ext uri="{9D8B030D-6E8A-4147-A177-3AD203B41FA5}">
                      <a16:colId xmlns:a16="http://schemas.microsoft.com/office/drawing/2014/main" val="866318014"/>
                    </a:ext>
                  </a:extLst>
                </a:gridCol>
                <a:gridCol w="2198863">
                  <a:extLst>
                    <a:ext uri="{9D8B030D-6E8A-4147-A177-3AD203B41FA5}">
                      <a16:colId xmlns:a16="http://schemas.microsoft.com/office/drawing/2014/main" val="2321226003"/>
                    </a:ext>
                  </a:extLst>
                </a:gridCol>
                <a:gridCol w="2493983">
                  <a:extLst>
                    <a:ext uri="{9D8B030D-6E8A-4147-A177-3AD203B41FA5}">
                      <a16:colId xmlns:a16="http://schemas.microsoft.com/office/drawing/2014/main" val="2911092096"/>
                    </a:ext>
                  </a:extLst>
                </a:gridCol>
                <a:gridCol w="1903743">
                  <a:extLst>
                    <a:ext uri="{9D8B030D-6E8A-4147-A177-3AD203B41FA5}">
                      <a16:colId xmlns:a16="http://schemas.microsoft.com/office/drawing/2014/main" val="2146854611"/>
                    </a:ext>
                  </a:extLst>
                </a:gridCol>
              </a:tblGrid>
              <a:tr h="973905">
                <a:tc>
                  <a:txBody>
                    <a:bodyPr/>
                    <a:lstStyle/>
                    <a:p>
                      <a:r>
                        <a:rPr lang="en-US" dirty="0"/>
                        <a:t>Topic 1 (Basic)</a:t>
                      </a:r>
                    </a:p>
                  </a:txBody>
                  <a:tcPr/>
                </a:tc>
                <a:tc>
                  <a:txBody>
                    <a:bodyPr/>
                    <a:lstStyle/>
                    <a:p>
                      <a:r>
                        <a:rPr lang="en-US" dirty="0"/>
                        <a:t>Topic 2 (S/4HANA)</a:t>
                      </a:r>
                    </a:p>
                  </a:txBody>
                  <a:tcPr/>
                </a:tc>
                <a:tc>
                  <a:txBody>
                    <a:bodyPr/>
                    <a:lstStyle/>
                    <a:p>
                      <a:r>
                        <a:rPr lang="en-US" dirty="0"/>
                        <a:t>Topic 3 (Enhanced Integration)</a:t>
                      </a:r>
                    </a:p>
                  </a:txBody>
                  <a:tcPr/>
                </a:tc>
                <a:tc>
                  <a:txBody>
                    <a:bodyPr/>
                    <a:lstStyle/>
                    <a:p>
                      <a:r>
                        <a:rPr lang="en-US" dirty="0"/>
                        <a:t>Topic 4 (Operations)</a:t>
                      </a:r>
                    </a:p>
                  </a:txBody>
                  <a:tcPr/>
                </a:tc>
                <a:tc>
                  <a:txBody>
                    <a:bodyPr/>
                    <a:lstStyle/>
                    <a:p>
                      <a:r>
                        <a:rPr lang="en-US" dirty="0"/>
                        <a:t>Topic 5 </a:t>
                      </a:r>
                    </a:p>
                    <a:p>
                      <a:r>
                        <a:rPr lang="en-US" dirty="0"/>
                        <a:t>(</a:t>
                      </a:r>
                      <a:r>
                        <a:rPr lang="en-DE" dirty="0"/>
                        <a:t>AIF</a:t>
                      </a:r>
                      <a:r>
                        <a:rPr lang="en-US" dirty="0"/>
                        <a:t>)</a:t>
                      </a:r>
                    </a:p>
                  </a:txBody>
                  <a:tcPr/>
                </a:tc>
                <a:extLst>
                  <a:ext uri="{0D108BD9-81ED-4DB2-BD59-A6C34878D82A}">
                    <a16:rowId xmlns:a16="http://schemas.microsoft.com/office/drawing/2014/main" val="840075474"/>
                  </a:ext>
                </a:extLst>
              </a:tr>
              <a:tr h="4159174">
                <a:tc>
                  <a:txBody>
                    <a:bodyPr/>
                    <a:lstStyle/>
                    <a:p>
                      <a:pPr marL="342900" indent="-342900">
                        <a:buFont typeface="Arial" panose="020B0604020202020204" pitchFamily="34" charset="0"/>
                        <a:buChar char="•"/>
                      </a:pPr>
                      <a:r>
                        <a:rPr lang="en-US"/>
                        <a:t>When to use which SAP Broker?</a:t>
                      </a:r>
                    </a:p>
                    <a:p>
                      <a:pPr marL="342900" indent="-342900">
                        <a:buFont typeface="Arial" panose="020B0604020202020204" pitchFamily="34" charset="0"/>
                        <a:buChar char="•"/>
                      </a:pPr>
                      <a:r>
                        <a:rPr lang="en-US"/>
                        <a:t>Events in context of S/4HANA</a:t>
                      </a:r>
                    </a:p>
                    <a:p>
                      <a:pPr marL="342900" indent="-342900">
                        <a:buFont typeface="Arial" panose="020B0604020202020204" pitchFamily="34" charset="0"/>
                        <a:buChar char="•"/>
                      </a:pPr>
                      <a:r>
                        <a:rPr lang="en-US"/>
                        <a:t>Starting of AEM instances and Mesh Creation</a:t>
                      </a:r>
                    </a:p>
                    <a:p>
                      <a:pPr marL="342900" lvl="0" indent="-342900">
                        <a:buFont typeface="Arial" panose="020B0604020202020204" pitchFamily="34" charset="0"/>
                        <a:buChar char="•"/>
                      </a:pPr>
                      <a:r>
                        <a:rPr lang="en-US"/>
                        <a:t>Simulator </a:t>
                      </a:r>
                    </a:p>
                  </a:txBody>
                  <a:tcPr/>
                </a:tc>
                <a:tc>
                  <a:txBody>
                    <a:bodyPr/>
                    <a:lstStyle/>
                    <a:p>
                      <a:pPr marL="342900" indent="-342900">
                        <a:buFont typeface="Arial" panose="020B0604020202020204" pitchFamily="34" charset="0"/>
                        <a:buChar char="•"/>
                      </a:pPr>
                      <a:r>
                        <a:rPr lang="en-US" dirty="0"/>
                        <a:t>Connect S/4HANA to SAP AEM</a:t>
                      </a:r>
                    </a:p>
                    <a:p>
                      <a:pPr marL="342900" indent="-342900">
                        <a:buFont typeface="Arial" panose="020B0604020202020204" pitchFamily="34" charset="0"/>
                        <a:buChar char="•"/>
                      </a:pPr>
                      <a:r>
                        <a:rPr lang="en-US" dirty="0"/>
                        <a:t>Configure Standard Event</a:t>
                      </a:r>
                    </a:p>
                    <a:p>
                      <a:pPr marL="342900" indent="-342900">
                        <a:buFont typeface="Arial" panose="020B0604020202020204" pitchFamily="34" charset="0"/>
                        <a:buChar char="•"/>
                      </a:pPr>
                      <a:r>
                        <a:rPr lang="en-US" dirty="0"/>
                        <a:t>Configure RAP Events</a:t>
                      </a:r>
                    </a:p>
                  </a:txBody>
                  <a:tcPr/>
                </a:tc>
                <a:tc>
                  <a:txBody>
                    <a:bodyPr/>
                    <a:lstStyle/>
                    <a:p>
                      <a:pPr marL="342900" marR="0" lvl="0" indent="-342900" algn="l" defTabSz="1088558"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Connect AEM to SAP Integration </a:t>
                      </a:r>
                      <a:r>
                        <a:rPr lang="en-US" sz="2100" kern="1200" dirty="0">
                          <a:solidFill>
                            <a:schemeClr val="tx1"/>
                          </a:solidFill>
                          <a:latin typeface="+mn-lt"/>
                          <a:ea typeface="+mn-ea"/>
                          <a:cs typeface="+mn-cs"/>
                        </a:rPr>
                        <a:t>Suite</a:t>
                      </a:r>
                    </a:p>
                    <a:p>
                      <a:pPr marL="342900" marR="0" lvl="0" indent="-342900" algn="l" rtl="0" eaLnBrk="1" fontAlgn="auto" latinLnBrk="0" hangingPunct="1">
                        <a:lnSpc>
                          <a:spcPct val="100000"/>
                        </a:lnSpc>
                        <a:spcBef>
                          <a:spcPts val="0"/>
                        </a:spcBef>
                        <a:spcAft>
                          <a:spcPts val="0"/>
                        </a:spcAft>
                        <a:buClrTx/>
                        <a:buSzTx/>
                        <a:buFont typeface="Arial" panose="020B0604020202020204" pitchFamily="34" charset="0"/>
                        <a:buChar char="•"/>
                      </a:pPr>
                      <a:r>
                        <a:rPr lang="en-US" sz="2100" kern="1200" dirty="0">
                          <a:solidFill>
                            <a:schemeClr val="tx1"/>
                          </a:solidFill>
                          <a:latin typeface="+mn-lt"/>
                          <a:ea typeface="+mn-ea"/>
                          <a:cs typeface="+mn-cs"/>
                        </a:rPr>
                        <a:t>Connect AEM to SAP Process Automation </a:t>
                      </a:r>
                      <a:endParaRPr lang="en-US" dirty="0"/>
                    </a:p>
                    <a:p>
                      <a:endParaRPr lang="en-US" dirty="0"/>
                    </a:p>
                  </a:txBody>
                  <a:tcPr/>
                </a:tc>
                <a:tc>
                  <a:txBody>
                    <a:bodyPr/>
                    <a:lstStyle/>
                    <a:p>
                      <a:pPr marL="342900" lvl="0" indent="-342900">
                        <a:buFont typeface="Arial" panose="020B0604020202020204" pitchFamily="34" charset="0"/>
                        <a:buChar char="•"/>
                      </a:pPr>
                      <a:r>
                        <a:rPr lang="de-DE" sz="2000" kern="1200" dirty="0">
                          <a:solidFill>
                            <a:schemeClr val="tx1"/>
                          </a:solidFill>
                          <a:effectLst/>
                          <a:latin typeface="+mn-lt"/>
                          <a:ea typeface="+mn-ea"/>
                          <a:cs typeface="+mn-cs"/>
                        </a:rPr>
                        <a:t>Event Management </a:t>
                      </a:r>
                    </a:p>
                    <a:p>
                      <a:pPr marL="887179" lvl="1" indent="-342900">
                        <a:buFont typeface="Arial" panose="020B0604020202020204" pitchFamily="34" charset="0"/>
                        <a:buChar char="•"/>
                      </a:pPr>
                      <a:r>
                        <a:rPr lang="de-DE" sz="2000" kern="1200" dirty="0">
                          <a:solidFill>
                            <a:schemeClr val="tx1"/>
                          </a:solidFill>
                          <a:effectLst/>
                          <a:latin typeface="+mn-lt"/>
                          <a:ea typeface="+mn-ea"/>
                          <a:cs typeface="+mn-cs"/>
                        </a:rPr>
                        <a:t>Event Portal</a:t>
                      </a:r>
                    </a:p>
                    <a:p>
                      <a:pPr marL="887179" lvl="1" indent="-342900">
                        <a:buFont typeface="Arial" panose="020B0604020202020204" pitchFamily="34" charset="0"/>
                        <a:buChar char="•"/>
                      </a:pPr>
                      <a:r>
                        <a:rPr lang="de-DE" sz="2000" kern="1200" dirty="0" err="1">
                          <a:solidFill>
                            <a:schemeClr val="tx1"/>
                          </a:solidFill>
                          <a:effectLst/>
                          <a:latin typeface="+mn-lt"/>
                          <a:ea typeface="+mn-ea"/>
                          <a:cs typeface="+mn-cs"/>
                        </a:rPr>
                        <a:t>Approval</a:t>
                      </a:r>
                      <a:endParaRPr lang="de-DE" sz="2400" kern="1200" dirty="0">
                        <a:solidFill>
                          <a:schemeClr val="tx1"/>
                        </a:solidFill>
                        <a:effectLst/>
                        <a:latin typeface="+mn-lt"/>
                        <a:ea typeface="+mn-ea"/>
                        <a:cs typeface="+mn-cs"/>
                      </a:endParaRPr>
                    </a:p>
                    <a:p>
                      <a:pPr marL="342900" lvl="0" indent="-342900">
                        <a:buFont typeface="Arial" panose="020B0604020202020204" pitchFamily="34" charset="0"/>
                        <a:buChar char="•"/>
                      </a:pPr>
                      <a:r>
                        <a:rPr lang="de-DE" sz="2000" kern="1200" dirty="0">
                          <a:solidFill>
                            <a:schemeClr val="tx1"/>
                          </a:solidFill>
                          <a:effectLst/>
                          <a:latin typeface="+mn-lt"/>
                          <a:ea typeface="+mn-ea"/>
                          <a:cs typeface="+mn-cs"/>
                        </a:rPr>
                        <a:t>Event </a:t>
                      </a:r>
                      <a:r>
                        <a:rPr lang="de-DE" sz="2000" kern="1200" dirty="0" err="1">
                          <a:solidFill>
                            <a:schemeClr val="tx1"/>
                          </a:solidFill>
                          <a:effectLst/>
                          <a:latin typeface="+mn-lt"/>
                          <a:ea typeface="+mn-ea"/>
                          <a:cs typeface="+mn-cs"/>
                        </a:rPr>
                        <a:t>Insights</a:t>
                      </a:r>
                      <a:r>
                        <a:rPr lang="de-DE" sz="2000" kern="1200" dirty="0">
                          <a:solidFill>
                            <a:schemeClr val="tx1"/>
                          </a:solidFill>
                          <a:effectLst/>
                          <a:latin typeface="+mn-lt"/>
                          <a:ea typeface="+mn-ea"/>
                          <a:cs typeface="+mn-cs"/>
                        </a:rPr>
                        <a:t> </a:t>
                      </a:r>
                    </a:p>
                    <a:p>
                      <a:pPr marL="887179" lvl="1" indent="-342900">
                        <a:buFont typeface="Arial" panose="020B0604020202020204" pitchFamily="34" charset="0"/>
                        <a:buChar char="•"/>
                      </a:pPr>
                      <a:r>
                        <a:rPr lang="de-DE" sz="2000" kern="1200" dirty="0">
                          <a:solidFill>
                            <a:schemeClr val="tx1"/>
                          </a:solidFill>
                          <a:effectLst/>
                          <a:latin typeface="+mn-lt"/>
                          <a:ea typeface="+mn-ea"/>
                          <a:cs typeface="+mn-cs"/>
                        </a:rPr>
                        <a:t>Monitoring</a:t>
                      </a:r>
                    </a:p>
                    <a:p>
                      <a:pPr marL="887179" lvl="1" indent="-342900">
                        <a:buFont typeface="Arial" panose="020B0604020202020204" pitchFamily="34" charset="0"/>
                        <a:buChar char="•"/>
                      </a:pPr>
                      <a:r>
                        <a:rPr lang="de-DE" sz="2000" kern="1200" dirty="0">
                          <a:solidFill>
                            <a:schemeClr val="tx1"/>
                          </a:solidFill>
                          <a:effectLst/>
                          <a:latin typeface="+mn-lt"/>
                          <a:ea typeface="+mn-ea"/>
                          <a:cs typeface="+mn-cs"/>
                        </a:rPr>
                        <a:t>Distributed Tracing</a:t>
                      </a:r>
                    </a:p>
                    <a:p>
                      <a:pPr marL="342900" lvl="0" indent="-342900">
                        <a:buFont typeface="Arial" panose="020B0604020202020204" pitchFamily="34" charset="0"/>
                        <a:buChar char="•"/>
                      </a:pPr>
                      <a:r>
                        <a:rPr lang="de-DE" sz="2000" kern="1200" dirty="0">
                          <a:solidFill>
                            <a:schemeClr val="tx1"/>
                          </a:solidFill>
                          <a:effectLst/>
                          <a:latin typeface="+mn-lt"/>
                          <a:ea typeface="+mn-ea"/>
                          <a:cs typeface="+mn-cs"/>
                        </a:rPr>
                        <a:t>AEM APIs</a:t>
                      </a:r>
                    </a:p>
                    <a:p>
                      <a:pPr marL="342900" lvl="0" indent="-342900">
                        <a:buFont typeface="Arial" panose="020B0604020202020204" pitchFamily="34" charset="0"/>
                        <a:buChar char="•"/>
                      </a:pPr>
                      <a:endParaRPr lang="de-DE" sz="2000" kern="1200" dirty="0">
                        <a:solidFill>
                          <a:schemeClr val="tx1"/>
                        </a:solidFill>
                        <a:effectLst/>
                        <a:latin typeface="+mn-lt"/>
                        <a:ea typeface="+mn-ea"/>
                        <a:cs typeface="+mn-cs"/>
                      </a:endParaRPr>
                    </a:p>
                    <a:p>
                      <a:endParaRPr lang="en-US" dirty="0"/>
                    </a:p>
                  </a:txBody>
                  <a:tcPr/>
                </a:tc>
                <a:tc>
                  <a:txBody>
                    <a:bodyPr/>
                    <a:lstStyle/>
                    <a:p>
                      <a:pPr marL="342900" lvl="0" indent="-342900">
                        <a:buFont typeface="Arial" panose="020B0604020202020204" pitchFamily="34" charset="0"/>
                        <a:buChar char="•"/>
                      </a:pPr>
                      <a:r>
                        <a:rPr lang="de-DE" sz="2100" kern="1200" noProof="0" dirty="0">
                          <a:solidFill>
                            <a:schemeClr val="tx1"/>
                          </a:solidFill>
                          <a:latin typeface="+mn-lt"/>
                          <a:ea typeface="+mn-ea"/>
                          <a:cs typeface="+mn-cs"/>
                        </a:rPr>
                        <a:t>ECC </a:t>
                      </a:r>
                      <a:r>
                        <a:rPr lang="de-DE" sz="2100" kern="1200" noProof="0" dirty="0" err="1">
                          <a:solidFill>
                            <a:schemeClr val="tx1"/>
                          </a:solidFill>
                          <a:latin typeface="+mn-lt"/>
                          <a:ea typeface="+mn-ea"/>
                          <a:cs typeface="+mn-cs"/>
                        </a:rPr>
                        <a:t>Usage</a:t>
                      </a:r>
                      <a:r>
                        <a:rPr lang="de-DE" sz="2100" kern="1200" noProof="0" dirty="0">
                          <a:solidFill>
                            <a:schemeClr val="tx1"/>
                          </a:solidFill>
                          <a:latin typeface="+mn-lt"/>
                          <a:ea typeface="+mn-ea"/>
                          <a:cs typeface="+mn-cs"/>
                        </a:rPr>
                        <a:t> </a:t>
                      </a:r>
                      <a:r>
                        <a:rPr lang="de-DE" sz="2100" kern="1200" noProof="0" dirty="0" err="1">
                          <a:solidFill>
                            <a:schemeClr val="tx1"/>
                          </a:solidFill>
                          <a:latin typeface="+mn-lt"/>
                          <a:ea typeface="+mn-ea"/>
                          <a:cs typeface="+mn-cs"/>
                        </a:rPr>
                        <a:t>with</a:t>
                      </a:r>
                      <a:r>
                        <a:rPr lang="de-DE" sz="2100" kern="1200" noProof="0" dirty="0">
                          <a:solidFill>
                            <a:schemeClr val="tx1"/>
                          </a:solidFill>
                          <a:latin typeface="+mn-lt"/>
                          <a:ea typeface="+mn-ea"/>
                          <a:cs typeface="+mn-cs"/>
                        </a:rPr>
                        <a:t> AIF</a:t>
                      </a:r>
                    </a:p>
                  </a:txBody>
                  <a:tcPr/>
                </a:tc>
                <a:extLst>
                  <a:ext uri="{0D108BD9-81ED-4DB2-BD59-A6C34878D82A}">
                    <a16:rowId xmlns:a16="http://schemas.microsoft.com/office/drawing/2014/main" val="3447249230"/>
                  </a:ext>
                </a:extLst>
              </a:tr>
            </a:tbl>
          </a:graphicData>
        </a:graphic>
      </p:graphicFrame>
    </p:spTree>
    <p:extLst>
      <p:ext uri="{BB962C8B-B14F-4D97-AF65-F5344CB8AC3E}">
        <p14:creationId xmlns:p14="http://schemas.microsoft.com/office/powerpoint/2010/main" val="3639523501"/>
      </p:ext>
    </p:extLst>
  </p:cSld>
  <p:clrMapOvr>
    <a:masterClrMapping/>
  </p:clrMapOvr>
  <p:extLst>
    <p:ext uri="{6950BFC3-D8DA-4A85-94F7-54DA5524770B}">
      <p188:commentRel xmlns:p188="http://schemas.microsoft.com/office/powerpoint/2018/8/main" r:id="rId3"/>
    </p:ext>
  </p:extLs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022CA2D-9541-8B38-C6C0-58718718E9CC}"/>
            </a:ext>
          </a:extLst>
        </p:cNvPr>
        <p:cNvGrpSpPr/>
        <p:nvPr/>
      </p:nvGrpSpPr>
      <p:grpSpPr>
        <a:xfrm>
          <a:off x="0" y="0"/>
          <a:ext cx="0" cy="0"/>
          <a:chOff x="0" y="0"/>
          <a:chExt cx="0" cy="0"/>
        </a:xfrm>
      </p:grpSpPr>
      <p:sp>
        <p:nvSpPr>
          <p:cNvPr id="3" name="Text Placeholder 2">
            <a:extLst>
              <a:ext uri="{FF2B5EF4-FFF2-40B4-BE49-F238E27FC236}">
                <a16:creationId xmlns:a16="http://schemas.microsoft.com/office/drawing/2014/main" id="{E50C0BA3-84FC-3DD2-7AB7-31464D5AB782}"/>
              </a:ext>
            </a:extLst>
          </p:cNvPr>
          <p:cNvSpPr>
            <a:spLocks noGrp="1"/>
          </p:cNvSpPr>
          <p:nvPr>
            <p:ph type="body" sz="quarter" idx="10"/>
          </p:nvPr>
        </p:nvSpPr>
        <p:spPr>
          <a:xfrm>
            <a:off x="503999" y="1413069"/>
            <a:ext cx="11186477" cy="4716000"/>
          </a:xfrm>
        </p:spPr>
        <p:txBody>
          <a:bodyPr/>
          <a:lstStyle/>
          <a:p>
            <a:r>
              <a:rPr lang="en-GB" dirty="0"/>
              <a:t>Inbound processing can be implemented using ABAP Cloud technology </a:t>
            </a:r>
          </a:p>
          <a:p>
            <a:r>
              <a:rPr lang="en-GB" dirty="0"/>
              <a:t>Event handler (“agent”) local implementation in S/4HANA generated from event specification (</a:t>
            </a:r>
            <a:r>
              <a:rPr lang="en-GB" dirty="0" err="1"/>
              <a:t>AsyncAPI</a:t>
            </a:r>
            <a:r>
              <a:rPr lang="en-GB" dirty="0"/>
              <a:t>) -&gt; leverage internal APIs</a:t>
            </a:r>
          </a:p>
          <a:p>
            <a:r>
              <a:rPr lang="en-GB" dirty="0"/>
              <a:t>Based on event definition (Async API)</a:t>
            </a:r>
          </a:p>
          <a:p>
            <a:r>
              <a:rPr lang="en-GB" dirty="0"/>
              <a:t>…</a:t>
            </a:r>
          </a:p>
          <a:p>
            <a:r>
              <a:rPr lang="en-GB" dirty="0"/>
              <a:t>This is a sophisticated architecture pattern and its use should be carefully evaluated!</a:t>
            </a:r>
            <a:endParaRPr lang="en-DE" dirty="0"/>
          </a:p>
        </p:txBody>
      </p:sp>
      <p:sp>
        <p:nvSpPr>
          <p:cNvPr id="2" name="Title 1">
            <a:extLst>
              <a:ext uri="{FF2B5EF4-FFF2-40B4-BE49-F238E27FC236}">
                <a16:creationId xmlns:a16="http://schemas.microsoft.com/office/drawing/2014/main" id="{21CCDA1C-73E8-3FE8-7FD4-03D9DB676A1C}"/>
              </a:ext>
            </a:extLst>
          </p:cNvPr>
          <p:cNvSpPr>
            <a:spLocks noGrp="1"/>
          </p:cNvSpPr>
          <p:nvPr>
            <p:ph type="title"/>
          </p:nvPr>
        </p:nvSpPr>
        <p:spPr/>
        <p:txBody>
          <a:bodyPr/>
          <a:lstStyle/>
          <a:p>
            <a:r>
              <a:rPr lang="en-US" dirty="0"/>
              <a:t>S/4HANA Business Events: </a:t>
            </a:r>
            <a:r>
              <a:rPr lang="en-GB" dirty="0"/>
              <a:t>Inbound Processing</a:t>
            </a:r>
            <a:endParaRPr lang="en-DE" dirty="0"/>
          </a:p>
        </p:txBody>
      </p:sp>
      <p:sp>
        <p:nvSpPr>
          <p:cNvPr id="4" name="Rectangle 3">
            <a:extLst>
              <a:ext uri="{FF2B5EF4-FFF2-40B4-BE49-F238E27FC236}">
                <a16:creationId xmlns:a16="http://schemas.microsoft.com/office/drawing/2014/main" id="{4D8A11A7-B762-E8D7-6E6D-A7057AF9EA94}"/>
              </a:ext>
            </a:extLst>
          </p:cNvPr>
          <p:cNvSpPr/>
          <p:nvPr/>
        </p:nvSpPr>
        <p:spPr bwMode="gray">
          <a:xfrm>
            <a:off x="503999" y="4657109"/>
            <a:ext cx="5440731" cy="1471960"/>
          </a:xfrm>
          <a:prstGeom prst="rect">
            <a:avLst/>
          </a:prstGeom>
          <a:solidFill>
            <a:schemeClr val="bg1">
              <a:lumMod val="95000"/>
            </a:schemeClr>
          </a:solidFill>
          <a:ln>
            <a:headEnd/>
            <a:tailEnd/>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0000" tIns="72000" rIns="90000" bIns="72000" numCol="1" spcCol="0" rtlCol="0" fromWordArt="0" anchor="t" anchorCtr="0" forceAA="0" compatLnSpc="1">
            <a:prstTxWarp prst="textNoShape">
              <a:avLst/>
            </a:prstTxWarp>
            <a:noAutofit/>
          </a:bodyPr>
          <a:lstStyle/>
          <a:p>
            <a:pPr defTabSz="914400" fontAlgn="base">
              <a:spcBef>
                <a:spcPct val="50000"/>
              </a:spcBef>
              <a:spcAft>
                <a:spcPct val="0"/>
              </a:spcAft>
              <a:buClr>
                <a:srgbClr val="F0AB00"/>
              </a:buClr>
              <a:buSzPct val="80000"/>
            </a:pPr>
            <a:r>
              <a:rPr lang="en-US" sz="1200" b="1" kern="0" dirty="0">
                <a:ea typeface="Arial Unicode MS"/>
                <a:cs typeface="Arial Unicode MS"/>
              </a:rPr>
              <a:t>SAP S/4HANA</a:t>
            </a:r>
            <a:endParaRPr lang="en-US" sz="1200" b="1"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6" name="Rectangle 5">
            <a:extLst>
              <a:ext uri="{FF2B5EF4-FFF2-40B4-BE49-F238E27FC236}">
                <a16:creationId xmlns:a16="http://schemas.microsoft.com/office/drawing/2014/main" id="{38C6F624-CD17-F8C1-6F60-F0D1C39BFD5F}"/>
              </a:ext>
            </a:extLst>
          </p:cNvPr>
          <p:cNvSpPr/>
          <p:nvPr/>
        </p:nvSpPr>
        <p:spPr bwMode="gray">
          <a:xfrm>
            <a:off x="659972" y="5005561"/>
            <a:ext cx="1249493" cy="775055"/>
          </a:xfrm>
          <a:prstGeom prst="rect">
            <a:avLst/>
          </a:prstGeom>
          <a:ln>
            <a:headEnd/>
            <a:tailEnd/>
          </a:ln>
        </p:spPr>
        <p:style>
          <a:lnRef idx="1">
            <a:schemeClr val="accent3"/>
          </a:lnRef>
          <a:fillRef idx="2">
            <a:schemeClr val="accent3"/>
          </a:fillRef>
          <a:effectRef idx="1">
            <a:schemeClr val="accent3"/>
          </a:effectRef>
          <a:fontRef idx="minor">
            <a:schemeClr val="dk1"/>
          </a:fontRef>
        </p:style>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lang="en-US" sz="1600" kern="0" dirty="0">
                <a:ea typeface="Arial Unicode MS"/>
                <a:cs typeface="Arial Unicode MS"/>
              </a:rPr>
              <a:t>Application APIs</a:t>
            </a:r>
            <a:endParaRPr kumimoji="0" lang="en-US" sz="16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7" name="Rectangle 6">
            <a:extLst>
              <a:ext uri="{FF2B5EF4-FFF2-40B4-BE49-F238E27FC236}">
                <a16:creationId xmlns:a16="http://schemas.microsoft.com/office/drawing/2014/main" id="{431850F5-91E3-5AC8-CCFD-EA75B26DA5E3}"/>
              </a:ext>
            </a:extLst>
          </p:cNvPr>
          <p:cNvSpPr/>
          <p:nvPr/>
        </p:nvSpPr>
        <p:spPr bwMode="gray">
          <a:xfrm>
            <a:off x="4111596" y="4934650"/>
            <a:ext cx="1647825" cy="1008063"/>
          </a:xfrm>
          <a:prstGeom prst="rect">
            <a:avLst/>
          </a:prstGeom>
          <a:ln>
            <a:headEnd/>
            <a:tailEnd/>
          </a:ln>
        </p:spPr>
        <p:style>
          <a:lnRef idx="1">
            <a:schemeClr val="accent4"/>
          </a:lnRef>
          <a:fillRef idx="2">
            <a:schemeClr val="accent4"/>
          </a:fillRef>
          <a:effectRef idx="1">
            <a:schemeClr val="accent4"/>
          </a:effectRef>
          <a:fontRef idx="minor">
            <a:schemeClr val="dk1"/>
          </a:fontRef>
        </p:style>
        <p:txBody>
          <a:bodyPr lIns="90000" tIns="72000" rIns="90000" bIns="72000" rtlCol="0" anchor="ctr"/>
          <a:lstStyle/>
          <a:p>
            <a:pPr algn="ctr" defTabSz="914400" fontAlgn="base">
              <a:spcBef>
                <a:spcPct val="50000"/>
              </a:spcBef>
              <a:spcAft>
                <a:spcPct val="0"/>
              </a:spcAft>
              <a:buClr>
                <a:srgbClr val="F0AB00"/>
              </a:buClr>
              <a:buSzPct val="80000"/>
            </a:pPr>
            <a:r>
              <a:rPr lang="en-US" sz="1600" kern="0">
                <a:ea typeface="Arial Unicode MS"/>
                <a:cs typeface="Arial Unicode MS"/>
              </a:rPr>
              <a:t>Enterprise Event Enablement</a:t>
            </a:r>
            <a:endParaRPr lang="en-US" sz="1600" b="0" i="0" u="none" strike="noStrike" kern="0" cap="none" spc="0" normalizeH="0" baseline="0" noProof="0">
              <a:ln>
                <a:noFill/>
              </a:ln>
              <a:effectLst/>
              <a:uLnTx/>
              <a:uFillTx/>
              <a:ea typeface="Arial Unicode MS" pitchFamily="34" charset="-128"/>
              <a:cs typeface="Arial Unicode MS" pitchFamily="34" charset="-128"/>
            </a:endParaRPr>
          </a:p>
        </p:txBody>
      </p:sp>
      <p:sp>
        <p:nvSpPr>
          <p:cNvPr id="8" name="Rectangle 7">
            <a:extLst>
              <a:ext uri="{FF2B5EF4-FFF2-40B4-BE49-F238E27FC236}">
                <a16:creationId xmlns:a16="http://schemas.microsoft.com/office/drawing/2014/main" id="{A10CC75F-AD2C-40F8-7698-4E084D11FAB3}"/>
              </a:ext>
            </a:extLst>
          </p:cNvPr>
          <p:cNvSpPr/>
          <p:nvPr/>
        </p:nvSpPr>
        <p:spPr bwMode="gray">
          <a:xfrm>
            <a:off x="6261071" y="4934650"/>
            <a:ext cx="1647825" cy="1008063"/>
          </a:xfrm>
          <a:prstGeom prst="rect">
            <a:avLst/>
          </a:prstGeom>
          <a:ln>
            <a:headEnd/>
            <a:tailEnd/>
          </a:ln>
        </p:spPr>
        <p:style>
          <a:lnRef idx="1">
            <a:schemeClr val="accent3"/>
          </a:lnRef>
          <a:fillRef idx="3">
            <a:schemeClr val="accent3"/>
          </a:fillRef>
          <a:effectRef idx="2">
            <a:schemeClr val="accent3"/>
          </a:effectRef>
          <a:fontRef idx="minor">
            <a:schemeClr val="lt1"/>
          </a:fontRef>
        </p:style>
        <p:txBody>
          <a:bodyPr lIns="90000" tIns="72000" rIns="90000" bIns="72000" rtlCol="0" anchor="ctr"/>
          <a:lstStyle/>
          <a:p>
            <a:pPr algn="ctr" defTabSz="914400" fontAlgn="base">
              <a:spcBef>
                <a:spcPct val="50000"/>
              </a:spcBef>
              <a:spcAft>
                <a:spcPct val="0"/>
              </a:spcAft>
              <a:buClr>
                <a:srgbClr val="F0AB00"/>
              </a:buClr>
              <a:buSzPct val="80000"/>
            </a:pPr>
            <a:r>
              <a:rPr lang="en-US" sz="1600" kern="0" dirty="0">
                <a:ea typeface="Arial Unicode MS"/>
                <a:cs typeface="Arial Unicode MS"/>
              </a:rPr>
              <a:t>SAP Event *</a:t>
            </a:r>
            <a:endParaRPr kumimoji="0" lang="en-US" sz="16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9" name="Rectangle 8">
            <a:extLst>
              <a:ext uri="{FF2B5EF4-FFF2-40B4-BE49-F238E27FC236}">
                <a16:creationId xmlns:a16="http://schemas.microsoft.com/office/drawing/2014/main" id="{998E4B0A-738A-07EF-6E1E-37FFE8DC3DB0}"/>
              </a:ext>
            </a:extLst>
          </p:cNvPr>
          <p:cNvSpPr/>
          <p:nvPr/>
        </p:nvSpPr>
        <p:spPr bwMode="gray">
          <a:xfrm>
            <a:off x="8410546" y="4934650"/>
            <a:ext cx="1647825" cy="1008063"/>
          </a:xfrm>
          <a:prstGeom prst="rect">
            <a:avLst/>
          </a:prstGeom>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algn="ctr" defTabSz="914400" fontAlgn="base">
              <a:spcBef>
                <a:spcPct val="50000"/>
              </a:spcBef>
              <a:spcAft>
                <a:spcPct val="0"/>
              </a:spcAft>
              <a:buClr>
                <a:srgbClr val="F0AB00"/>
              </a:buClr>
              <a:buSzPct val="80000"/>
            </a:pPr>
            <a:r>
              <a:rPr lang="en-US" sz="1600" kern="0" dirty="0">
                <a:ea typeface="Arial Unicode MS"/>
                <a:cs typeface="Arial Unicode MS"/>
              </a:rPr>
              <a:t>External Producer</a:t>
            </a:r>
            <a:endParaRPr lang="en-US" sz="16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10" name="Arrow: Striped Right 9">
            <a:extLst>
              <a:ext uri="{FF2B5EF4-FFF2-40B4-BE49-F238E27FC236}">
                <a16:creationId xmlns:a16="http://schemas.microsoft.com/office/drawing/2014/main" id="{6A570AEB-FA18-F385-11DC-F81DF3403C96}"/>
              </a:ext>
            </a:extLst>
          </p:cNvPr>
          <p:cNvSpPr/>
          <p:nvPr/>
        </p:nvSpPr>
        <p:spPr bwMode="gray">
          <a:xfrm rot="10800000">
            <a:off x="5824844" y="5197236"/>
            <a:ext cx="392818" cy="484632"/>
          </a:xfrm>
          <a:prstGeom prst="stripedRightArrow">
            <a:avLst/>
          </a:prstGeom>
          <a:solidFill>
            <a:schemeClr val="bg1"/>
          </a:solidFill>
          <a:ln w="2540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err="1">
              <a:ln>
                <a:noFill/>
              </a:ln>
              <a:effectLst/>
              <a:uLnTx/>
              <a:uFillTx/>
              <a:ea typeface="Arial Unicode MS" pitchFamily="34" charset="-128"/>
              <a:cs typeface="Arial Unicode MS" pitchFamily="34" charset="-128"/>
            </a:endParaRPr>
          </a:p>
        </p:txBody>
      </p:sp>
      <p:sp>
        <p:nvSpPr>
          <p:cNvPr id="11" name="Arrow: Striped Right 10">
            <a:extLst>
              <a:ext uri="{FF2B5EF4-FFF2-40B4-BE49-F238E27FC236}">
                <a16:creationId xmlns:a16="http://schemas.microsoft.com/office/drawing/2014/main" id="{1B743298-8E4C-3BFA-6BC0-2BD1D71390AB}"/>
              </a:ext>
            </a:extLst>
          </p:cNvPr>
          <p:cNvSpPr/>
          <p:nvPr/>
        </p:nvSpPr>
        <p:spPr bwMode="gray">
          <a:xfrm rot="10800000">
            <a:off x="3668344" y="5197236"/>
            <a:ext cx="392818" cy="484632"/>
          </a:xfrm>
          <a:prstGeom prst="stripedRightArrow">
            <a:avLst/>
          </a:prstGeom>
          <a:noFill/>
          <a:ln w="2540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err="1">
              <a:ln>
                <a:noFill/>
              </a:ln>
              <a:effectLst/>
              <a:uLnTx/>
              <a:uFillTx/>
              <a:ea typeface="Arial Unicode MS" pitchFamily="34" charset="-128"/>
              <a:cs typeface="Arial Unicode MS" pitchFamily="34" charset="-128"/>
            </a:endParaRPr>
          </a:p>
        </p:txBody>
      </p:sp>
      <p:sp>
        <p:nvSpPr>
          <p:cNvPr id="12" name="Arrow: Striped Right 11">
            <a:extLst>
              <a:ext uri="{FF2B5EF4-FFF2-40B4-BE49-F238E27FC236}">
                <a16:creationId xmlns:a16="http://schemas.microsoft.com/office/drawing/2014/main" id="{FC84B4F7-3F0F-FFBB-AD9A-D6EF30CDCD67}"/>
              </a:ext>
            </a:extLst>
          </p:cNvPr>
          <p:cNvSpPr/>
          <p:nvPr/>
        </p:nvSpPr>
        <p:spPr bwMode="gray">
          <a:xfrm rot="10800000">
            <a:off x="7971940" y="5197235"/>
            <a:ext cx="392818" cy="484632"/>
          </a:xfrm>
          <a:prstGeom prst="stripedRightArrow">
            <a:avLst/>
          </a:prstGeom>
          <a:noFill/>
          <a:ln w="2540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err="1">
              <a:ln>
                <a:noFill/>
              </a:ln>
              <a:effectLst/>
              <a:uLnTx/>
              <a:uFillTx/>
              <a:ea typeface="Arial Unicode MS" pitchFamily="34" charset="-128"/>
              <a:cs typeface="Arial Unicode MS" pitchFamily="34" charset="-128"/>
            </a:endParaRPr>
          </a:p>
        </p:txBody>
      </p:sp>
      <p:sp>
        <p:nvSpPr>
          <p:cNvPr id="13" name="Rectangle 12">
            <a:extLst>
              <a:ext uri="{FF2B5EF4-FFF2-40B4-BE49-F238E27FC236}">
                <a16:creationId xmlns:a16="http://schemas.microsoft.com/office/drawing/2014/main" id="{A2CB8096-916D-3BD0-B5F7-9E25CEC4E580}"/>
              </a:ext>
            </a:extLst>
          </p:cNvPr>
          <p:cNvSpPr/>
          <p:nvPr/>
        </p:nvSpPr>
        <p:spPr bwMode="gray">
          <a:xfrm>
            <a:off x="2386380" y="5038512"/>
            <a:ext cx="1249493" cy="775055"/>
          </a:xfrm>
          <a:prstGeom prst="rect">
            <a:avLst/>
          </a:prstGeom>
          <a:ln>
            <a:headEnd/>
            <a:tailEnd/>
          </a:ln>
        </p:spPr>
        <p:style>
          <a:lnRef idx="1">
            <a:schemeClr val="accent5"/>
          </a:lnRef>
          <a:fillRef idx="2">
            <a:schemeClr val="accent5"/>
          </a:fillRef>
          <a:effectRef idx="1">
            <a:schemeClr val="accent5"/>
          </a:effectRef>
          <a:fontRef idx="minor">
            <a:schemeClr val="dk1"/>
          </a:fontRef>
        </p:style>
        <p:txBody>
          <a:bodyPr lIns="90000" tIns="72000" rIns="90000" bIns="72000" rtlCol="0" anchor="ctr"/>
          <a:lstStyle/>
          <a:p>
            <a:pPr algn="ctr" defTabSz="914400" fontAlgn="base">
              <a:spcBef>
                <a:spcPct val="50000"/>
              </a:spcBef>
              <a:spcAft>
                <a:spcPct val="0"/>
              </a:spcAft>
              <a:buClr>
                <a:srgbClr val="F0AB00"/>
              </a:buClr>
              <a:buSzPct val="80000"/>
            </a:pPr>
            <a:r>
              <a:rPr lang="en-US" sz="1600" kern="0" dirty="0">
                <a:ea typeface="Arial Unicode MS"/>
                <a:cs typeface="Arial Unicode MS" pitchFamily="34" charset="-128"/>
              </a:rPr>
              <a:t>Event Handler</a:t>
            </a:r>
            <a:endParaRPr lang="en-US" sz="16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14" name="Arrow: Striped Right 13">
            <a:extLst>
              <a:ext uri="{FF2B5EF4-FFF2-40B4-BE49-F238E27FC236}">
                <a16:creationId xmlns:a16="http://schemas.microsoft.com/office/drawing/2014/main" id="{A22D2D21-AE32-D477-0D74-7CDE51A3C17A}"/>
              </a:ext>
            </a:extLst>
          </p:cNvPr>
          <p:cNvSpPr/>
          <p:nvPr/>
        </p:nvSpPr>
        <p:spPr bwMode="gray">
          <a:xfrm rot="10800000">
            <a:off x="1950917" y="5157133"/>
            <a:ext cx="392818" cy="484632"/>
          </a:xfrm>
          <a:prstGeom prst="stripedRightArrow">
            <a:avLst/>
          </a:prstGeom>
          <a:noFill/>
          <a:ln w="2540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err="1">
              <a:ln>
                <a:noFill/>
              </a:ln>
              <a:effectLst/>
              <a:uLnTx/>
              <a:uFillTx/>
              <a:ea typeface="Arial Unicode MS" pitchFamily="34" charset="-128"/>
              <a:cs typeface="Arial Unicode MS" pitchFamily="34" charset="-128"/>
            </a:endParaRPr>
          </a:p>
        </p:txBody>
      </p:sp>
    </p:spTree>
    <p:extLst>
      <p:ext uri="{BB962C8B-B14F-4D97-AF65-F5344CB8AC3E}">
        <p14:creationId xmlns:p14="http://schemas.microsoft.com/office/powerpoint/2010/main" val="112182997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0E4679C-1AC7-E1C5-7095-38FC532559D6}"/>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E3B1744-F97F-3A3C-229F-6CEBC020A8C3}"/>
              </a:ext>
            </a:extLst>
          </p:cNvPr>
          <p:cNvSpPr>
            <a:spLocks noGrp="1"/>
          </p:cNvSpPr>
          <p:nvPr>
            <p:ph type="title"/>
          </p:nvPr>
        </p:nvSpPr>
        <p:spPr/>
        <p:txBody>
          <a:bodyPr/>
          <a:lstStyle/>
          <a:p>
            <a:r>
              <a:rPr lang="en-US" dirty="0"/>
              <a:t>S/4HANA Business Events: Local Event Handling</a:t>
            </a:r>
            <a:endParaRPr lang="en-DE" dirty="0"/>
          </a:p>
        </p:txBody>
      </p:sp>
      <p:sp>
        <p:nvSpPr>
          <p:cNvPr id="4" name="Rectangle 3">
            <a:extLst>
              <a:ext uri="{FF2B5EF4-FFF2-40B4-BE49-F238E27FC236}">
                <a16:creationId xmlns:a16="http://schemas.microsoft.com/office/drawing/2014/main" id="{C0E8EB6C-E6A6-C46B-A241-23165453BE4F}"/>
              </a:ext>
            </a:extLst>
          </p:cNvPr>
          <p:cNvSpPr/>
          <p:nvPr/>
        </p:nvSpPr>
        <p:spPr bwMode="gray">
          <a:xfrm>
            <a:off x="804306" y="1495830"/>
            <a:ext cx="5440731" cy="4712465"/>
          </a:xfrm>
          <a:prstGeom prst="rect">
            <a:avLst/>
          </a:prstGeom>
          <a:solidFill>
            <a:schemeClr val="bg1">
              <a:lumMod val="95000"/>
            </a:schemeClr>
          </a:solidFill>
          <a:ln>
            <a:headEnd/>
            <a:tailEnd/>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0000" tIns="72000" rIns="90000" bIns="72000" numCol="1" spcCol="0" rtlCol="0" fromWordArt="0" anchor="t" anchorCtr="0" forceAA="0" compatLnSpc="1">
            <a:prstTxWarp prst="textNoShape">
              <a:avLst/>
            </a:prstTxWarp>
            <a:noAutofit/>
          </a:bodyPr>
          <a:lstStyle/>
          <a:p>
            <a:pPr defTabSz="914400" fontAlgn="base">
              <a:spcBef>
                <a:spcPct val="50000"/>
              </a:spcBef>
              <a:spcAft>
                <a:spcPct val="0"/>
              </a:spcAft>
              <a:buClr>
                <a:srgbClr val="F0AB00"/>
              </a:buClr>
              <a:buSzPct val="80000"/>
            </a:pPr>
            <a:r>
              <a:rPr lang="en-US" sz="1200" b="1" kern="0" dirty="0">
                <a:ea typeface="Arial Unicode MS"/>
                <a:cs typeface="Arial Unicode MS"/>
              </a:rPr>
              <a:t>SAP S/4HANA</a:t>
            </a:r>
            <a:endParaRPr lang="en-US" sz="1200" b="1"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5" name="Rectangle 4">
            <a:extLst>
              <a:ext uri="{FF2B5EF4-FFF2-40B4-BE49-F238E27FC236}">
                <a16:creationId xmlns:a16="http://schemas.microsoft.com/office/drawing/2014/main" id="{9B3C2F6E-4F35-8938-37FA-6F17E40F65F0}"/>
              </a:ext>
            </a:extLst>
          </p:cNvPr>
          <p:cNvSpPr/>
          <p:nvPr/>
        </p:nvSpPr>
        <p:spPr bwMode="gray">
          <a:xfrm>
            <a:off x="1519126" y="1773373"/>
            <a:ext cx="2397427" cy="1008062"/>
          </a:xfrm>
          <a:prstGeom prst="rect">
            <a:avLst/>
          </a:prstGeom>
          <a:ln>
            <a:headEnd/>
            <a:tailEnd/>
          </a:ln>
        </p:spPr>
        <p:style>
          <a:lnRef idx="1">
            <a:schemeClr val="accent1"/>
          </a:lnRef>
          <a:fillRef idx="2">
            <a:schemeClr val="accent1"/>
          </a:fillRef>
          <a:effectRef idx="1">
            <a:schemeClr val="accent1"/>
          </a:effectRef>
          <a:fontRef idx="minor">
            <a:schemeClr val="dk1"/>
          </a:fontRef>
        </p:style>
        <p:txBody>
          <a:bodyPr lIns="90000" tIns="72000" rIns="90000" bIns="72000" rtlCol="0" anchor="ctr"/>
          <a:lstStyle/>
          <a:p>
            <a:pPr algn="r" defTabSz="914400" fontAlgn="base">
              <a:spcBef>
                <a:spcPct val="50000"/>
              </a:spcBef>
              <a:spcAft>
                <a:spcPct val="0"/>
              </a:spcAft>
              <a:buClr>
                <a:srgbClr val="F0AB00"/>
              </a:buClr>
              <a:buSzPct val="80000"/>
            </a:pPr>
            <a:r>
              <a:rPr lang="en-US" sz="1600" b="1" kern="0">
                <a:ea typeface="Arial Unicode MS"/>
                <a:cs typeface="Arial Unicode MS"/>
              </a:rPr>
              <a:t>RAP </a:t>
            </a:r>
            <a:endParaRPr kumimoji="0" lang="en-US" sz="1600" b="1" i="0" u="none" strike="noStrike" kern="0" cap="none" spc="0" normalizeH="0" baseline="0" noProof="0" err="1">
              <a:ln>
                <a:noFill/>
              </a:ln>
              <a:effectLst/>
              <a:uLnTx/>
              <a:uFillTx/>
              <a:ea typeface="Arial Unicode MS" pitchFamily="34" charset="-128"/>
              <a:cs typeface="Arial Unicode MS" pitchFamily="34" charset="-128"/>
            </a:endParaRPr>
          </a:p>
        </p:txBody>
      </p:sp>
      <p:sp>
        <p:nvSpPr>
          <p:cNvPr id="6" name="Rectangle 5">
            <a:extLst>
              <a:ext uri="{FF2B5EF4-FFF2-40B4-BE49-F238E27FC236}">
                <a16:creationId xmlns:a16="http://schemas.microsoft.com/office/drawing/2014/main" id="{C11F6D49-50B0-1703-EE2B-3D90407F5E71}"/>
              </a:ext>
            </a:extLst>
          </p:cNvPr>
          <p:cNvSpPr/>
          <p:nvPr/>
        </p:nvSpPr>
        <p:spPr bwMode="gray">
          <a:xfrm>
            <a:off x="1517667" y="1773372"/>
            <a:ext cx="1647825" cy="775055"/>
          </a:xfrm>
          <a:prstGeom prst="rect">
            <a:avLst/>
          </a:prstGeom>
          <a:ln>
            <a:headEnd/>
            <a:tailEnd/>
          </a:ln>
        </p:spPr>
        <p:style>
          <a:lnRef idx="1">
            <a:schemeClr val="accent3"/>
          </a:lnRef>
          <a:fillRef idx="2">
            <a:schemeClr val="accent3"/>
          </a:fillRef>
          <a:effectRef idx="1">
            <a:schemeClr val="accent3"/>
          </a:effectRef>
          <a:fontRef idx="minor">
            <a:schemeClr val="dk1"/>
          </a:fontRef>
        </p:style>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lang="en-US" sz="1600" kern="0">
                <a:ea typeface="Arial Unicode MS"/>
                <a:cs typeface="Arial Unicode MS"/>
              </a:rPr>
              <a:t>Application</a:t>
            </a:r>
            <a:endParaRPr kumimoji="0" lang="en-US" sz="1600" b="0" i="0" u="none" strike="noStrike" kern="0" cap="none" spc="0" normalizeH="0" baseline="0" noProof="0" err="1">
              <a:ln>
                <a:noFill/>
              </a:ln>
              <a:effectLst/>
              <a:uLnTx/>
              <a:uFillTx/>
              <a:ea typeface="Arial Unicode MS" pitchFamily="34" charset="-128"/>
              <a:cs typeface="Arial Unicode MS" pitchFamily="34" charset="-128"/>
            </a:endParaRPr>
          </a:p>
        </p:txBody>
      </p:sp>
      <p:sp>
        <p:nvSpPr>
          <p:cNvPr id="7" name="Rectangle 6">
            <a:extLst>
              <a:ext uri="{FF2B5EF4-FFF2-40B4-BE49-F238E27FC236}">
                <a16:creationId xmlns:a16="http://schemas.microsoft.com/office/drawing/2014/main" id="{A390B39E-D710-E9FE-2948-E91951A84DFB}"/>
              </a:ext>
            </a:extLst>
          </p:cNvPr>
          <p:cNvSpPr/>
          <p:nvPr/>
        </p:nvSpPr>
        <p:spPr bwMode="gray">
          <a:xfrm>
            <a:off x="4411903" y="1773372"/>
            <a:ext cx="1647825" cy="1008063"/>
          </a:xfrm>
          <a:prstGeom prst="rect">
            <a:avLst/>
          </a:prstGeom>
          <a:ln>
            <a:headEnd/>
            <a:tailEnd/>
          </a:ln>
        </p:spPr>
        <p:style>
          <a:lnRef idx="1">
            <a:schemeClr val="accent4"/>
          </a:lnRef>
          <a:fillRef idx="2">
            <a:schemeClr val="accent4"/>
          </a:fillRef>
          <a:effectRef idx="1">
            <a:schemeClr val="accent4"/>
          </a:effectRef>
          <a:fontRef idx="minor">
            <a:schemeClr val="dk1"/>
          </a:fontRef>
        </p:style>
        <p:txBody>
          <a:bodyPr lIns="90000" tIns="72000" rIns="90000" bIns="72000" rtlCol="0" anchor="ctr"/>
          <a:lstStyle/>
          <a:p>
            <a:pPr algn="ctr" defTabSz="914400" fontAlgn="base">
              <a:spcBef>
                <a:spcPct val="50000"/>
              </a:spcBef>
              <a:spcAft>
                <a:spcPct val="0"/>
              </a:spcAft>
              <a:buClr>
                <a:srgbClr val="F0AB00"/>
              </a:buClr>
              <a:buSzPct val="80000"/>
            </a:pPr>
            <a:r>
              <a:rPr lang="en-US" sz="1600" kern="0">
                <a:ea typeface="Arial Unicode MS"/>
                <a:cs typeface="Arial Unicode MS"/>
              </a:rPr>
              <a:t>Enterprise Event Enablement</a:t>
            </a:r>
            <a:endParaRPr lang="en-US" sz="1600" b="0" i="0" u="none" strike="noStrike" kern="0" cap="none" spc="0" normalizeH="0" baseline="0" noProof="0">
              <a:ln>
                <a:noFill/>
              </a:ln>
              <a:effectLst/>
              <a:uLnTx/>
              <a:uFillTx/>
              <a:ea typeface="Arial Unicode MS" pitchFamily="34" charset="-128"/>
              <a:cs typeface="Arial Unicode MS" pitchFamily="34" charset="-128"/>
            </a:endParaRPr>
          </a:p>
        </p:txBody>
      </p:sp>
      <p:sp>
        <p:nvSpPr>
          <p:cNvPr id="8" name="Rectangle 7">
            <a:extLst>
              <a:ext uri="{FF2B5EF4-FFF2-40B4-BE49-F238E27FC236}">
                <a16:creationId xmlns:a16="http://schemas.microsoft.com/office/drawing/2014/main" id="{C9C9F9BE-95E1-91D2-1A0A-70929FEC5216}"/>
              </a:ext>
            </a:extLst>
          </p:cNvPr>
          <p:cNvSpPr/>
          <p:nvPr/>
        </p:nvSpPr>
        <p:spPr bwMode="gray">
          <a:xfrm>
            <a:off x="6561378" y="1773372"/>
            <a:ext cx="1647825" cy="1008063"/>
          </a:xfrm>
          <a:prstGeom prst="rect">
            <a:avLst/>
          </a:prstGeom>
          <a:ln>
            <a:headEnd/>
            <a:tailEnd/>
          </a:ln>
        </p:spPr>
        <p:style>
          <a:lnRef idx="1">
            <a:schemeClr val="accent3"/>
          </a:lnRef>
          <a:fillRef idx="3">
            <a:schemeClr val="accent3"/>
          </a:fillRef>
          <a:effectRef idx="2">
            <a:schemeClr val="accent3"/>
          </a:effectRef>
          <a:fontRef idx="minor">
            <a:schemeClr val="lt1"/>
          </a:fontRef>
        </p:style>
        <p:txBody>
          <a:bodyPr lIns="90000" tIns="72000" rIns="90000" bIns="72000" rtlCol="0" anchor="ctr"/>
          <a:lstStyle/>
          <a:p>
            <a:pPr algn="ctr" defTabSz="914400" fontAlgn="base">
              <a:spcBef>
                <a:spcPct val="50000"/>
              </a:spcBef>
              <a:spcAft>
                <a:spcPct val="0"/>
              </a:spcAft>
              <a:buClr>
                <a:srgbClr val="F0AB00"/>
              </a:buClr>
              <a:buSzPct val="80000"/>
            </a:pPr>
            <a:r>
              <a:rPr lang="en-US" sz="1600" kern="0" dirty="0">
                <a:ea typeface="Arial Unicode MS"/>
                <a:cs typeface="Arial Unicode MS"/>
              </a:rPr>
              <a:t>SAP Event *</a:t>
            </a:r>
            <a:endParaRPr kumimoji="0" lang="en-US" sz="16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9" name="Rectangle 8">
            <a:extLst>
              <a:ext uri="{FF2B5EF4-FFF2-40B4-BE49-F238E27FC236}">
                <a16:creationId xmlns:a16="http://schemas.microsoft.com/office/drawing/2014/main" id="{8D02C023-F37B-46FE-BCE3-E880C53635A7}"/>
              </a:ext>
            </a:extLst>
          </p:cNvPr>
          <p:cNvSpPr/>
          <p:nvPr/>
        </p:nvSpPr>
        <p:spPr bwMode="gray">
          <a:xfrm>
            <a:off x="8710853" y="1773372"/>
            <a:ext cx="1647825" cy="1008063"/>
          </a:xfrm>
          <a:prstGeom prst="rect">
            <a:avLst/>
          </a:prstGeom>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algn="ctr" defTabSz="914400" fontAlgn="base">
              <a:spcBef>
                <a:spcPct val="50000"/>
              </a:spcBef>
              <a:spcAft>
                <a:spcPct val="0"/>
              </a:spcAft>
              <a:buClr>
                <a:srgbClr val="F0AB00"/>
              </a:buClr>
              <a:buSzPct val="80000"/>
            </a:pPr>
            <a:r>
              <a:rPr lang="en-US" sz="1600" kern="0">
                <a:ea typeface="Arial Unicode MS"/>
                <a:cs typeface="Arial Unicode MS"/>
              </a:rPr>
              <a:t>Consumer</a:t>
            </a:r>
            <a:endParaRPr lang="en-US" sz="1600" b="0" i="0" u="none" strike="noStrike" kern="0" cap="none" spc="0" normalizeH="0" baseline="0" noProof="0">
              <a:ln>
                <a:noFill/>
              </a:ln>
              <a:effectLst/>
              <a:uLnTx/>
              <a:uFillTx/>
              <a:ea typeface="Arial Unicode MS" pitchFamily="34" charset="-128"/>
              <a:cs typeface="Arial Unicode MS" pitchFamily="34" charset="-128"/>
            </a:endParaRPr>
          </a:p>
        </p:txBody>
      </p:sp>
      <p:sp>
        <p:nvSpPr>
          <p:cNvPr id="10" name="Arrow: Striped Right 9">
            <a:extLst>
              <a:ext uri="{FF2B5EF4-FFF2-40B4-BE49-F238E27FC236}">
                <a16:creationId xmlns:a16="http://schemas.microsoft.com/office/drawing/2014/main" id="{1197D8C2-4839-FEA5-21DC-486EECA226AB}"/>
              </a:ext>
            </a:extLst>
          </p:cNvPr>
          <p:cNvSpPr/>
          <p:nvPr/>
        </p:nvSpPr>
        <p:spPr bwMode="gray">
          <a:xfrm>
            <a:off x="6125151" y="2035958"/>
            <a:ext cx="392818" cy="484632"/>
          </a:xfrm>
          <a:prstGeom prst="stripedRightArrow">
            <a:avLst/>
          </a:prstGeom>
          <a:solidFill>
            <a:schemeClr val="bg1"/>
          </a:solidFill>
          <a:ln w="2540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err="1">
              <a:ln>
                <a:noFill/>
              </a:ln>
              <a:effectLst/>
              <a:uLnTx/>
              <a:uFillTx/>
              <a:ea typeface="Arial Unicode MS" pitchFamily="34" charset="-128"/>
              <a:cs typeface="Arial Unicode MS" pitchFamily="34" charset="-128"/>
            </a:endParaRPr>
          </a:p>
        </p:txBody>
      </p:sp>
      <p:sp>
        <p:nvSpPr>
          <p:cNvPr id="11" name="Arrow: Striped Right 10">
            <a:extLst>
              <a:ext uri="{FF2B5EF4-FFF2-40B4-BE49-F238E27FC236}">
                <a16:creationId xmlns:a16="http://schemas.microsoft.com/office/drawing/2014/main" id="{4E8A5915-FC67-BF88-19B4-572770555DFB}"/>
              </a:ext>
            </a:extLst>
          </p:cNvPr>
          <p:cNvSpPr/>
          <p:nvPr/>
        </p:nvSpPr>
        <p:spPr bwMode="gray">
          <a:xfrm>
            <a:off x="3968651" y="2035958"/>
            <a:ext cx="392818" cy="484632"/>
          </a:xfrm>
          <a:prstGeom prst="stripedRightArrow">
            <a:avLst/>
          </a:prstGeom>
          <a:noFill/>
          <a:ln w="2540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err="1">
              <a:ln>
                <a:noFill/>
              </a:ln>
              <a:effectLst/>
              <a:uLnTx/>
              <a:uFillTx/>
              <a:ea typeface="Arial Unicode MS" pitchFamily="34" charset="-128"/>
              <a:cs typeface="Arial Unicode MS" pitchFamily="34" charset="-128"/>
            </a:endParaRPr>
          </a:p>
        </p:txBody>
      </p:sp>
      <p:sp>
        <p:nvSpPr>
          <p:cNvPr id="12" name="Arrow: Striped Right 11">
            <a:extLst>
              <a:ext uri="{FF2B5EF4-FFF2-40B4-BE49-F238E27FC236}">
                <a16:creationId xmlns:a16="http://schemas.microsoft.com/office/drawing/2014/main" id="{C7E93F0F-2890-E450-1E5B-4C7800F41A93}"/>
              </a:ext>
            </a:extLst>
          </p:cNvPr>
          <p:cNvSpPr/>
          <p:nvPr/>
        </p:nvSpPr>
        <p:spPr bwMode="gray">
          <a:xfrm>
            <a:off x="8272247" y="2035957"/>
            <a:ext cx="392818" cy="484632"/>
          </a:xfrm>
          <a:prstGeom prst="stripedRightArrow">
            <a:avLst/>
          </a:prstGeom>
          <a:noFill/>
          <a:ln w="2540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err="1">
              <a:ln>
                <a:noFill/>
              </a:ln>
              <a:effectLst/>
              <a:uLnTx/>
              <a:uFillTx/>
              <a:ea typeface="Arial Unicode MS" pitchFamily="34" charset="-128"/>
              <a:cs typeface="Arial Unicode MS" pitchFamily="34" charset="-128"/>
            </a:endParaRPr>
          </a:p>
        </p:txBody>
      </p:sp>
      <p:sp>
        <p:nvSpPr>
          <p:cNvPr id="13" name="Rectangle 12">
            <a:extLst>
              <a:ext uri="{FF2B5EF4-FFF2-40B4-BE49-F238E27FC236}">
                <a16:creationId xmlns:a16="http://schemas.microsoft.com/office/drawing/2014/main" id="{76342821-9A08-6651-78FE-5859C227F4E4}"/>
              </a:ext>
            </a:extLst>
          </p:cNvPr>
          <p:cNvSpPr/>
          <p:nvPr/>
        </p:nvSpPr>
        <p:spPr bwMode="gray">
          <a:xfrm>
            <a:off x="2268728" y="3371163"/>
            <a:ext cx="1647825" cy="1008063"/>
          </a:xfrm>
          <a:prstGeom prst="rect">
            <a:avLst/>
          </a:prstGeom>
          <a:ln>
            <a:headEnd/>
            <a:tailEnd/>
          </a:ln>
        </p:spPr>
        <p:style>
          <a:lnRef idx="0">
            <a:schemeClr val="accent4"/>
          </a:lnRef>
          <a:fillRef idx="3">
            <a:schemeClr val="accent4"/>
          </a:fillRef>
          <a:effectRef idx="3">
            <a:schemeClr val="accent4"/>
          </a:effectRef>
          <a:fontRef idx="minor">
            <a:schemeClr val="lt1"/>
          </a:fontRef>
        </p:style>
        <p:txBody>
          <a:bodyPr lIns="90000" tIns="72000" rIns="90000" bIns="72000" rtlCol="0" anchor="ctr"/>
          <a:lstStyle/>
          <a:p>
            <a:pPr algn="ctr" defTabSz="914400" fontAlgn="base">
              <a:spcBef>
                <a:spcPct val="50000"/>
              </a:spcBef>
              <a:spcAft>
                <a:spcPct val="0"/>
              </a:spcAft>
              <a:buClr>
                <a:srgbClr val="F0AB00"/>
              </a:buClr>
              <a:buSzPct val="80000"/>
            </a:pPr>
            <a:r>
              <a:rPr lang="en-US" sz="1600" kern="0" dirty="0">
                <a:ea typeface="Arial Unicode MS"/>
                <a:cs typeface="Arial Unicode MS"/>
              </a:rPr>
              <a:t>Local Event Handling</a:t>
            </a:r>
            <a:endParaRPr lang="en-US" sz="16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14" name="Arrow: Striped Right 13">
            <a:extLst>
              <a:ext uri="{FF2B5EF4-FFF2-40B4-BE49-F238E27FC236}">
                <a16:creationId xmlns:a16="http://schemas.microsoft.com/office/drawing/2014/main" id="{DAE81D2E-43EC-8142-CFDB-A4782888CEAC}"/>
              </a:ext>
            </a:extLst>
          </p:cNvPr>
          <p:cNvSpPr/>
          <p:nvPr/>
        </p:nvSpPr>
        <p:spPr bwMode="gray">
          <a:xfrm rot="5400000">
            <a:off x="3390282" y="2871436"/>
            <a:ext cx="392818" cy="484632"/>
          </a:xfrm>
          <a:prstGeom prst="stripedRightArrow">
            <a:avLst/>
          </a:prstGeom>
          <a:solidFill>
            <a:schemeClr val="bg1"/>
          </a:solidFill>
          <a:ln w="2540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err="1">
              <a:ln>
                <a:noFill/>
              </a:ln>
              <a:effectLst/>
              <a:uLnTx/>
              <a:uFillTx/>
              <a:ea typeface="Arial Unicode MS" pitchFamily="34" charset="-128"/>
              <a:cs typeface="Arial Unicode MS" pitchFamily="34" charset="-128"/>
            </a:endParaRPr>
          </a:p>
        </p:txBody>
      </p:sp>
      <p:sp>
        <p:nvSpPr>
          <p:cNvPr id="15" name="Rectangle 14">
            <a:extLst>
              <a:ext uri="{FF2B5EF4-FFF2-40B4-BE49-F238E27FC236}">
                <a16:creationId xmlns:a16="http://schemas.microsoft.com/office/drawing/2014/main" id="{24101DB5-9213-8CD8-12F8-C4D2F68A5C5A}"/>
              </a:ext>
            </a:extLst>
          </p:cNvPr>
          <p:cNvSpPr/>
          <p:nvPr/>
        </p:nvSpPr>
        <p:spPr bwMode="gray">
          <a:xfrm>
            <a:off x="2181182" y="4940386"/>
            <a:ext cx="1647825" cy="1008063"/>
          </a:xfrm>
          <a:prstGeom prst="rect">
            <a:avLst/>
          </a:prstGeom>
          <a:ln>
            <a:headEnd/>
            <a:tailEnd/>
          </a:ln>
        </p:spPr>
        <p:style>
          <a:lnRef idx="1">
            <a:schemeClr val="accent5"/>
          </a:lnRef>
          <a:fillRef idx="2">
            <a:schemeClr val="accent5"/>
          </a:fillRef>
          <a:effectRef idx="1">
            <a:schemeClr val="accent5"/>
          </a:effectRef>
          <a:fontRef idx="minor">
            <a:schemeClr val="dk1"/>
          </a:fontRef>
        </p:style>
        <p:txBody>
          <a:bodyPr lIns="90000" tIns="72000" rIns="90000" bIns="72000" rtlCol="0" anchor="ctr"/>
          <a:lstStyle/>
          <a:p>
            <a:pPr algn="ctr" defTabSz="914400" fontAlgn="base">
              <a:spcBef>
                <a:spcPct val="50000"/>
              </a:spcBef>
              <a:spcAft>
                <a:spcPct val="0"/>
              </a:spcAft>
              <a:buClr>
                <a:srgbClr val="F0AB00"/>
              </a:buClr>
              <a:buSzPct val="80000"/>
            </a:pPr>
            <a:r>
              <a:rPr lang="en-US" sz="1600" kern="0" dirty="0">
                <a:ea typeface="Arial Unicode MS"/>
              </a:rPr>
              <a:t>Local Consumer (ABAP </a:t>
            </a:r>
            <a:r>
              <a:rPr lang="en-US" sz="1600" kern="0">
                <a:ea typeface="Arial Unicode MS"/>
              </a:rPr>
              <a:t>Cloud)</a:t>
            </a:r>
            <a:endParaRPr lang="en-US" sz="1600" kern="0" dirty="0">
              <a:ea typeface="Arial Unicode MS"/>
            </a:endParaRPr>
          </a:p>
        </p:txBody>
      </p:sp>
      <p:sp>
        <p:nvSpPr>
          <p:cNvPr id="16" name="Rectangle 15">
            <a:extLst>
              <a:ext uri="{FF2B5EF4-FFF2-40B4-BE49-F238E27FC236}">
                <a16:creationId xmlns:a16="http://schemas.microsoft.com/office/drawing/2014/main" id="{74DE92D5-A3B1-68A5-49C0-CA7B70B311B0}"/>
              </a:ext>
            </a:extLst>
          </p:cNvPr>
          <p:cNvSpPr/>
          <p:nvPr/>
        </p:nvSpPr>
        <p:spPr bwMode="gray">
          <a:xfrm>
            <a:off x="2044716" y="5079157"/>
            <a:ext cx="1647825" cy="1008063"/>
          </a:xfrm>
          <a:prstGeom prst="rect">
            <a:avLst/>
          </a:prstGeom>
          <a:ln>
            <a:headEnd/>
            <a:tailEnd/>
          </a:ln>
        </p:spPr>
        <p:style>
          <a:lnRef idx="1">
            <a:schemeClr val="accent5"/>
          </a:lnRef>
          <a:fillRef idx="2">
            <a:schemeClr val="accent5"/>
          </a:fillRef>
          <a:effectRef idx="1">
            <a:schemeClr val="accent5"/>
          </a:effectRef>
          <a:fontRef idx="minor">
            <a:schemeClr val="dk1"/>
          </a:fontRef>
        </p:style>
        <p:txBody>
          <a:bodyPr lIns="90000" tIns="72000" rIns="90000" bIns="72000" rtlCol="0" anchor="ctr"/>
          <a:lstStyle/>
          <a:p>
            <a:pPr algn="ctr" defTabSz="914400" fontAlgn="base">
              <a:spcBef>
                <a:spcPct val="50000"/>
              </a:spcBef>
              <a:spcAft>
                <a:spcPct val="0"/>
              </a:spcAft>
              <a:buClr>
                <a:srgbClr val="F0AB00"/>
              </a:buClr>
              <a:buSzPct val="80000"/>
            </a:pPr>
            <a:r>
              <a:rPr lang="en-US" sz="1600" kern="0" dirty="0">
                <a:ea typeface="Arial Unicode MS"/>
              </a:rPr>
              <a:t>Local Consumer (ABAP </a:t>
            </a:r>
            <a:r>
              <a:rPr lang="en-US" sz="1600" kern="0">
                <a:ea typeface="Arial Unicode MS"/>
              </a:rPr>
              <a:t>Cloud)</a:t>
            </a:r>
            <a:endParaRPr lang="en-US" sz="1600" kern="0" dirty="0">
              <a:ea typeface="Arial Unicode MS"/>
            </a:endParaRPr>
          </a:p>
        </p:txBody>
      </p:sp>
      <p:sp>
        <p:nvSpPr>
          <p:cNvPr id="17" name="Arrow: Striped Right 16">
            <a:extLst>
              <a:ext uri="{FF2B5EF4-FFF2-40B4-BE49-F238E27FC236}">
                <a16:creationId xmlns:a16="http://schemas.microsoft.com/office/drawing/2014/main" id="{5C30718D-7220-B435-F894-F59526DE4AC9}"/>
              </a:ext>
            </a:extLst>
          </p:cNvPr>
          <p:cNvSpPr/>
          <p:nvPr/>
        </p:nvSpPr>
        <p:spPr bwMode="gray">
          <a:xfrm rot="5400000">
            <a:off x="3390282" y="4394321"/>
            <a:ext cx="392818" cy="484632"/>
          </a:xfrm>
          <a:prstGeom prst="stripedRightArrow">
            <a:avLst/>
          </a:prstGeom>
          <a:solidFill>
            <a:schemeClr val="bg1"/>
          </a:solidFill>
          <a:ln w="2540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err="1">
              <a:ln>
                <a:noFill/>
              </a:ln>
              <a:effectLst/>
              <a:uLnTx/>
              <a:uFillTx/>
              <a:ea typeface="Arial Unicode MS" pitchFamily="34" charset="-128"/>
              <a:cs typeface="Arial Unicode MS" pitchFamily="34" charset="-128"/>
            </a:endParaRPr>
          </a:p>
        </p:txBody>
      </p:sp>
      <p:sp>
        <p:nvSpPr>
          <p:cNvPr id="18" name="Arrow: Bent-Up 17">
            <a:extLst>
              <a:ext uri="{FF2B5EF4-FFF2-40B4-BE49-F238E27FC236}">
                <a16:creationId xmlns:a16="http://schemas.microsoft.com/office/drawing/2014/main" id="{D4EB556F-AA72-14B6-E511-885A73D22A93}"/>
              </a:ext>
            </a:extLst>
          </p:cNvPr>
          <p:cNvSpPr/>
          <p:nvPr/>
        </p:nvSpPr>
        <p:spPr bwMode="gray">
          <a:xfrm>
            <a:off x="4271993" y="3044456"/>
            <a:ext cx="1387535" cy="2537392"/>
          </a:xfrm>
          <a:prstGeom prst="bentUpArrow">
            <a:avLst/>
          </a:prstGeom>
          <a:noFill/>
          <a:ln w="25400" algn="ctr">
            <a:solidFill>
              <a:schemeClr val="bg1">
                <a:lumMod val="65000"/>
              </a:schemeClr>
            </a:solidFill>
            <a:prstDash val="sysDash"/>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200" b="0" i="0" u="none" strike="noStrike" kern="0" cap="none" spc="0" normalizeH="0" baseline="0" noProof="0" dirty="0">
                <a:ln>
                  <a:noFill/>
                </a:ln>
                <a:solidFill>
                  <a:schemeClr val="bg2">
                    <a:lumMod val="75000"/>
                  </a:schemeClr>
                </a:solidFill>
                <a:effectLst/>
                <a:uLnTx/>
                <a:uFillTx/>
                <a:ea typeface="Arial Unicode MS" pitchFamily="34" charset="-128"/>
                <a:cs typeface="Arial Unicode MS" pitchFamily="34" charset="-128"/>
              </a:rPr>
              <a:t>Custom Event</a:t>
            </a:r>
            <a:endParaRPr kumimoji="0" lang="en-DE" sz="1200" b="0" i="0" u="none" strike="noStrike" kern="0" cap="none" spc="0" normalizeH="0" baseline="0" noProof="0" dirty="0" err="1">
              <a:ln>
                <a:noFill/>
              </a:ln>
              <a:solidFill>
                <a:schemeClr val="bg2">
                  <a:lumMod val="75000"/>
                </a:schemeClr>
              </a:solidFill>
              <a:effectLst/>
              <a:uLnTx/>
              <a:uFillTx/>
              <a:ea typeface="Arial Unicode MS" pitchFamily="34" charset="-128"/>
              <a:cs typeface="Arial Unicode MS" pitchFamily="34" charset="-128"/>
            </a:endParaRPr>
          </a:p>
        </p:txBody>
      </p:sp>
      <p:sp>
        <p:nvSpPr>
          <p:cNvPr id="19" name="TextBox 18">
            <a:extLst>
              <a:ext uri="{FF2B5EF4-FFF2-40B4-BE49-F238E27FC236}">
                <a16:creationId xmlns:a16="http://schemas.microsoft.com/office/drawing/2014/main" id="{F6E5D231-DAB8-C5CE-15A4-265198E5D2C6}"/>
              </a:ext>
            </a:extLst>
          </p:cNvPr>
          <p:cNvSpPr txBox="1"/>
          <p:nvPr/>
        </p:nvSpPr>
        <p:spPr>
          <a:xfrm>
            <a:off x="7513460" y="4040139"/>
            <a:ext cx="4042610" cy="1800493"/>
          </a:xfrm>
          <a:prstGeom prst="rect">
            <a:avLst/>
          </a:prstGeom>
          <a:solidFill>
            <a:schemeClr val="bg1">
              <a:lumMod val="85000"/>
            </a:schemeClr>
          </a:solidFill>
        </p:spPr>
        <p:txBody>
          <a:bodyPr wrap="square" lIns="0" tIns="0" rIns="0" bIns="0" rtlCol="0">
            <a:spAutoFit/>
          </a:bodyPr>
          <a:lstStyle/>
          <a:p>
            <a:pPr fontAlgn="base">
              <a:spcBef>
                <a:spcPct val="50000"/>
              </a:spcBef>
              <a:spcAft>
                <a:spcPct val="0"/>
              </a:spcAft>
              <a:buClr>
                <a:srgbClr val="F0AB00"/>
              </a:buClr>
              <a:buSzPct val="80000"/>
            </a:pPr>
            <a:r>
              <a:rPr lang="en-US" sz="1800" kern="0" dirty="0">
                <a:ea typeface="Arial Unicode MS" pitchFamily="34" charset="-128"/>
                <a:cs typeface="Arial Unicode MS" pitchFamily="34" charset="-128"/>
              </a:rPr>
              <a:t>Available from 2023/2308</a:t>
            </a:r>
          </a:p>
          <a:p>
            <a:pPr fontAlgn="base">
              <a:spcBef>
                <a:spcPct val="50000"/>
              </a:spcBef>
              <a:spcAft>
                <a:spcPct val="0"/>
              </a:spcAft>
              <a:buClr>
                <a:srgbClr val="F0AB00"/>
              </a:buClr>
              <a:buSzPct val="80000"/>
            </a:pPr>
            <a:r>
              <a:rPr lang="en-US" sz="1800" kern="0" dirty="0">
                <a:ea typeface="Arial Unicode MS" pitchFamily="34" charset="-128"/>
                <a:cs typeface="Arial Unicode MS" pitchFamily="34" charset="-128"/>
              </a:rPr>
              <a:t>Leverages all existing RAP events</a:t>
            </a:r>
          </a:p>
          <a:p>
            <a:pPr fontAlgn="base">
              <a:spcBef>
                <a:spcPct val="50000"/>
              </a:spcBef>
              <a:spcAft>
                <a:spcPct val="0"/>
              </a:spcAft>
              <a:buClr>
                <a:srgbClr val="F0AB00"/>
              </a:buClr>
              <a:buSzPct val="80000"/>
            </a:pPr>
            <a:r>
              <a:rPr lang="en-US" sz="1800" kern="0" dirty="0">
                <a:ea typeface="Arial Unicode MS" pitchFamily="34" charset="-128"/>
                <a:cs typeface="Arial Unicode MS" pitchFamily="34" charset="-128"/>
              </a:rPr>
              <a:t>Local ABAP implementation</a:t>
            </a:r>
          </a:p>
          <a:p>
            <a:pPr fontAlgn="base">
              <a:spcBef>
                <a:spcPct val="50000"/>
              </a:spcBef>
              <a:spcAft>
                <a:spcPct val="0"/>
              </a:spcAft>
              <a:buClr>
                <a:srgbClr val="F0AB00"/>
              </a:buClr>
              <a:buSzPct val="80000"/>
            </a:pPr>
            <a:r>
              <a:rPr lang="en-US" sz="1800" kern="0" dirty="0">
                <a:ea typeface="Arial Unicode MS" pitchFamily="34" charset="-128"/>
                <a:cs typeface="Arial Unicode MS" pitchFamily="34" charset="-128"/>
              </a:rPr>
              <a:t>Can be used to send “own event” based on standard event</a:t>
            </a:r>
            <a:endParaRPr lang="en-DE" sz="1800" kern="0" dirty="0" err="1">
              <a:ea typeface="Arial Unicode MS" pitchFamily="34" charset="-128"/>
              <a:cs typeface="Arial Unicode MS" pitchFamily="34" charset="-128"/>
            </a:endParaRPr>
          </a:p>
        </p:txBody>
      </p:sp>
      <p:sp>
        <p:nvSpPr>
          <p:cNvPr id="20" name="Alternative Process 19">
            <a:extLst>
              <a:ext uri="{FF2B5EF4-FFF2-40B4-BE49-F238E27FC236}">
                <a16:creationId xmlns:a16="http://schemas.microsoft.com/office/drawing/2014/main" id="{CBFD3756-79AC-CDDC-77A3-F82D807AAC64}"/>
              </a:ext>
            </a:extLst>
          </p:cNvPr>
          <p:cNvSpPr/>
          <p:nvPr/>
        </p:nvSpPr>
        <p:spPr bwMode="gray">
          <a:xfrm>
            <a:off x="9908246" y="382342"/>
            <a:ext cx="1647824" cy="612648"/>
          </a:xfrm>
          <a:prstGeom prst="flowChartAlternateProcess">
            <a:avLst/>
          </a:prstGeom>
          <a:noFill/>
          <a:ln w="38100" algn="ctr">
            <a:solidFill>
              <a:srgbClr val="FF0000"/>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DE" sz="1800" b="0" i="0" u="none" strike="noStrike" kern="0" cap="none" spc="0" normalizeH="0" baseline="0" noProof="0" dirty="0">
                <a:ln>
                  <a:noFill/>
                </a:ln>
                <a:solidFill>
                  <a:srgbClr val="FF0000"/>
                </a:solidFill>
                <a:effectLst/>
                <a:uLnTx/>
                <a:uFillTx/>
                <a:latin typeface="+mn-lt"/>
                <a:ea typeface="72 Brand" pitchFamily="34" charset="-128"/>
                <a:cs typeface="72 Brand" pitchFamily="34" charset="-128"/>
              </a:rPr>
              <a:t>2023</a:t>
            </a:r>
          </a:p>
        </p:txBody>
      </p:sp>
    </p:spTree>
    <p:extLst>
      <p:ext uri="{BB962C8B-B14F-4D97-AF65-F5344CB8AC3E}">
        <p14:creationId xmlns:p14="http://schemas.microsoft.com/office/powerpoint/2010/main" val="252496014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841AF2EE-74FC-472C-8B32-F66FA8FA3B32}"/>
              </a:ext>
            </a:extLst>
          </p:cNvPr>
          <p:cNvSpPr/>
          <p:nvPr/>
        </p:nvSpPr>
        <p:spPr bwMode="gray">
          <a:xfrm>
            <a:off x="0" y="-64967"/>
            <a:ext cx="3492965" cy="6846905"/>
          </a:xfrm>
          <a:prstGeom prst="rect">
            <a:avLst/>
          </a:prstGeom>
          <a:solidFill>
            <a:schemeClr val="accent3"/>
          </a:solidFill>
          <a:ln w="25400" algn="ctr">
            <a:solidFill>
              <a:schemeClr val="accent4"/>
            </a:solidFill>
            <a:miter lim="800000"/>
            <a:headEnd/>
            <a:tailEnd/>
          </a:ln>
        </p:spPr>
        <p:txBody>
          <a:bodyPr lIns="89854" tIns="71884" rIns="89854" bIns="71884" rtlCol="0" anchor="ctr"/>
          <a:lstStyle/>
          <a:p>
            <a:pPr algn="ctr" defTabSz="912937" fontAlgn="base">
              <a:spcBef>
                <a:spcPct val="50000"/>
              </a:spcBef>
              <a:spcAft>
                <a:spcPct val="0"/>
              </a:spcAft>
              <a:buClr>
                <a:srgbClr val="F0AB00"/>
              </a:buClr>
              <a:buSzPct val="80000"/>
            </a:pPr>
            <a:endParaRPr lang="de-DE" sz="1797" kern="0">
              <a:solidFill>
                <a:srgbClr val="000000"/>
              </a:solidFill>
              <a:ea typeface="Arial Unicode MS" pitchFamily="34" charset="-128"/>
              <a:cs typeface="Arial Unicode MS" pitchFamily="34" charset="-128"/>
            </a:endParaRPr>
          </a:p>
        </p:txBody>
      </p:sp>
      <p:sp>
        <p:nvSpPr>
          <p:cNvPr id="4" name="Title"/>
          <p:cNvSpPr>
            <a:spLocks noGrp="1"/>
          </p:cNvSpPr>
          <p:nvPr>
            <p:ph type="title"/>
          </p:nvPr>
        </p:nvSpPr>
        <p:spPr bwMode="gray">
          <a:xfrm>
            <a:off x="234528" y="454570"/>
            <a:ext cx="3217173" cy="3978012"/>
          </a:xfrm>
        </p:spPr>
        <p:txBody>
          <a:bodyPr/>
          <a:lstStyle/>
          <a:p>
            <a:pPr lvl="0"/>
            <a:r>
              <a:rPr lang="en-US" sz="3200" dirty="0">
                <a:solidFill>
                  <a:schemeClr val="bg1"/>
                </a:solidFill>
              </a:rPr>
              <a:t>Exercise Flow</a:t>
            </a:r>
            <a:br>
              <a:rPr lang="en-US" sz="3200" dirty="0"/>
            </a:br>
            <a:r>
              <a:rPr lang="en-US" sz="1600" b="1" noProof="0" dirty="0"/>
              <a:t>Digital Integration Hub </a:t>
            </a:r>
            <a:br>
              <a:rPr lang="en-US" sz="1600" b="1" noProof="0" dirty="0"/>
            </a:br>
            <a:br>
              <a:rPr lang="en-US" sz="1600" b="1" noProof="0" dirty="0"/>
            </a:br>
            <a:br>
              <a:rPr lang="en-US" sz="1050" b="1" dirty="0">
                <a:solidFill>
                  <a:srgbClr val="427CAC"/>
                </a:solidFill>
                <a:latin typeface="Arial" charset="0"/>
                <a:ea typeface="Arial" charset="0"/>
                <a:cs typeface="Arial" charset="0"/>
              </a:rPr>
            </a:br>
            <a:r>
              <a:rPr lang="en-US" sz="1600" b="1" noProof="0" dirty="0"/>
              <a:t>Topic 2</a:t>
            </a:r>
            <a:br>
              <a:rPr lang="en-US" sz="1050" noProof="0" dirty="0"/>
            </a:br>
            <a:br>
              <a:rPr lang="en-US" sz="1050" b="0" noProof="0" dirty="0"/>
            </a:br>
            <a:r>
              <a:rPr lang="en-US" sz="1050" b="0" noProof="0" dirty="0"/>
              <a:t>1. </a:t>
            </a:r>
            <a:r>
              <a:rPr lang="de-DE" sz="1050" dirty="0">
                <a:cs typeface="Arial"/>
              </a:rPr>
              <a:t>Connect </a:t>
            </a:r>
            <a:r>
              <a:rPr lang="en-US" sz="1050" dirty="0">
                <a:cs typeface="Arial"/>
              </a:rPr>
              <a:t>S/4HANA or S/4HANA Cloud with    Standard Events</a:t>
            </a:r>
            <a:br>
              <a:rPr lang="en-US" sz="1050" dirty="0">
                <a:cs typeface="Arial"/>
              </a:rPr>
            </a:br>
            <a:r>
              <a:rPr lang="en-US" sz="1050" dirty="0">
                <a:cs typeface="Arial"/>
              </a:rPr>
              <a:t>         Connect AEM to S/4HANA</a:t>
            </a:r>
            <a:br>
              <a:rPr lang="en-US" sz="1050" dirty="0">
                <a:cs typeface="Arial"/>
              </a:rPr>
            </a:br>
            <a:r>
              <a:rPr lang="en-US" sz="1050" dirty="0">
                <a:cs typeface="Arial"/>
              </a:rPr>
              <a:t>         Publish Standard Events from S/4HANA to AEM</a:t>
            </a:r>
            <a:br>
              <a:rPr lang="en-US" sz="1050" dirty="0">
                <a:cs typeface="Arial"/>
              </a:rPr>
            </a:br>
            <a:r>
              <a:rPr lang="en-US" sz="1050" dirty="0">
                <a:cs typeface="Arial"/>
              </a:rPr>
              <a:t>2. </a:t>
            </a:r>
            <a:r>
              <a:rPr lang="de-DE" sz="1050" dirty="0">
                <a:cs typeface="Arial"/>
              </a:rPr>
              <a:t>Connect </a:t>
            </a:r>
            <a:r>
              <a:rPr lang="en-US" sz="1050" dirty="0">
                <a:cs typeface="Arial"/>
              </a:rPr>
              <a:t>S/4HANA or S/4HANA Cloud with Custom Events</a:t>
            </a:r>
            <a:br>
              <a:rPr lang="en-US" sz="1050" dirty="0">
                <a:cs typeface="Arial"/>
              </a:rPr>
            </a:br>
            <a:r>
              <a:rPr lang="en-US" sz="1050" dirty="0">
                <a:cs typeface="Arial"/>
              </a:rPr>
              <a:t>3. Consume Events with S/4HANA or S/4HANA                        Cloud</a:t>
            </a:r>
            <a:br>
              <a:rPr lang="en-US" sz="1050" dirty="0">
                <a:cs typeface="Arial"/>
              </a:rPr>
            </a:br>
            <a:br>
              <a:rPr lang="en-US" sz="1050" dirty="0">
                <a:cs typeface="Arial"/>
              </a:rPr>
            </a:br>
            <a:br>
              <a:rPr lang="en-US" sz="900" b="1" dirty="0">
                <a:solidFill>
                  <a:srgbClr val="427CAC"/>
                </a:solidFill>
                <a:latin typeface="Arial" charset="0"/>
                <a:ea typeface="Arial" charset="0"/>
                <a:cs typeface="Arial" charset="0"/>
              </a:rPr>
            </a:br>
            <a:br>
              <a:rPr lang="en-US" sz="900" b="0" dirty="0"/>
            </a:br>
            <a:br>
              <a:rPr lang="en-US" sz="900" b="0" dirty="0"/>
            </a:br>
            <a:br>
              <a:rPr lang="en-US" sz="900" b="0" dirty="0"/>
            </a:br>
            <a:br>
              <a:rPr lang="en-US" sz="900" b="0" dirty="0"/>
            </a:br>
            <a:br>
              <a:rPr lang="en-US" sz="900" b="0" dirty="0"/>
            </a:br>
            <a:endParaRPr lang="en-US" sz="900" b="0" dirty="0"/>
          </a:p>
        </p:txBody>
      </p:sp>
      <p:sp>
        <p:nvSpPr>
          <p:cNvPr id="33" name="Rechteck 9">
            <a:extLst>
              <a:ext uri="{FF2B5EF4-FFF2-40B4-BE49-F238E27FC236}">
                <a16:creationId xmlns:a16="http://schemas.microsoft.com/office/drawing/2014/main" id="{ECD4176E-3307-4AEE-B858-A8911D07832D}"/>
              </a:ext>
            </a:extLst>
          </p:cNvPr>
          <p:cNvSpPr/>
          <p:nvPr/>
        </p:nvSpPr>
        <p:spPr>
          <a:xfrm>
            <a:off x="3891664" y="5963992"/>
            <a:ext cx="7621001" cy="718835"/>
          </a:xfrm>
          <a:prstGeom prst="rect">
            <a:avLst/>
          </a:prstGeom>
          <a:solidFill>
            <a:schemeClr val="bg1"/>
          </a:solidFill>
          <a:ln w="19050" cap="rnd">
            <a:solidFill>
              <a:srgbClr val="427CAC"/>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71884" tIns="71884" rIns="71884" bIns="71884" rtlCol="0" anchor="t"/>
          <a:lstStyle/>
          <a:p>
            <a:pPr defTabSz="1087034"/>
            <a:r>
              <a:rPr lang="en-US" sz="998">
                <a:solidFill>
                  <a:srgbClr val="000000">
                    <a:lumMod val="65000"/>
                    <a:lumOff val="35000"/>
                  </a:srgbClr>
                </a:solidFill>
                <a:latin typeface="Arial" charset="0"/>
                <a:ea typeface="Arial" charset="0"/>
                <a:cs typeface="Arial" charset="0"/>
              </a:rPr>
              <a:t>On Premise </a:t>
            </a:r>
            <a:br>
              <a:rPr lang="en-US" sz="998">
                <a:solidFill>
                  <a:srgbClr val="000000">
                    <a:lumMod val="65000"/>
                    <a:lumOff val="35000"/>
                  </a:srgbClr>
                </a:solidFill>
                <a:latin typeface="Arial" charset="0"/>
                <a:ea typeface="Arial" charset="0"/>
                <a:cs typeface="Arial" charset="0"/>
              </a:rPr>
            </a:br>
            <a:r>
              <a:rPr lang="en-US" sz="998">
                <a:solidFill>
                  <a:srgbClr val="000000">
                    <a:lumMod val="65000"/>
                    <a:lumOff val="35000"/>
                  </a:srgbClr>
                </a:solidFill>
                <a:latin typeface="Arial" charset="0"/>
                <a:ea typeface="Arial" charset="0"/>
                <a:cs typeface="Arial" charset="0"/>
              </a:rPr>
              <a:t>Apps I Data I Users | Things </a:t>
            </a:r>
          </a:p>
        </p:txBody>
      </p:sp>
      <p:sp>
        <p:nvSpPr>
          <p:cNvPr id="38" name="Rechteck 9">
            <a:extLst>
              <a:ext uri="{FF2B5EF4-FFF2-40B4-BE49-F238E27FC236}">
                <a16:creationId xmlns:a16="http://schemas.microsoft.com/office/drawing/2014/main" id="{EAD16E8C-38D0-4B49-8EF7-A47E41270DB8}"/>
              </a:ext>
            </a:extLst>
          </p:cNvPr>
          <p:cNvSpPr/>
          <p:nvPr/>
        </p:nvSpPr>
        <p:spPr>
          <a:xfrm>
            <a:off x="3915613" y="424256"/>
            <a:ext cx="7597053" cy="814181"/>
          </a:xfrm>
          <a:prstGeom prst="rect">
            <a:avLst/>
          </a:prstGeom>
          <a:noFill/>
          <a:ln w="19050" cap="rnd">
            <a:solidFill>
              <a:srgbClr val="427CAC"/>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71884" tIns="71884" rIns="71884" bIns="71884" rtlCol="0" anchor="t"/>
          <a:lstStyle/>
          <a:p>
            <a:pPr defTabSz="1087034"/>
            <a:r>
              <a:rPr lang="en-US" sz="998">
                <a:solidFill>
                  <a:srgbClr val="000000">
                    <a:lumMod val="65000"/>
                    <a:lumOff val="35000"/>
                  </a:srgbClr>
                </a:solidFill>
                <a:latin typeface="Arial" charset="0"/>
                <a:ea typeface="Arial" charset="0"/>
                <a:cs typeface="Arial" charset="0"/>
              </a:rPr>
              <a:t>Public Cloud </a:t>
            </a:r>
            <a:br>
              <a:rPr lang="en-US" sz="998">
                <a:solidFill>
                  <a:srgbClr val="000000">
                    <a:lumMod val="65000"/>
                    <a:lumOff val="35000"/>
                  </a:srgbClr>
                </a:solidFill>
                <a:latin typeface="Arial" charset="0"/>
                <a:ea typeface="Arial" charset="0"/>
                <a:cs typeface="Arial" charset="0"/>
              </a:rPr>
            </a:br>
            <a:r>
              <a:rPr lang="en-US" sz="998">
                <a:solidFill>
                  <a:srgbClr val="000000">
                    <a:lumMod val="65000"/>
                    <a:lumOff val="35000"/>
                  </a:srgbClr>
                </a:solidFill>
                <a:latin typeface="Arial" charset="0"/>
                <a:ea typeface="Arial" charset="0"/>
                <a:cs typeface="Arial" charset="0"/>
              </a:rPr>
              <a:t>Apps I Data I Users | Things </a:t>
            </a:r>
          </a:p>
        </p:txBody>
      </p:sp>
      <p:sp>
        <p:nvSpPr>
          <p:cNvPr id="51" name="Rectangle 50">
            <a:extLst>
              <a:ext uri="{FF2B5EF4-FFF2-40B4-BE49-F238E27FC236}">
                <a16:creationId xmlns:a16="http://schemas.microsoft.com/office/drawing/2014/main" id="{598E4FEB-2843-4C1C-B954-8794B2126AB9}"/>
              </a:ext>
            </a:extLst>
          </p:cNvPr>
          <p:cNvSpPr/>
          <p:nvPr/>
        </p:nvSpPr>
        <p:spPr bwMode="gray">
          <a:xfrm>
            <a:off x="3891663" y="4117414"/>
            <a:ext cx="7621001" cy="1437670"/>
          </a:xfrm>
          <a:prstGeom prst="rect">
            <a:avLst/>
          </a:prstGeom>
          <a:solidFill>
            <a:schemeClr val="bg1">
              <a:lumMod val="95000"/>
            </a:schemeClr>
          </a:solidFill>
          <a:ln w="12700" algn="ctr">
            <a:noFill/>
            <a:prstDash val="solid"/>
            <a:miter lim="800000"/>
            <a:headEnd/>
            <a:tailEnd/>
          </a:ln>
        </p:spPr>
        <p:txBody>
          <a:bodyPr lIns="89854" tIns="71884" rIns="89854" bIns="71884" rtlCol="0" anchor="t"/>
          <a:lstStyle/>
          <a:p>
            <a:pPr defTabSz="912937" fontAlgn="base">
              <a:spcBef>
                <a:spcPct val="50000"/>
              </a:spcBef>
              <a:spcAft>
                <a:spcPct val="0"/>
              </a:spcAft>
              <a:buClr>
                <a:srgbClr val="F0AB00"/>
              </a:buClr>
              <a:buSzPct val="80000"/>
            </a:pPr>
            <a:r>
              <a:rPr lang="en-US" sz="1098" kern="0">
                <a:solidFill>
                  <a:srgbClr val="427CAC"/>
                </a:solidFill>
                <a:ea typeface="Arial Unicode MS" pitchFamily="34" charset="-128"/>
                <a:cs typeface="Arial"/>
              </a:rPr>
              <a:t>On-Premise</a:t>
            </a:r>
            <a:br>
              <a:rPr lang="en-US" sz="1098" kern="0">
                <a:solidFill>
                  <a:srgbClr val="427CAC"/>
                </a:solidFill>
                <a:ea typeface="Arial Unicode MS" pitchFamily="34" charset="-128"/>
                <a:cs typeface="Arial"/>
              </a:rPr>
            </a:br>
            <a:r>
              <a:rPr lang="en-US" sz="1098" kern="0">
                <a:solidFill>
                  <a:srgbClr val="427CAC"/>
                </a:solidFill>
                <a:ea typeface="Arial Unicode MS" pitchFamily="34" charset="-128"/>
                <a:cs typeface="Arial"/>
              </a:rPr>
              <a:t>Integration </a:t>
            </a:r>
            <a:br>
              <a:rPr lang="en-US" sz="1098" kern="0">
                <a:solidFill>
                  <a:srgbClr val="427CAC"/>
                </a:solidFill>
                <a:ea typeface="Arial Unicode MS" pitchFamily="34" charset="-128"/>
                <a:cs typeface="Arial"/>
              </a:rPr>
            </a:br>
            <a:r>
              <a:rPr lang="en-US" sz="1098" kern="0">
                <a:solidFill>
                  <a:srgbClr val="427CAC"/>
                </a:solidFill>
                <a:ea typeface="Arial Unicode MS" pitchFamily="34" charset="-128"/>
                <a:cs typeface="Arial"/>
              </a:rPr>
              <a:t>Components </a:t>
            </a:r>
          </a:p>
        </p:txBody>
      </p:sp>
      <p:sp>
        <p:nvSpPr>
          <p:cNvPr id="72" name="Rectangle 71">
            <a:extLst>
              <a:ext uri="{FF2B5EF4-FFF2-40B4-BE49-F238E27FC236}">
                <a16:creationId xmlns:a16="http://schemas.microsoft.com/office/drawing/2014/main" id="{975858A8-7A1E-480C-A754-9B42AA1B2D0D}"/>
              </a:ext>
            </a:extLst>
          </p:cNvPr>
          <p:cNvSpPr/>
          <p:nvPr/>
        </p:nvSpPr>
        <p:spPr bwMode="gray">
          <a:xfrm>
            <a:off x="5780827" y="496198"/>
            <a:ext cx="2129162" cy="672019"/>
          </a:xfrm>
          <a:prstGeom prst="rect">
            <a:avLst/>
          </a:prstGeom>
          <a:noFill/>
          <a:ln w="19050" cap="rnd">
            <a:solidFill>
              <a:srgbClr val="1A9898"/>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71884" tIns="71884" rIns="71884" bIns="71884" rtlCol="0" anchor="t" anchorCtr="0"/>
          <a:lstStyle/>
          <a:p>
            <a:pPr algn="ctr" defTabSz="1087034" fontAlgn="base">
              <a:spcBef>
                <a:spcPts val="599"/>
              </a:spcBef>
              <a:spcAft>
                <a:spcPct val="0"/>
              </a:spcAft>
              <a:buClr>
                <a:srgbClr val="F0AB00"/>
              </a:buClr>
              <a:buSzPct val="80000"/>
              <a:defRPr/>
            </a:pPr>
            <a:r>
              <a:rPr lang="en-US" sz="1098" b="1" kern="0">
                <a:solidFill>
                  <a:srgbClr val="1A9898"/>
                </a:solidFill>
                <a:latin typeface="BentonSans Bold" charset="0"/>
                <a:ea typeface="BentonSans Bold" charset="0"/>
                <a:cs typeface="BentonSans Bold" charset="0"/>
              </a:rPr>
              <a:t> </a:t>
            </a:r>
          </a:p>
        </p:txBody>
      </p:sp>
      <p:grpSp>
        <p:nvGrpSpPr>
          <p:cNvPr id="2" name="Group 1">
            <a:extLst>
              <a:ext uri="{FF2B5EF4-FFF2-40B4-BE49-F238E27FC236}">
                <a16:creationId xmlns:a16="http://schemas.microsoft.com/office/drawing/2014/main" id="{28C95EE2-E27C-4F54-95FC-65B597D934ED}"/>
              </a:ext>
            </a:extLst>
          </p:cNvPr>
          <p:cNvGrpSpPr/>
          <p:nvPr/>
        </p:nvGrpSpPr>
        <p:grpSpPr>
          <a:xfrm>
            <a:off x="6343421" y="556542"/>
            <a:ext cx="986371" cy="683624"/>
            <a:chOff x="6482526" y="627232"/>
            <a:chExt cx="987969" cy="684732"/>
          </a:xfrm>
        </p:grpSpPr>
        <p:pic>
          <p:nvPicPr>
            <p:cNvPr id="74" name="Bild 7">
              <a:extLst>
                <a:ext uri="{FF2B5EF4-FFF2-40B4-BE49-F238E27FC236}">
                  <a16:creationId xmlns:a16="http://schemas.microsoft.com/office/drawing/2014/main" id="{DC05304C-BDDB-4C80-8895-B70699D217DE}"/>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778710" y="627232"/>
              <a:ext cx="390910" cy="390910"/>
            </a:xfrm>
            <a:prstGeom prst="rect">
              <a:avLst/>
            </a:prstGeom>
          </p:spPr>
        </p:pic>
        <p:sp>
          <p:nvSpPr>
            <p:cNvPr id="77" name="Abgerundetes Rechteck 30">
              <a:extLst>
                <a:ext uri="{FF2B5EF4-FFF2-40B4-BE49-F238E27FC236}">
                  <a16:creationId xmlns:a16="http://schemas.microsoft.com/office/drawing/2014/main" id="{BD2BC2C0-5438-4752-AAB3-8BC624CC06D5}"/>
                </a:ext>
              </a:extLst>
            </p:cNvPr>
            <p:cNvSpPr/>
            <p:nvPr/>
          </p:nvSpPr>
          <p:spPr>
            <a:xfrm>
              <a:off x="6482526" y="934264"/>
              <a:ext cx="987969" cy="377700"/>
            </a:xfrm>
            <a:prstGeom prst="roundRect">
              <a:avLst>
                <a:gd name="adj" fmla="val 0"/>
              </a:avLst>
            </a:prstGeom>
            <a:noFill/>
            <a:ln w="19050" cap="rnd">
              <a:noFill/>
            </a:ln>
          </p:spPr>
          <p:style>
            <a:lnRef idx="2">
              <a:schemeClr val="accent1">
                <a:shade val="50000"/>
              </a:schemeClr>
            </a:lnRef>
            <a:fillRef idx="1">
              <a:schemeClr val="accent1"/>
            </a:fillRef>
            <a:effectRef idx="0">
              <a:schemeClr val="accent1"/>
            </a:effectRef>
            <a:fontRef idx="minor">
              <a:schemeClr val="lt1"/>
            </a:fontRef>
          </p:style>
          <p:txBody>
            <a:bodyPr lIns="71884" tIns="71884" rIns="71884" bIns="71884" rtlCol="0" anchor="ctr">
              <a:noAutofit/>
            </a:bodyPr>
            <a:lstStyle/>
            <a:p>
              <a:pPr algn="ctr" defTabSz="1087034">
                <a:defRPr/>
              </a:pPr>
              <a:r>
                <a:rPr lang="en-US" sz="1098">
                  <a:solidFill>
                    <a:srgbClr val="000000">
                      <a:lumMod val="65000"/>
                      <a:lumOff val="35000"/>
                    </a:srgbClr>
                  </a:solidFill>
                  <a:latin typeface="Arial"/>
                </a:rPr>
                <a:t> Desktop</a:t>
              </a:r>
            </a:p>
          </p:txBody>
        </p:sp>
      </p:grpSp>
      <p:pic>
        <p:nvPicPr>
          <p:cNvPr id="79" name="Bild 3">
            <a:extLst>
              <a:ext uri="{FF2B5EF4-FFF2-40B4-BE49-F238E27FC236}">
                <a16:creationId xmlns:a16="http://schemas.microsoft.com/office/drawing/2014/main" id="{FBD4D9F3-EA88-47D0-B364-BDE1F598FC91}"/>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299" t="-2761" b="2812"/>
          <a:stretch/>
        </p:blipFill>
        <p:spPr>
          <a:xfrm>
            <a:off x="8810230" y="6074600"/>
            <a:ext cx="496393" cy="497623"/>
          </a:xfrm>
          <a:prstGeom prst="rect">
            <a:avLst/>
          </a:prstGeom>
        </p:spPr>
      </p:pic>
      <p:sp>
        <p:nvSpPr>
          <p:cNvPr id="80" name="Rectangle 79">
            <a:extLst>
              <a:ext uri="{FF2B5EF4-FFF2-40B4-BE49-F238E27FC236}">
                <a16:creationId xmlns:a16="http://schemas.microsoft.com/office/drawing/2014/main" id="{8A915F00-784D-4A5C-B681-4727CBB33DBB}"/>
              </a:ext>
            </a:extLst>
          </p:cNvPr>
          <p:cNvSpPr/>
          <p:nvPr/>
        </p:nvSpPr>
        <p:spPr>
          <a:xfrm>
            <a:off x="9436164" y="6120668"/>
            <a:ext cx="1677235" cy="405488"/>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lIns="35933" tIns="35933" rIns="35933" bIns="35933" rtlCol="0" anchor="ctr"/>
          <a:lstStyle/>
          <a:p>
            <a:pPr algn="ctr" defTabSz="1087034"/>
            <a:r>
              <a:rPr lang="en-US" sz="1098" b="1" dirty="0">
                <a:solidFill>
                  <a:srgbClr val="000000">
                    <a:lumMod val="65000"/>
                    <a:lumOff val="35000"/>
                  </a:srgbClr>
                </a:solidFill>
                <a:latin typeface="Arial" charset="0"/>
                <a:ea typeface="Arial" charset="0"/>
                <a:cs typeface="Arial" charset="0"/>
              </a:rPr>
              <a:t>S/4HANA</a:t>
            </a:r>
          </a:p>
        </p:txBody>
      </p:sp>
      <p:cxnSp>
        <p:nvCxnSpPr>
          <p:cNvPr id="82" name="Straight Arrow Connector 18">
            <a:extLst>
              <a:ext uri="{FF2B5EF4-FFF2-40B4-BE49-F238E27FC236}">
                <a16:creationId xmlns:a16="http://schemas.microsoft.com/office/drawing/2014/main" id="{CBE6B8F3-A844-4E81-AB65-F389917D2CA5}"/>
              </a:ext>
            </a:extLst>
          </p:cNvPr>
          <p:cNvCxnSpPr>
            <a:cxnSpLocks/>
            <a:endCxn id="72" idx="2"/>
          </p:cNvCxnSpPr>
          <p:nvPr/>
        </p:nvCxnSpPr>
        <p:spPr>
          <a:xfrm flipV="1">
            <a:off x="6836608" y="1168217"/>
            <a:ext cx="8800" cy="382690"/>
          </a:xfrm>
          <a:prstGeom prst="straightConnector1">
            <a:avLst/>
          </a:prstGeom>
          <a:ln w="25400">
            <a:solidFill>
              <a:schemeClr val="tx1">
                <a:lumMod val="65000"/>
                <a:lumOff val="35000"/>
              </a:schemeClr>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94" name="Rectangle 93">
            <a:extLst>
              <a:ext uri="{FF2B5EF4-FFF2-40B4-BE49-F238E27FC236}">
                <a16:creationId xmlns:a16="http://schemas.microsoft.com/office/drawing/2014/main" id="{F29D2FD9-3E31-43D0-B6DB-05EAAA586CEF}"/>
              </a:ext>
            </a:extLst>
          </p:cNvPr>
          <p:cNvSpPr/>
          <p:nvPr/>
        </p:nvSpPr>
        <p:spPr>
          <a:xfrm>
            <a:off x="6401607" y="2184050"/>
            <a:ext cx="1215356" cy="256006"/>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lIns="35942" tIns="35942" rIns="35942" bIns="0" rtlCol="0" anchor="ctr"/>
          <a:lstStyle/>
          <a:p>
            <a:pPr algn="ctr" defTabSz="1087034">
              <a:defRPr/>
            </a:pPr>
            <a:r>
              <a:rPr lang="en-US" sz="1098" b="1" dirty="0">
                <a:solidFill>
                  <a:srgbClr val="427CAC"/>
                </a:solidFill>
                <a:latin typeface="Arial" charset="0"/>
                <a:ea typeface="Arial" charset="0"/>
                <a:cs typeface="Arial" charset="0"/>
              </a:rPr>
              <a:t>Event Simulator</a:t>
            </a:r>
          </a:p>
        </p:txBody>
      </p:sp>
      <p:sp>
        <p:nvSpPr>
          <p:cNvPr id="81" name="Rechteck 9">
            <a:extLst>
              <a:ext uri="{FF2B5EF4-FFF2-40B4-BE49-F238E27FC236}">
                <a16:creationId xmlns:a16="http://schemas.microsoft.com/office/drawing/2014/main" id="{AF940E72-EDF3-43EB-A26C-B46E710C743F}"/>
              </a:ext>
            </a:extLst>
          </p:cNvPr>
          <p:cNvSpPr/>
          <p:nvPr/>
        </p:nvSpPr>
        <p:spPr>
          <a:xfrm>
            <a:off x="4939636" y="1529598"/>
            <a:ext cx="6411549" cy="2217827"/>
          </a:xfrm>
          <a:prstGeom prst="rect">
            <a:avLst/>
          </a:prstGeom>
          <a:noFill/>
          <a:ln w="19050">
            <a:solidFill>
              <a:srgbClr val="427CAC"/>
            </a:solidFill>
          </a:ln>
        </p:spPr>
        <p:style>
          <a:lnRef idx="2">
            <a:schemeClr val="accent1">
              <a:shade val="50000"/>
            </a:schemeClr>
          </a:lnRef>
          <a:fillRef idx="1">
            <a:schemeClr val="accent1"/>
          </a:fillRef>
          <a:effectRef idx="0">
            <a:schemeClr val="accent1"/>
          </a:effectRef>
          <a:fontRef idx="minor">
            <a:schemeClr val="lt1"/>
          </a:fontRef>
        </p:style>
        <p:txBody>
          <a:bodyPr lIns="71884" tIns="71884" rIns="71884" bIns="71884" rtlCol="0" anchor="t"/>
          <a:lstStyle/>
          <a:p>
            <a:pPr algn="r" defTabSz="1087034"/>
            <a:r>
              <a:rPr lang="en-US" sz="1198" b="1">
                <a:solidFill>
                  <a:srgbClr val="427CAC"/>
                </a:solidFill>
                <a:latin typeface="Arial"/>
              </a:rPr>
              <a:t>SAP Business</a:t>
            </a:r>
            <a:br>
              <a:rPr lang="en-US" sz="1198" b="1">
                <a:solidFill>
                  <a:srgbClr val="427CAC"/>
                </a:solidFill>
                <a:latin typeface="Arial"/>
              </a:rPr>
            </a:br>
            <a:r>
              <a:rPr lang="en-US" sz="1198" b="1">
                <a:solidFill>
                  <a:srgbClr val="427CAC"/>
                </a:solidFill>
                <a:latin typeface="Arial"/>
              </a:rPr>
              <a:t>Technology Platform</a:t>
            </a:r>
          </a:p>
        </p:txBody>
      </p:sp>
      <p:cxnSp>
        <p:nvCxnSpPr>
          <p:cNvPr id="86" name="Gerade Verbindung 60">
            <a:extLst>
              <a:ext uri="{FF2B5EF4-FFF2-40B4-BE49-F238E27FC236}">
                <a16:creationId xmlns:a16="http://schemas.microsoft.com/office/drawing/2014/main" id="{6B838110-4BBC-48BA-95EF-F172A9A2DAB6}"/>
              </a:ext>
            </a:extLst>
          </p:cNvPr>
          <p:cNvCxnSpPr>
            <a:cxnSpLocks/>
          </p:cNvCxnSpPr>
          <p:nvPr/>
        </p:nvCxnSpPr>
        <p:spPr>
          <a:xfrm flipH="1">
            <a:off x="5073350" y="4227074"/>
            <a:ext cx="5570973" cy="0"/>
          </a:xfrm>
          <a:prstGeom prst="line">
            <a:avLst/>
          </a:prstGeom>
          <a:ln w="38100" cap="rnd">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91" name="TextBox 90">
            <a:extLst>
              <a:ext uri="{FF2B5EF4-FFF2-40B4-BE49-F238E27FC236}">
                <a16:creationId xmlns:a16="http://schemas.microsoft.com/office/drawing/2014/main" id="{0E9C95C7-D862-461B-BAD9-B3350B3C6644}"/>
              </a:ext>
            </a:extLst>
          </p:cNvPr>
          <p:cNvSpPr txBox="1"/>
          <p:nvPr/>
        </p:nvSpPr>
        <p:spPr>
          <a:xfrm>
            <a:off x="10753931" y="4121033"/>
            <a:ext cx="597255" cy="169003"/>
          </a:xfrm>
          <a:prstGeom prst="rect">
            <a:avLst/>
          </a:prstGeom>
          <a:noFill/>
        </p:spPr>
        <p:txBody>
          <a:bodyPr wrap="square" lIns="0" tIns="0" rIns="0" bIns="0" rtlCol="0">
            <a:spAutoFit/>
          </a:bodyPr>
          <a:lstStyle/>
          <a:p>
            <a:pPr defTabSz="1087034" fontAlgn="base">
              <a:spcBef>
                <a:spcPct val="50000"/>
              </a:spcBef>
              <a:spcAft>
                <a:spcPct val="0"/>
              </a:spcAft>
              <a:buClr>
                <a:srgbClr val="F0AB00"/>
              </a:buClr>
              <a:buSzPct val="80000"/>
            </a:pPr>
            <a:r>
              <a:rPr lang="de-DE" sz="1098" kern="0">
                <a:solidFill>
                  <a:srgbClr val="000000"/>
                </a:solidFill>
                <a:ea typeface="Arial Unicode MS" pitchFamily="34" charset="-128"/>
                <a:cs typeface="Arial Unicode MS" pitchFamily="34" charset="-128"/>
              </a:rPr>
              <a:t>Firewall</a:t>
            </a:r>
          </a:p>
        </p:txBody>
      </p:sp>
      <p:sp>
        <p:nvSpPr>
          <p:cNvPr id="99" name="TextBox 98">
            <a:extLst>
              <a:ext uri="{FF2B5EF4-FFF2-40B4-BE49-F238E27FC236}">
                <a16:creationId xmlns:a16="http://schemas.microsoft.com/office/drawing/2014/main" id="{4054830F-1B44-4F6D-9ECE-EA898364CBE0}"/>
              </a:ext>
            </a:extLst>
          </p:cNvPr>
          <p:cNvSpPr txBox="1"/>
          <p:nvPr/>
        </p:nvSpPr>
        <p:spPr>
          <a:xfrm>
            <a:off x="10344801" y="4434390"/>
            <a:ext cx="318924" cy="153639"/>
          </a:xfrm>
          <a:prstGeom prst="rect">
            <a:avLst/>
          </a:prstGeom>
          <a:noFill/>
        </p:spPr>
        <p:txBody>
          <a:bodyPr wrap="square" lIns="0" tIns="0" rIns="0" bIns="0" rtlCol="0">
            <a:spAutoFit/>
          </a:bodyPr>
          <a:lstStyle/>
          <a:p>
            <a:pPr defTabSz="1087034" fontAlgn="base">
              <a:spcBef>
                <a:spcPct val="50000"/>
              </a:spcBef>
              <a:spcAft>
                <a:spcPct val="0"/>
              </a:spcAft>
              <a:buClr>
                <a:srgbClr val="F0AB00"/>
              </a:buClr>
              <a:buSzPct val="80000"/>
            </a:pPr>
            <a:r>
              <a:rPr lang="de-DE" sz="998" kern="0">
                <a:solidFill>
                  <a:srgbClr val="000000"/>
                </a:solidFill>
                <a:ea typeface="Arial Unicode MS" pitchFamily="34" charset="-128"/>
                <a:cs typeface="Arial Unicode MS" pitchFamily="34" charset="-128"/>
              </a:rPr>
              <a:t>DMZ</a:t>
            </a:r>
          </a:p>
        </p:txBody>
      </p:sp>
      <p:sp>
        <p:nvSpPr>
          <p:cNvPr id="100" name="TextBox 99">
            <a:extLst>
              <a:ext uri="{FF2B5EF4-FFF2-40B4-BE49-F238E27FC236}">
                <a16:creationId xmlns:a16="http://schemas.microsoft.com/office/drawing/2014/main" id="{313911BC-C231-4422-961B-C57C5038DA4D}"/>
              </a:ext>
            </a:extLst>
          </p:cNvPr>
          <p:cNvSpPr txBox="1"/>
          <p:nvPr/>
        </p:nvSpPr>
        <p:spPr>
          <a:xfrm>
            <a:off x="10753931" y="4747752"/>
            <a:ext cx="597255" cy="169003"/>
          </a:xfrm>
          <a:prstGeom prst="rect">
            <a:avLst/>
          </a:prstGeom>
          <a:noFill/>
        </p:spPr>
        <p:txBody>
          <a:bodyPr wrap="square" lIns="0" tIns="0" rIns="0" bIns="0" rtlCol="0">
            <a:spAutoFit/>
          </a:bodyPr>
          <a:lstStyle/>
          <a:p>
            <a:pPr defTabSz="1087034" fontAlgn="base">
              <a:spcBef>
                <a:spcPct val="50000"/>
              </a:spcBef>
              <a:spcAft>
                <a:spcPct val="0"/>
              </a:spcAft>
              <a:buClr>
                <a:srgbClr val="F0AB00"/>
              </a:buClr>
              <a:buSzPct val="80000"/>
            </a:pPr>
            <a:r>
              <a:rPr lang="de-DE" sz="1098" kern="0">
                <a:solidFill>
                  <a:srgbClr val="000000"/>
                </a:solidFill>
                <a:ea typeface="Arial Unicode MS" pitchFamily="34" charset="-128"/>
                <a:cs typeface="Arial Unicode MS" pitchFamily="34" charset="-128"/>
              </a:rPr>
              <a:t>Firewall</a:t>
            </a:r>
          </a:p>
        </p:txBody>
      </p:sp>
      <p:sp>
        <p:nvSpPr>
          <p:cNvPr id="101" name="TextBox 100">
            <a:extLst>
              <a:ext uri="{FF2B5EF4-FFF2-40B4-BE49-F238E27FC236}">
                <a16:creationId xmlns:a16="http://schemas.microsoft.com/office/drawing/2014/main" id="{E577F295-20C7-4377-A887-7CADD26C2986}"/>
              </a:ext>
            </a:extLst>
          </p:cNvPr>
          <p:cNvSpPr txBox="1"/>
          <p:nvPr/>
        </p:nvSpPr>
        <p:spPr>
          <a:xfrm>
            <a:off x="10753931" y="5423644"/>
            <a:ext cx="597255" cy="169003"/>
          </a:xfrm>
          <a:prstGeom prst="rect">
            <a:avLst/>
          </a:prstGeom>
          <a:noFill/>
        </p:spPr>
        <p:txBody>
          <a:bodyPr wrap="square" lIns="0" tIns="0" rIns="0" bIns="0" rtlCol="0">
            <a:spAutoFit/>
          </a:bodyPr>
          <a:lstStyle/>
          <a:p>
            <a:pPr defTabSz="1087034" fontAlgn="base">
              <a:spcBef>
                <a:spcPct val="50000"/>
              </a:spcBef>
              <a:spcAft>
                <a:spcPct val="0"/>
              </a:spcAft>
              <a:buClr>
                <a:srgbClr val="F0AB00"/>
              </a:buClr>
              <a:buSzPct val="80000"/>
            </a:pPr>
            <a:r>
              <a:rPr lang="de-DE" sz="1098" kern="0">
                <a:solidFill>
                  <a:srgbClr val="000000"/>
                </a:solidFill>
                <a:ea typeface="Arial Unicode MS" pitchFamily="34" charset="-128"/>
                <a:cs typeface="Arial Unicode MS" pitchFamily="34" charset="-128"/>
              </a:rPr>
              <a:t>Firewall</a:t>
            </a:r>
          </a:p>
        </p:txBody>
      </p:sp>
      <p:sp>
        <p:nvSpPr>
          <p:cNvPr id="104" name="Rechteck 45">
            <a:extLst>
              <a:ext uri="{FF2B5EF4-FFF2-40B4-BE49-F238E27FC236}">
                <a16:creationId xmlns:a16="http://schemas.microsoft.com/office/drawing/2014/main" id="{8F60DCCC-46CA-4764-9BAB-405BEA47F26E}"/>
              </a:ext>
            </a:extLst>
          </p:cNvPr>
          <p:cNvSpPr/>
          <p:nvPr/>
        </p:nvSpPr>
        <p:spPr>
          <a:xfrm>
            <a:off x="9939624" y="2188984"/>
            <a:ext cx="730744" cy="506870"/>
          </a:xfrm>
          <a:prstGeom prst="rect">
            <a:avLst/>
          </a:prstGeom>
        </p:spPr>
        <p:txBody>
          <a:bodyPr wrap="square" lIns="0" tIns="0" rIns="0" bIns="0">
            <a:spAutoFit/>
          </a:bodyPr>
          <a:lstStyle/>
          <a:p>
            <a:pPr algn="ctr" defTabSz="1087034">
              <a:defRPr/>
            </a:pPr>
            <a:r>
              <a:rPr lang="en-US" sz="1098" b="1" dirty="0">
                <a:solidFill>
                  <a:srgbClr val="427CAC"/>
                </a:solidFill>
                <a:latin typeface="Arial" charset="0"/>
                <a:ea typeface="Arial" charset="0"/>
                <a:cs typeface="Arial" charset="0"/>
              </a:rPr>
              <a:t>Advanced Event Mesh </a:t>
            </a:r>
          </a:p>
        </p:txBody>
      </p:sp>
      <p:cxnSp>
        <p:nvCxnSpPr>
          <p:cNvPr id="113" name="Straight Arrow Connector 18">
            <a:extLst>
              <a:ext uri="{FF2B5EF4-FFF2-40B4-BE49-F238E27FC236}">
                <a16:creationId xmlns:a16="http://schemas.microsoft.com/office/drawing/2014/main" id="{578A599E-539C-45BE-AA41-E792EBBFC507}"/>
              </a:ext>
            </a:extLst>
          </p:cNvPr>
          <p:cNvCxnSpPr>
            <a:cxnSpLocks/>
            <a:stCxn id="10" idx="4"/>
            <a:endCxn id="79" idx="0"/>
          </p:cNvCxnSpPr>
          <p:nvPr/>
        </p:nvCxnSpPr>
        <p:spPr>
          <a:xfrm rot="16200000" flipH="1">
            <a:off x="7898582" y="4914755"/>
            <a:ext cx="2319688" cy="2"/>
          </a:xfrm>
          <a:prstGeom prst="bentConnector3">
            <a:avLst>
              <a:gd name="adj1" fmla="val 50000"/>
            </a:avLst>
          </a:prstGeom>
          <a:ln w="25400">
            <a:solidFill>
              <a:schemeClr val="tx1">
                <a:lumMod val="65000"/>
                <a:lumOff val="35000"/>
              </a:schemeClr>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108" name="Abgerundetes Rechteck 24">
            <a:extLst>
              <a:ext uri="{FF2B5EF4-FFF2-40B4-BE49-F238E27FC236}">
                <a16:creationId xmlns:a16="http://schemas.microsoft.com/office/drawing/2014/main" id="{1059D291-7981-42DF-826C-A3703B03A6D5}"/>
              </a:ext>
            </a:extLst>
          </p:cNvPr>
          <p:cNvSpPr/>
          <p:nvPr/>
        </p:nvSpPr>
        <p:spPr>
          <a:xfrm>
            <a:off x="9184547" y="2844775"/>
            <a:ext cx="898544" cy="182249"/>
          </a:xfrm>
          <a:prstGeom prst="roundRect">
            <a:avLst>
              <a:gd name="adj" fmla="val 50000"/>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5933" tIns="35933" rIns="35933" bIns="35933" rtlCol="0" anchor="ctr"/>
          <a:lstStyle/>
          <a:p>
            <a:pPr algn="ctr" defTabSz="1087034"/>
            <a:r>
              <a:rPr lang="en-US" sz="1098" dirty="0">
                <a:solidFill>
                  <a:srgbClr val="FFFFFF"/>
                </a:solidFill>
                <a:latin typeface="Arial"/>
                <a:ea typeface="BentonSans Book " charset="0"/>
                <a:cs typeface="BentonSans Book " charset="0"/>
              </a:rPr>
              <a:t>Pub / Sub</a:t>
            </a:r>
          </a:p>
        </p:txBody>
      </p:sp>
      <p:pic>
        <p:nvPicPr>
          <p:cNvPr id="1032" name="Picture 8" descr="SAP – Wikipedia">
            <a:extLst>
              <a:ext uri="{FF2B5EF4-FFF2-40B4-BE49-F238E27FC236}">
                <a16:creationId xmlns:a16="http://schemas.microsoft.com/office/drawing/2014/main" id="{D7AC211D-7E0E-4A56-9CD2-8ED63666BDA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306631" y="6392602"/>
            <a:ext cx="369114" cy="182250"/>
          </a:xfrm>
          <a:prstGeom prst="rect">
            <a:avLst/>
          </a:prstGeom>
          <a:noFill/>
          <a:extLst>
            <a:ext uri="{909E8E84-426E-40DD-AFC4-6F175D3DCCD1}">
              <a14:hiddenFill xmlns:a14="http://schemas.microsoft.com/office/drawing/2010/main">
                <a:solidFill>
                  <a:srgbClr val="FFFFFF"/>
                </a:solidFill>
              </a14:hiddenFill>
            </a:ext>
          </a:extLst>
        </p:spPr>
      </p:pic>
      <p:sp>
        <p:nvSpPr>
          <p:cNvPr id="127" name="Rectangle 126">
            <a:extLst>
              <a:ext uri="{FF2B5EF4-FFF2-40B4-BE49-F238E27FC236}">
                <a16:creationId xmlns:a16="http://schemas.microsoft.com/office/drawing/2014/main" id="{17B20217-3872-4966-A453-F6C8950843B9}"/>
              </a:ext>
            </a:extLst>
          </p:cNvPr>
          <p:cNvSpPr/>
          <p:nvPr/>
        </p:nvSpPr>
        <p:spPr>
          <a:xfrm>
            <a:off x="10344801" y="3425766"/>
            <a:ext cx="861021" cy="256006"/>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lIns="35942" tIns="35942" rIns="35942" bIns="0" rtlCol="0" anchor="ctr"/>
          <a:lstStyle/>
          <a:p>
            <a:pPr algn="ctr" defTabSz="1087034">
              <a:defRPr/>
            </a:pPr>
            <a:r>
              <a:rPr lang="en-US" sz="1098" b="1" dirty="0">
                <a:solidFill>
                  <a:srgbClr val="427CAC"/>
                </a:solidFill>
                <a:latin typeface="Arial" charset="0"/>
                <a:ea typeface="Arial" charset="0"/>
                <a:cs typeface="Arial" charset="0"/>
              </a:rPr>
              <a:t>SAP IAS</a:t>
            </a:r>
          </a:p>
        </p:txBody>
      </p:sp>
      <p:pic>
        <p:nvPicPr>
          <p:cNvPr id="5" name="Grafik 4">
            <a:extLst>
              <a:ext uri="{FF2B5EF4-FFF2-40B4-BE49-F238E27FC236}">
                <a16:creationId xmlns:a16="http://schemas.microsoft.com/office/drawing/2014/main" id="{0F830047-A147-68DD-A779-586582D49536}"/>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333986" y="2251608"/>
            <a:ext cx="457200" cy="457200"/>
          </a:xfrm>
          <a:prstGeom prst="rect">
            <a:avLst/>
          </a:prstGeom>
        </p:spPr>
      </p:pic>
      <p:cxnSp>
        <p:nvCxnSpPr>
          <p:cNvPr id="6" name="Straight Arrow Connector 18">
            <a:extLst>
              <a:ext uri="{FF2B5EF4-FFF2-40B4-BE49-F238E27FC236}">
                <a16:creationId xmlns:a16="http://schemas.microsoft.com/office/drawing/2014/main" id="{64BB035F-5E4F-DC8C-D8AA-1C5F8B5797EE}"/>
              </a:ext>
            </a:extLst>
          </p:cNvPr>
          <p:cNvCxnSpPr>
            <a:cxnSpLocks/>
            <a:stCxn id="5" idx="1"/>
          </p:cNvCxnSpPr>
          <p:nvPr/>
        </p:nvCxnSpPr>
        <p:spPr>
          <a:xfrm rot="10800000">
            <a:off x="6339902" y="2223280"/>
            <a:ext cx="2994084" cy="256929"/>
          </a:xfrm>
          <a:prstGeom prst="bentConnector2">
            <a:avLst/>
          </a:prstGeom>
          <a:ln w="25400">
            <a:solidFill>
              <a:schemeClr val="tx1">
                <a:lumMod val="65000"/>
                <a:lumOff val="35000"/>
              </a:schemeClr>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3" name="Oval 2">
            <a:extLst>
              <a:ext uri="{FF2B5EF4-FFF2-40B4-BE49-F238E27FC236}">
                <a16:creationId xmlns:a16="http://schemas.microsoft.com/office/drawing/2014/main" id="{BEE50134-2086-6F35-B4DC-24980866B5A6}"/>
              </a:ext>
            </a:extLst>
          </p:cNvPr>
          <p:cNvSpPr/>
          <p:nvPr/>
        </p:nvSpPr>
        <p:spPr bwMode="gray">
          <a:xfrm>
            <a:off x="8635537" y="5992302"/>
            <a:ext cx="249141" cy="256731"/>
          </a:xfrm>
          <a:prstGeom prst="ellipse">
            <a:avLst/>
          </a:prstGeom>
          <a:noFill/>
          <a:ln w="25400" algn="ctr">
            <a:solidFill>
              <a:srgbClr val="00B050"/>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900" b="0" i="0" u="none" strike="noStrike" kern="0" cap="none" spc="0" normalizeH="0" baseline="0" noProof="0" dirty="0">
                <a:ln>
                  <a:noFill/>
                </a:ln>
                <a:effectLst/>
                <a:uLnTx/>
                <a:uFillTx/>
                <a:ea typeface="Arial Unicode MS" pitchFamily="34" charset="-128"/>
                <a:cs typeface="Arial Unicode MS" pitchFamily="34" charset="-128"/>
              </a:rPr>
              <a:t>1</a:t>
            </a:r>
          </a:p>
        </p:txBody>
      </p:sp>
      <p:sp>
        <p:nvSpPr>
          <p:cNvPr id="8" name="Rectangle 79">
            <a:extLst>
              <a:ext uri="{FF2B5EF4-FFF2-40B4-BE49-F238E27FC236}">
                <a16:creationId xmlns:a16="http://schemas.microsoft.com/office/drawing/2014/main" id="{89EF2916-4628-BD27-CF98-4F2CD084207E}"/>
              </a:ext>
            </a:extLst>
          </p:cNvPr>
          <p:cNvSpPr/>
          <p:nvPr/>
        </p:nvSpPr>
        <p:spPr>
          <a:xfrm>
            <a:off x="9042869" y="583629"/>
            <a:ext cx="1677235" cy="405488"/>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lIns="35933" tIns="35933" rIns="35933" bIns="35933" rtlCol="0" anchor="ctr"/>
          <a:lstStyle/>
          <a:p>
            <a:pPr algn="ctr" defTabSz="1087034"/>
            <a:r>
              <a:rPr lang="en-US" sz="1098" b="1" dirty="0">
                <a:solidFill>
                  <a:srgbClr val="000000">
                    <a:lumMod val="65000"/>
                    <a:lumOff val="35000"/>
                  </a:srgbClr>
                </a:solidFill>
                <a:latin typeface="Arial" charset="0"/>
                <a:ea typeface="Arial" charset="0"/>
                <a:cs typeface="Arial" charset="0"/>
              </a:rPr>
              <a:t>S/4HANA Cloud </a:t>
            </a:r>
          </a:p>
        </p:txBody>
      </p:sp>
      <p:pic>
        <p:nvPicPr>
          <p:cNvPr id="11" name="Picture 8" descr="SAP – Wikipedia">
            <a:extLst>
              <a:ext uri="{FF2B5EF4-FFF2-40B4-BE49-F238E27FC236}">
                <a16:creationId xmlns:a16="http://schemas.microsoft.com/office/drawing/2014/main" id="{56C7EA17-FCCD-5B7C-9233-4D6033FDB2F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913336" y="855563"/>
            <a:ext cx="369114" cy="182250"/>
          </a:xfrm>
          <a:prstGeom prst="rect">
            <a:avLst/>
          </a:prstGeom>
          <a:noFill/>
          <a:extLst>
            <a:ext uri="{909E8E84-426E-40DD-AFC4-6F175D3DCCD1}">
              <a14:hiddenFill xmlns:a14="http://schemas.microsoft.com/office/drawing/2010/main">
                <a:solidFill>
                  <a:srgbClr val="FFFFFF"/>
                </a:solidFill>
              </a14:hiddenFill>
            </a:ext>
          </a:extLst>
        </p:spPr>
      </p:pic>
      <p:sp>
        <p:nvSpPr>
          <p:cNvPr id="14" name="Wolke 13">
            <a:extLst>
              <a:ext uri="{FF2B5EF4-FFF2-40B4-BE49-F238E27FC236}">
                <a16:creationId xmlns:a16="http://schemas.microsoft.com/office/drawing/2014/main" id="{5071D85C-D4B4-FC46-287B-F2557F2D66BA}"/>
              </a:ext>
            </a:extLst>
          </p:cNvPr>
          <p:cNvSpPr/>
          <p:nvPr/>
        </p:nvSpPr>
        <p:spPr bwMode="gray">
          <a:xfrm rot="11078878">
            <a:off x="8338190" y="653740"/>
            <a:ext cx="595347" cy="358422"/>
          </a:xfrm>
          <a:prstGeom prst="cloud">
            <a:avLst/>
          </a:prstGeom>
          <a:noFill/>
          <a:ln w="2540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err="1">
              <a:ln>
                <a:noFill/>
              </a:ln>
              <a:effectLst/>
              <a:uLnTx/>
              <a:uFillTx/>
              <a:ea typeface="Arial Unicode MS" pitchFamily="34" charset="-128"/>
              <a:cs typeface="Arial Unicode MS" pitchFamily="34" charset="-128"/>
            </a:endParaRPr>
          </a:p>
        </p:txBody>
      </p:sp>
      <p:sp>
        <p:nvSpPr>
          <p:cNvPr id="15" name="Oval 14">
            <a:extLst>
              <a:ext uri="{FF2B5EF4-FFF2-40B4-BE49-F238E27FC236}">
                <a16:creationId xmlns:a16="http://schemas.microsoft.com/office/drawing/2014/main" id="{6DF4DEEA-F5A3-5CDC-C6B9-BD9F93727496}"/>
              </a:ext>
            </a:extLst>
          </p:cNvPr>
          <p:cNvSpPr/>
          <p:nvPr/>
        </p:nvSpPr>
        <p:spPr bwMode="gray">
          <a:xfrm>
            <a:off x="9237547" y="5986459"/>
            <a:ext cx="249141" cy="256731"/>
          </a:xfrm>
          <a:prstGeom prst="ellipse">
            <a:avLst/>
          </a:prstGeom>
          <a:noFill/>
          <a:ln w="25400" algn="ctr">
            <a:solidFill>
              <a:srgbClr val="00B050"/>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900" b="0" i="0" u="none" strike="noStrike" kern="0" cap="none" spc="0" normalizeH="0" baseline="0" noProof="0" dirty="0">
                <a:ln>
                  <a:noFill/>
                </a:ln>
                <a:effectLst/>
                <a:uLnTx/>
                <a:uFillTx/>
                <a:ea typeface="Arial Unicode MS" pitchFamily="34" charset="-128"/>
                <a:cs typeface="Arial Unicode MS" pitchFamily="34" charset="-128"/>
              </a:rPr>
              <a:t>2</a:t>
            </a:r>
          </a:p>
        </p:txBody>
      </p:sp>
      <p:cxnSp>
        <p:nvCxnSpPr>
          <p:cNvPr id="23" name="Straight Arrow Connector 18">
            <a:extLst>
              <a:ext uri="{FF2B5EF4-FFF2-40B4-BE49-F238E27FC236}">
                <a16:creationId xmlns:a16="http://schemas.microsoft.com/office/drawing/2014/main" id="{58831075-CB85-C8B0-E810-6FAD1A3311D6}"/>
              </a:ext>
            </a:extLst>
          </p:cNvPr>
          <p:cNvCxnSpPr>
            <a:cxnSpLocks/>
            <a:stCxn id="5" idx="0"/>
            <a:endCxn id="14" idx="3"/>
          </p:cNvCxnSpPr>
          <p:nvPr/>
        </p:nvCxnSpPr>
        <p:spPr>
          <a:xfrm rot="16200000" flipV="1">
            <a:off x="8462564" y="1151586"/>
            <a:ext cx="1260461" cy="939584"/>
          </a:xfrm>
          <a:prstGeom prst="bentConnector3">
            <a:avLst>
              <a:gd name="adj1" fmla="val 50000"/>
            </a:avLst>
          </a:prstGeom>
          <a:ln w="25400">
            <a:solidFill>
              <a:schemeClr val="tx1">
                <a:lumMod val="65000"/>
                <a:lumOff val="35000"/>
              </a:schemeClr>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7" name="Rechteck 42">
            <a:extLst>
              <a:ext uri="{FF2B5EF4-FFF2-40B4-BE49-F238E27FC236}">
                <a16:creationId xmlns:a16="http://schemas.microsoft.com/office/drawing/2014/main" id="{7D965BB6-E2BD-C18C-70E3-85C4C95B6B4E}"/>
              </a:ext>
            </a:extLst>
          </p:cNvPr>
          <p:cNvSpPr/>
          <p:nvPr/>
        </p:nvSpPr>
        <p:spPr>
          <a:xfrm>
            <a:off x="7483259" y="3425766"/>
            <a:ext cx="1411307" cy="253798"/>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lIns="35942" tIns="91292" rIns="35942" bIns="91292" rtlCol="0" anchor="ctr"/>
          <a:lstStyle/>
          <a:p>
            <a:pPr defTabSz="1087034">
              <a:defRPr/>
            </a:pPr>
            <a:r>
              <a:rPr lang="en-US" sz="1098" b="1" dirty="0">
                <a:solidFill>
                  <a:srgbClr val="427CAC"/>
                </a:solidFill>
                <a:latin typeface="Arial" charset="0"/>
                <a:ea typeface="Arial" charset="0"/>
                <a:cs typeface="Arial" charset="0"/>
              </a:rPr>
              <a:t>Cloud Integration</a:t>
            </a:r>
          </a:p>
        </p:txBody>
      </p:sp>
      <p:pic>
        <p:nvPicPr>
          <p:cNvPr id="10" name="Bild 54">
            <a:extLst>
              <a:ext uri="{FF2B5EF4-FFF2-40B4-BE49-F238E27FC236}">
                <a16:creationId xmlns:a16="http://schemas.microsoft.com/office/drawing/2014/main" id="{C41DF94F-1B1F-D4FB-F226-98D26D6D47DC}"/>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760108" y="3158279"/>
            <a:ext cx="596633" cy="596633"/>
          </a:xfrm>
          <a:prstGeom prst="ellipse">
            <a:avLst/>
          </a:prstGeom>
        </p:spPr>
      </p:pic>
      <p:cxnSp>
        <p:nvCxnSpPr>
          <p:cNvPr id="17" name="Straight Arrow Connector 18">
            <a:extLst>
              <a:ext uri="{FF2B5EF4-FFF2-40B4-BE49-F238E27FC236}">
                <a16:creationId xmlns:a16="http://schemas.microsoft.com/office/drawing/2014/main" id="{B8B06692-7401-D73D-9074-1BF9974D4AAD}"/>
              </a:ext>
            </a:extLst>
          </p:cNvPr>
          <p:cNvCxnSpPr>
            <a:cxnSpLocks/>
            <a:stCxn id="108" idx="2"/>
            <a:endCxn id="10" idx="6"/>
          </p:cNvCxnSpPr>
          <p:nvPr/>
        </p:nvCxnSpPr>
        <p:spPr>
          <a:xfrm rot="5400000">
            <a:off x="9280494" y="3103271"/>
            <a:ext cx="429572" cy="277078"/>
          </a:xfrm>
          <a:prstGeom prst="bentConnector2">
            <a:avLst/>
          </a:prstGeom>
          <a:ln w="25400">
            <a:solidFill>
              <a:schemeClr val="tx1">
                <a:lumMod val="65000"/>
                <a:lumOff val="35000"/>
              </a:schemeClr>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22" name="Oval 21">
            <a:extLst>
              <a:ext uri="{FF2B5EF4-FFF2-40B4-BE49-F238E27FC236}">
                <a16:creationId xmlns:a16="http://schemas.microsoft.com/office/drawing/2014/main" id="{CB0F3720-AA88-5B66-CC58-8A38991D636A}"/>
              </a:ext>
            </a:extLst>
          </p:cNvPr>
          <p:cNvSpPr/>
          <p:nvPr/>
        </p:nvSpPr>
        <p:spPr bwMode="gray">
          <a:xfrm>
            <a:off x="9232170" y="3804292"/>
            <a:ext cx="249141" cy="256731"/>
          </a:xfrm>
          <a:prstGeom prst="ellipse">
            <a:avLst/>
          </a:prstGeom>
          <a:noFill/>
          <a:ln w="25400" algn="ctr">
            <a:solidFill>
              <a:srgbClr val="00B050"/>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lang="en-US" sz="900" kern="0" dirty="0">
                <a:ea typeface="Arial Unicode MS" pitchFamily="34" charset="-128"/>
                <a:cs typeface="Arial Unicode MS" pitchFamily="34" charset="-128"/>
              </a:rPr>
              <a:t>3</a:t>
            </a:r>
            <a:endParaRPr kumimoji="0" lang="en-US" sz="900" b="0" i="0" u="none" strike="noStrike" kern="0" cap="none" spc="0" normalizeH="0" baseline="0" noProof="0" dirty="0">
              <a:ln>
                <a:noFill/>
              </a:ln>
              <a:effectLst/>
              <a:uLnTx/>
              <a:uFillTx/>
              <a:ea typeface="Arial Unicode MS" pitchFamily="34" charset="-128"/>
              <a:cs typeface="Arial Unicode MS" pitchFamily="34" charset="-128"/>
            </a:endParaRPr>
          </a:p>
        </p:txBody>
      </p:sp>
    </p:spTree>
    <p:extLst>
      <p:ext uri="{BB962C8B-B14F-4D97-AF65-F5344CB8AC3E}">
        <p14:creationId xmlns:p14="http://schemas.microsoft.com/office/powerpoint/2010/main" val="269631752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F2068403-48E1-C5EA-187C-71F13A549E4D}"/>
              </a:ext>
            </a:extLst>
          </p:cNvPr>
          <p:cNvSpPr>
            <a:spLocks noGrp="1"/>
          </p:cNvSpPr>
          <p:nvPr>
            <p:ph type="body" sz="quarter" idx="10"/>
          </p:nvPr>
        </p:nvSpPr>
        <p:spPr/>
        <p:txBody>
          <a:bodyPr/>
          <a:lstStyle/>
          <a:p>
            <a:endParaRPr lang="en-US"/>
          </a:p>
        </p:txBody>
      </p:sp>
      <p:sp>
        <p:nvSpPr>
          <p:cNvPr id="3" name="Titel 2">
            <a:extLst>
              <a:ext uri="{FF2B5EF4-FFF2-40B4-BE49-F238E27FC236}">
                <a16:creationId xmlns:a16="http://schemas.microsoft.com/office/drawing/2014/main" id="{E5381840-E12F-4631-7AE6-E041D4DE84E8}"/>
              </a:ext>
            </a:extLst>
          </p:cNvPr>
          <p:cNvSpPr>
            <a:spLocks noGrp="1"/>
          </p:cNvSpPr>
          <p:nvPr>
            <p:ph type="title"/>
          </p:nvPr>
        </p:nvSpPr>
        <p:spPr/>
        <p:txBody>
          <a:bodyPr/>
          <a:lstStyle/>
          <a:p>
            <a:r>
              <a:rPr lang="en-US"/>
              <a:t>Appendix</a:t>
            </a:r>
          </a:p>
        </p:txBody>
      </p:sp>
    </p:spTree>
    <p:extLst>
      <p:ext uri="{BB962C8B-B14F-4D97-AF65-F5344CB8AC3E}">
        <p14:creationId xmlns:p14="http://schemas.microsoft.com/office/powerpoint/2010/main" val="139673995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0" name="Rounded Rectangle 9">
            <a:extLst>
              <a:ext uri="{FF2B5EF4-FFF2-40B4-BE49-F238E27FC236}">
                <a16:creationId xmlns:a16="http://schemas.microsoft.com/office/drawing/2014/main" id="{9E582477-48C0-1006-68F0-EE2BCAE4A581}"/>
              </a:ext>
            </a:extLst>
          </p:cNvPr>
          <p:cNvSpPr/>
          <p:nvPr/>
        </p:nvSpPr>
        <p:spPr bwMode="gray">
          <a:xfrm>
            <a:off x="436612" y="983311"/>
            <a:ext cx="11395963" cy="677108"/>
          </a:xfrm>
          <a:prstGeom prst="roundRect">
            <a:avLst>
              <a:gd name="adj" fmla="val 7734"/>
            </a:avLst>
          </a:prstGeom>
          <a:solidFill>
            <a:schemeClr val="bg1"/>
          </a:solidFill>
          <a:ln w="38100" algn="ctr">
            <a:gradFill>
              <a:gsLst>
                <a:gs pos="2000">
                  <a:schemeClr val="tx1"/>
                </a:gs>
                <a:gs pos="89000">
                  <a:schemeClr val="accent3">
                    <a:alpha val="0"/>
                  </a:schemeClr>
                </a:gs>
              </a:gsLst>
              <a:lin ang="3000000" scaled="0"/>
            </a:gradFill>
            <a:miter lim="800000"/>
            <a:headEnd/>
            <a:tailEnd/>
          </a:ln>
          <a:effectLst>
            <a:outerShdw blurRad="101600" dist="63500" dir="2700000" algn="tl" rotWithShape="0">
              <a:prstClr val="black">
                <a:alpha val="17793"/>
              </a:prstClr>
            </a:outerShdw>
          </a:effectLst>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sp>
        <p:nvSpPr>
          <p:cNvPr id="20" name="Rounded Rectangle 19">
            <a:extLst>
              <a:ext uri="{FF2B5EF4-FFF2-40B4-BE49-F238E27FC236}">
                <a16:creationId xmlns:a16="http://schemas.microsoft.com/office/drawing/2014/main" id="{51E5AA16-A0E4-004F-B317-7F7B23E2806D}"/>
              </a:ext>
            </a:extLst>
          </p:cNvPr>
          <p:cNvSpPr/>
          <p:nvPr/>
        </p:nvSpPr>
        <p:spPr bwMode="gray">
          <a:xfrm>
            <a:off x="436612" y="1851762"/>
            <a:ext cx="5509308" cy="4569736"/>
          </a:xfrm>
          <a:prstGeom prst="roundRect">
            <a:avLst>
              <a:gd name="adj" fmla="val 10063"/>
            </a:avLst>
          </a:prstGeom>
          <a:solidFill>
            <a:schemeClr val="bg1"/>
          </a:solidFill>
          <a:ln w="38100" algn="ctr">
            <a:gradFill>
              <a:gsLst>
                <a:gs pos="2000">
                  <a:schemeClr val="tx1"/>
                </a:gs>
                <a:gs pos="89000">
                  <a:schemeClr val="accent3">
                    <a:alpha val="0"/>
                  </a:schemeClr>
                </a:gs>
              </a:gsLst>
              <a:lin ang="3000000" scaled="0"/>
            </a:gradFill>
            <a:miter lim="800000"/>
            <a:headEnd/>
            <a:tailEnd/>
          </a:ln>
          <a:effectLst>
            <a:outerShdw blurRad="101600" dist="63500" dir="2700000" algn="tl" rotWithShape="0">
              <a:prstClr val="black">
                <a:alpha val="17793"/>
              </a:prstClr>
            </a:outerShdw>
          </a:effectLst>
        </p:spPr>
        <p:txBody>
          <a:bodyPr lIns="90000" tIns="72000" rIns="90000" bIns="72000" rtlCol="0" anchor="ctr"/>
          <a:lstStyle/>
          <a:p>
            <a:pPr fontAlgn="base">
              <a:spcBef>
                <a:spcPct val="50000"/>
              </a:spcBef>
              <a:spcAft>
                <a:spcPct val="0"/>
              </a:spcAft>
              <a:buClr>
                <a:srgbClr val="F0AB00"/>
              </a:buClr>
              <a:buSzPct val="80000"/>
            </a:pPr>
            <a:endParaRPr lang="en-US" sz="1800" b="1" dirty="0"/>
          </a:p>
          <a:p>
            <a:pPr marL="285750" indent="-285750" fontAlgn="base">
              <a:spcBef>
                <a:spcPct val="50000"/>
              </a:spcBef>
              <a:spcAft>
                <a:spcPct val="0"/>
              </a:spcAft>
              <a:buClr>
                <a:srgbClr val="F0AB00"/>
              </a:buClr>
              <a:buSzPct val="80000"/>
              <a:buFont typeface="Arial" panose="020B0604020202020204" pitchFamily="34" charset="0"/>
              <a:buChar char="•"/>
            </a:pPr>
            <a:r>
              <a:rPr lang="en-US" sz="1600" b="1" dirty="0">
                <a:latin typeface="+mn-lt"/>
              </a:rPr>
              <a:t>Low entry barrier </a:t>
            </a:r>
            <a:r>
              <a:rPr lang="en-US" sz="1600" dirty="0">
                <a:latin typeface="+mn-lt"/>
              </a:rPr>
              <a:t>to event-driven architectures with </a:t>
            </a:r>
            <a:r>
              <a:rPr lang="en-US" sz="1600" b="1" dirty="0">
                <a:latin typeface="+mn-lt"/>
              </a:rPr>
              <a:t>pay per </a:t>
            </a:r>
            <a:r>
              <a:rPr lang="en-US" sz="1600" dirty="0">
                <a:latin typeface="+mn-lt"/>
              </a:rPr>
              <a:t>use-based pricing</a:t>
            </a:r>
          </a:p>
          <a:p>
            <a:pPr marL="285750" indent="-285750" fontAlgn="base">
              <a:spcBef>
                <a:spcPct val="50000"/>
              </a:spcBef>
              <a:spcAft>
                <a:spcPct val="0"/>
              </a:spcAft>
              <a:buClr>
                <a:srgbClr val="F0AB00"/>
              </a:buClr>
              <a:buSzPct val="80000"/>
              <a:buFont typeface="Arial" panose="020B0604020202020204" pitchFamily="34" charset="0"/>
              <a:buChar char="•"/>
            </a:pPr>
            <a:r>
              <a:rPr lang="en-US" sz="1600" b="1" dirty="0">
                <a:latin typeface="+mn-lt"/>
              </a:rPr>
              <a:t>Integrate and extend SAP applications </a:t>
            </a:r>
            <a:r>
              <a:rPr lang="en-US" sz="1600" dirty="0">
                <a:latin typeface="+mn-lt"/>
              </a:rPr>
              <a:t>in an event-driven way based on SAP Integration Suite</a:t>
            </a:r>
          </a:p>
          <a:p>
            <a:pPr marL="285750" indent="-285750" fontAlgn="base">
              <a:spcBef>
                <a:spcPct val="50000"/>
              </a:spcBef>
              <a:spcAft>
                <a:spcPct val="0"/>
              </a:spcAft>
              <a:buClr>
                <a:srgbClr val="F0AB00"/>
              </a:buClr>
              <a:buSzPct val="80000"/>
              <a:buFont typeface="Arial" panose="020B0604020202020204" pitchFamily="34" charset="0"/>
              <a:buChar char="•"/>
            </a:pPr>
            <a:r>
              <a:rPr lang="en-US" sz="1600" dirty="0">
                <a:latin typeface="+mn-lt"/>
              </a:rPr>
              <a:t>SAP </a:t>
            </a:r>
            <a:r>
              <a:rPr lang="en-US" sz="1600" b="1" dirty="0">
                <a:latin typeface="+mn-lt"/>
              </a:rPr>
              <a:t>BTP Deployment</a:t>
            </a:r>
            <a:r>
              <a:rPr lang="en-US" sz="1600" dirty="0">
                <a:latin typeface="+mn-lt"/>
              </a:rPr>
              <a:t> and </a:t>
            </a:r>
            <a:r>
              <a:rPr lang="en-US" sz="1600" b="1" dirty="0">
                <a:latin typeface="+mn-lt"/>
              </a:rPr>
              <a:t>native event broker</a:t>
            </a:r>
            <a:r>
              <a:rPr lang="en-US" sz="1600" dirty="0">
                <a:latin typeface="+mn-lt"/>
              </a:rPr>
              <a:t> for SAP S/4HANA, free add-on for custom ECC events</a:t>
            </a:r>
          </a:p>
          <a:p>
            <a:pPr marL="285750" indent="-285750" fontAlgn="base">
              <a:spcBef>
                <a:spcPct val="50000"/>
              </a:spcBef>
              <a:spcAft>
                <a:spcPct val="0"/>
              </a:spcAft>
              <a:buClr>
                <a:srgbClr val="F0AB00"/>
              </a:buClr>
              <a:buSzPct val="80000"/>
              <a:buFont typeface="Arial" panose="020B0604020202020204" pitchFamily="34" charset="0"/>
              <a:buChar char="•"/>
            </a:pPr>
            <a:r>
              <a:rPr lang="en-US" sz="1600" b="1" dirty="0">
                <a:latin typeface="+mn-lt"/>
              </a:rPr>
              <a:t>Openness and focus </a:t>
            </a:r>
            <a:r>
              <a:rPr lang="en-US" sz="1600" dirty="0">
                <a:latin typeface="+mn-lt"/>
              </a:rPr>
              <a:t>combined by supporting open standards and providing extra benefits for SAP ecosystem</a:t>
            </a:r>
          </a:p>
          <a:p>
            <a:pPr marL="285750" indent="-285750" fontAlgn="base">
              <a:spcBef>
                <a:spcPct val="50000"/>
              </a:spcBef>
              <a:spcAft>
                <a:spcPct val="0"/>
              </a:spcAft>
              <a:buClr>
                <a:srgbClr val="F0AB00"/>
              </a:buClr>
              <a:buSzPct val="80000"/>
              <a:buFont typeface="Arial" panose="020B0604020202020204" pitchFamily="34" charset="0"/>
              <a:buChar char="•"/>
            </a:pPr>
            <a:r>
              <a:rPr lang="en-US" sz="1600" b="1" dirty="0">
                <a:latin typeface="+mn-lt"/>
              </a:rPr>
              <a:t>Scales well </a:t>
            </a:r>
            <a:r>
              <a:rPr lang="en-US" sz="1600" dirty="0">
                <a:latin typeface="+mn-lt"/>
              </a:rPr>
              <a:t>with certain</a:t>
            </a:r>
            <a:r>
              <a:rPr lang="en-US" sz="1600" b="1" dirty="0">
                <a:latin typeface="+mn-lt"/>
              </a:rPr>
              <a:t> set limits</a:t>
            </a:r>
          </a:p>
        </p:txBody>
      </p:sp>
      <p:sp>
        <p:nvSpPr>
          <p:cNvPr id="6" name="Text Placeholder 2"/>
          <p:cNvSpPr txBox="1">
            <a:spLocks/>
          </p:cNvSpPr>
          <p:nvPr/>
        </p:nvSpPr>
        <p:spPr bwMode="gray">
          <a:xfrm>
            <a:off x="49760" y="1128515"/>
            <a:ext cx="12195174" cy="461665"/>
          </a:xfrm>
          <a:prstGeom prst="rect">
            <a:avLst/>
          </a:prstGeom>
          <a:noFill/>
        </p:spPr>
        <p:txBody>
          <a:bodyPr vert="horz" lIns="0" tIns="0" rIns="0" bIns="0" rtlCol="0">
            <a:noAutofit/>
          </a:bodyPr>
          <a:lstStyle>
            <a:lvl1pPr marL="0" indent="0" algn="l" defTabSz="1088776" rtl="0" eaLnBrk="1" latinLnBrk="0" hangingPunct="1">
              <a:spcBef>
                <a:spcPts val="1000"/>
              </a:spcBef>
              <a:spcAft>
                <a:spcPts val="0"/>
              </a:spcAft>
              <a:buClr>
                <a:schemeClr val="accent1"/>
              </a:buClr>
              <a:buSzPct val="80000"/>
              <a:buFontTx/>
              <a:buNone/>
              <a:defRPr sz="1600" b="1" kern="1200">
                <a:solidFill>
                  <a:schemeClr val="tx1"/>
                </a:solidFill>
                <a:latin typeface="+mn-lt"/>
                <a:ea typeface="+mn-ea"/>
                <a:cs typeface="+mn-cs"/>
              </a:defRPr>
            </a:lvl1pPr>
            <a:lvl2pPr marL="228600" indent="-182880" algn="l" defTabSz="1088776" rtl="0" eaLnBrk="1" latinLnBrk="0" hangingPunct="1">
              <a:spcBef>
                <a:spcPts val="200"/>
              </a:spcBef>
              <a:spcAft>
                <a:spcPts val="0"/>
              </a:spcAft>
              <a:buClr>
                <a:schemeClr val="accent1"/>
              </a:buClr>
              <a:buSzPct val="100000"/>
              <a:buFont typeface="Wingdings" pitchFamily="2" charset="2"/>
              <a:buChar char=""/>
              <a:defRPr sz="1400" kern="1200">
                <a:solidFill>
                  <a:schemeClr val="tx1"/>
                </a:solidFill>
                <a:latin typeface="+mn-lt"/>
                <a:ea typeface="+mn-ea"/>
                <a:cs typeface="+mn-cs"/>
              </a:defRPr>
            </a:lvl2pPr>
            <a:lvl3pPr marL="402336" indent="-180000" algn="l" defTabSz="1088776" rtl="0" eaLnBrk="1" latinLnBrk="0" hangingPunct="1">
              <a:spcBef>
                <a:spcPts val="200"/>
              </a:spcBef>
              <a:buClr>
                <a:schemeClr val="accent2"/>
              </a:buClr>
              <a:buSzPct val="100000"/>
              <a:buFont typeface="Arial" panose="020B0604020202020204" pitchFamily="34" charset="0"/>
              <a:buChar char="–"/>
              <a:defRPr sz="1200" kern="1200" baseline="0">
                <a:solidFill>
                  <a:schemeClr val="tx1"/>
                </a:solidFill>
                <a:latin typeface="+mn-lt"/>
                <a:ea typeface="+mn-ea"/>
                <a:cs typeface="+mn-cs"/>
              </a:defRPr>
            </a:lvl3pPr>
            <a:lvl4pPr marL="222336" indent="0" algn="l" defTabSz="1088776" rtl="0" eaLnBrk="1" latinLnBrk="0" hangingPunct="1">
              <a:spcBef>
                <a:spcPts val="200"/>
              </a:spcBef>
              <a:buClr>
                <a:schemeClr val="accent2"/>
              </a:buClr>
              <a:buSzPct val="100000"/>
              <a:buFont typeface="Arial" pitchFamily="34" charset="0"/>
              <a:buNone/>
              <a:defRPr sz="1200" kern="1200">
                <a:solidFill>
                  <a:schemeClr val="tx1"/>
                </a:solidFill>
                <a:latin typeface="+mn-lt"/>
                <a:ea typeface="+mn-ea"/>
                <a:cs typeface="+mn-cs"/>
              </a:defRPr>
            </a:lvl4pPr>
            <a:lvl5pPr marL="402336" indent="-180000" algn="l" defTabSz="1088776" rtl="0" eaLnBrk="1" latinLnBrk="0" hangingPunct="1">
              <a:spcBef>
                <a:spcPts val="200"/>
              </a:spcBef>
              <a:buClr>
                <a:schemeClr val="accent2"/>
              </a:buClr>
              <a:buSzPct val="100000"/>
              <a:buFont typeface="Arial" panose="020B0604020202020204" pitchFamily="34" charset="0"/>
              <a:buChar char="−"/>
              <a:defRPr sz="1200" kern="1200">
                <a:solidFill>
                  <a:schemeClr val="tx1"/>
                </a:solidFill>
                <a:latin typeface="+mn-lt"/>
                <a:ea typeface="+mn-ea"/>
                <a:cs typeface="+mn-cs"/>
              </a:defRPr>
            </a:lvl5pPr>
            <a:lvl6pPr marL="2994134"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8522"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910"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7298"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algn="ctr" fontAlgn="base">
              <a:spcBef>
                <a:spcPct val="50000"/>
              </a:spcBef>
              <a:spcAft>
                <a:spcPct val="0"/>
              </a:spcAft>
              <a:buClr>
                <a:srgbClr val="F0AB00"/>
              </a:buClr>
            </a:pPr>
            <a:r>
              <a:rPr lang="en-DE" sz="2400" kern="0" dirty="0">
                <a:ea typeface="Arial Unicode MS" pitchFamily="34" charset="-128"/>
                <a:cs typeface="Arial Unicode MS" pitchFamily="34" charset="-128"/>
              </a:rPr>
              <a:t> </a:t>
            </a:r>
            <a:r>
              <a:rPr lang="en-US" sz="2000" dirty="0">
                <a:latin typeface="Arial Body"/>
              </a:rPr>
              <a:t>Fully-managed service </a:t>
            </a:r>
            <a:r>
              <a:rPr lang="en-US" sz="2000" b="0" dirty="0">
                <a:latin typeface="Arial Body"/>
              </a:rPr>
              <a:t>for enabling </a:t>
            </a:r>
            <a:r>
              <a:rPr lang="en-US" sz="2000" dirty="0">
                <a:latin typeface="Arial Body"/>
              </a:rPr>
              <a:t>enterprise-grade event-driven architectures</a:t>
            </a:r>
            <a:endParaRPr lang="en-DE" sz="2400" b="0" kern="0" dirty="0">
              <a:solidFill>
                <a:srgbClr val="FFFFFF"/>
              </a:solidFill>
              <a:ea typeface="Arial Unicode MS" pitchFamily="34" charset="-128"/>
              <a:cs typeface="Arial Unicode MS" pitchFamily="34" charset="-128"/>
            </a:endParaRPr>
          </a:p>
        </p:txBody>
      </p:sp>
      <p:sp>
        <p:nvSpPr>
          <p:cNvPr id="16" name="Title 2">
            <a:extLst>
              <a:ext uri="{FF2B5EF4-FFF2-40B4-BE49-F238E27FC236}">
                <a16:creationId xmlns:a16="http://schemas.microsoft.com/office/drawing/2014/main" id="{48ABFAEC-A0FC-A047-B355-0A2A0FD3FFD4}"/>
              </a:ext>
            </a:extLst>
          </p:cNvPr>
          <p:cNvSpPr txBox="1">
            <a:spLocks/>
          </p:cNvSpPr>
          <p:nvPr/>
        </p:nvSpPr>
        <p:spPr bwMode="black">
          <a:xfrm>
            <a:off x="296012" y="276650"/>
            <a:ext cx="11603149" cy="677108"/>
          </a:xfrm>
          <a:prstGeom prst="rect">
            <a:avLst/>
          </a:prstGeom>
        </p:spPr>
        <p:txBody>
          <a:bodyPr vert="horz" wrap="square" lIns="0" tIns="0" rIns="0" bIns="0" rtlCol="0" anchor="t" anchorCtr="0">
            <a:spAutoFit/>
          </a:bodyPr>
          <a:lstStyle>
            <a:lvl1pPr algn="l" defTabSz="1088558" rtl="0" eaLnBrk="1" latinLnBrk="0" hangingPunct="1">
              <a:spcBef>
                <a:spcPct val="0"/>
              </a:spcBef>
              <a:buNone/>
              <a:defRPr sz="2400" b="1" kern="1200" baseline="0">
                <a:solidFill>
                  <a:schemeClr val="tx1"/>
                </a:solidFill>
                <a:latin typeface="+mj-lt"/>
                <a:ea typeface="+mj-ea"/>
                <a:cs typeface="+mj-cs"/>
              </a:defRPr>
            </a:lvl1pPr>
          </a:lstStyle>
          <a:p>
            <a:r>
              <a:rPr lang="en-US" dirty="0">
                <a:solidFill>
                  <a:srgbClr val="FFC000"/>
                </a:solidFill>
              </a:rPr>
              <a:t>     </a:t>
            </a:r>
            <a:r>
              <a:rPr lang="en-US" dirty="0"/>
              <a:t>SAP Event Mesh</a:t>
            </a:r>
          </a:p>
          <a:p>
            <a:pPr algn="ctr"/>
            <a:endParaRPr lang="en-US" sz="2000" dirty="0">
              <a:solidFill>
                <a:srgbClr val="FFC000"/>
              </a:solidFill>
            </a:endParaRPr>
          </a:p>
        </p:txBody>
      </p:sp>
      <p:sp>
        <p:nvSpPr>
          <p:cNvPr id="23" name="TextBox 22">
            <a:extLst>
              <a:ext uri="{FF2B5EF4-FFF2-40B4-BE49-F238E27FC236}">
                <a16:creationId xmlns:a16="http://schemas.microsoft.com/office/drawing/2014/main" id="{95C42A21-6490-A67D-EB2F-B59CBF90BD19}"/>
              </a:ext>
            </a:extLst>
          </p:cNvPr>
          <p:cNvSpPr txBox="1"/>
          <p:nvPr/>
        </p:nvSpPr>
        <p:spPr>
          <a:xfrm>
            <a:off x="438943" y="2102831"/>
            <a:ext cx="5506977" cy="461665"/>
          </a:xfrm>
          <a:prstGeom prst="rect">
            <a:avLst/>
          </a:prstGeom>
          <a:noFill/>
        </p:spPr>
        <p:txBody>
          <a:bodyPr wrap="square">
            <a:spAutoFit/>
          </a:bodyPr>
          <a:lstStyle/>
          <a:p>
            <a:pPr algn="ctr" fontAlgn="base">
              <a:spcBef>
                <a:spcPct val="50000"/>
              </a:spcBef>
              <a:spcAft>
                <a:spcPct val="0"/>
              </a:spcAft>
              <a:buClr>
                <a:srgbClr val="F0AB00"/>
              </a:buClr>
              <a:buSzPct val="80000"/>
            </a:pPr>
            <a:r>
              <a:rPr lang="en-DE" sz="2400" b="1" kern="0" dirty="0">
                <a:solidFill>
                  <a:srgbClr val="FFC000"/>
                </a:solidFill>
                <a:ea typeface="Arial Unicode MS" pitchFamily="34" charset="-128"/>
                <a:cs typeface="Arial Unicode MS" pitchFamily="34" charset="-128"/>
              </a:rPr>
              <a:t>        </a:t>
            </a:r>
            <a:r>
              <a:rPr lang="en-DE" sz="2400" b="1" kern="0" dirty="0">
                <a:ea typeface="Arial Unicode MS" pitchFamily="34" charset="-128"/>
                <a:cs typeface="Arial Unicode MS" pitchFamily="34" charset="-128"/>
              </a:rPr>
              <a:t>SAP Event Mesh</a:t>
            </a:r>
          </a:p>
        </p:txBody>
      </p:sp>
      <p:pic>
        <p:nvPicPr>
          <p:cNvPr id="3" name="Picture 2" descr="Icon&#10;&#10;Description automatically generated">
            <a:extLst>
              <a:ext uri="{FF2B5EF4-FFF2-40B4-BE49-F238E27FC236}">
                <a16:creationId xmlns:a16="http://schemas.microsoft.com/office/drawing/2014/main" id="{AF949D2E-9C26-03AF-F136-25313103114A}"/>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255223" y="2026519"/>
            <a:ext cx="738527" cy="614288"/>
          </a:xfrm>
          <a:prstGeom prst="rect">
            <a:avLst/>
          </a:prstGeom>
        </p:spPr>
      </p:pic>
      <p:pic>
        <p:nvPicPr>
          <p:cNvPr id="4" name="Picture 3">
            <a:extLst>
              <a:ext uri="{FF2B5EF4-FFF2-40B4-BE49-F238E27FC236}">
                <a16:creationId xmlns:a16="http://schemas.microsoft.com/office/drawing/2014/main" id="{F8909BDF-81CC-86D2-8CB8-6C6E3F4A2121}"/>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487794" y="1851762"/>
            <a:ext cx="4978119" cy="4586322"/>
          </a:xfrm>
          <a:prstGeom prst="rect">
            <a:avLst/>
          </a:prstGeom>
        </p:spPr>
      </p:pic>
    </p:spTree>
    <p:extLst>
      <p:ext uri="{BB962C8B-B14F-4D97-AF65-F5344CB8AC3E}">
        <p14:creationId xmlns:p14="http://schemas.microsoft.com/office/powerpoint/2010/main" val="103950086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0" name="Rounded Rectangle 9">
            <a:extLst>
              <a:ext uri="{FF2B5EF4-FFF2-40B4-BE49-F238E27FC236}">
                <a16:creationId xmlns:a16="http://schemas.microsoft.com/office/drawing/2014/main" id="{9E582477-48C0-1006-68F0-EE2BCAE4A581}"/>
              </a:ext>
            </a:extLst>
          </p:cNvPr>
          <p:cNvSpPr/>
          <p:nvPr/>
        </p:nvSpPr>
        <p:spPr bwMode="gray">
          <a:xfrm>
            <a:off x="436612" y="983311"/>
            <a:ext cx="11395963" cy="677108"/>
          </a:xfrm>
          <a:prstGeom prst="roundRect">
            <a:avLst>
              <a:gd name="adj" fmla="val 7734"/>
            </a:avLst>
          </a:prstGeom>
          <a:solidFill>
            <a:schemeClr val="bg1"/>
          </a:solidFill>
          <a:ln w="38100" algn="ctr">
            <a:gradFill>
              <a:gsLst>
                <a:gs pos="2000">
                  <a:schemeClr val="tx1"/>
                </a:gs>
                <a:gs pos="89000">
                  <a:schemeClr val="accent3">
                    <a:alpha val="0"/>
                  </a:schemeClr>
                </a:gs>
              </a:gsLst>
              <a:lin ang="3000000" scaled="0"/>
            </a:gradFill>
            <a:miter lim="800000"/>
            <a:headEnd/>
            <a:tailEnd/>
          </a:ln>
          <a:effectLst>
            <a:outerShdw blurRad="101600" dist="63500" dir="2700000" algn="tl" rotWithShape="0">
              <a:prstClr val="black">
                <a:alpha val="17793"/>
              </a:prstClr>
            </a:outerShdw>
          </a:effectLst>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sp>
        <p:nvSpPr>
          <p:cNvPr id="30" name="Rounded Rectangle 29">
            <a:extLst>
              <a:ext uri="{FF2B5EF4-FFF2-40B4-BE49-F238E27FC236}">
                <a16:creationId xmlns:a16="http://schemas.microsoft.com/office/drawing/2014/main" id="{C584CF16-E63A-2841-89CA-90F699E93F5C}"/>
              </a:ext>
            </a:extLst>
          </p:cNvPr>
          <p:cNvSpPr/>
          <p:nvPr/>
        </p:nvSpPr>
        <p:spPr bwMode="gray">
          <a:xfrm>
            <a:off x="6325599" y="1851761"/>
            <a:ext cx="5506977" cy="4569736"/>
          </a:xfrm>
          <a:prstGeom prst="roundRect">
            <a:avLst>
              <a:gd name="adj" fmla="val 10063"/>
            </a:avLst>
          </a:prstGeom>
          <a:solidFill>
            <a:schemeClr val="bg1"/>
          </a:solidFill>
          <a:ln w="38100" algn="ctr">
            <a:gradFill>
              <a:gsLst>
                <a:gs pos="2000">
                  <a:schemeClr val="tx1"/>
                </a:gs>
                <a:gs pos="89000">
                  <a:schemeClr val="accent3">
                    <a:alpha val="0"/>
                  </a:schemeClr>
                </a:gs>
              </a:gsLst>
              <a:lin ang="3000000" scaled="0"/>
            </a:gradFill>
            <a:miter lim="800000"/>
            <a:headEnd/>
            <a:tailEnd/>
          </a:ln>
          <a:effectLst>
            <a:outerShdw blurRad="101600" dist="63500" dir="2700000" algn="tl" rotWithShape="0">
              <a:prstClr val="black">
                <a:alpha val="17793"/>
              </a:prstClr>
            </a:outerShdw>
          </a:effectLst>
        </p:spPr>
        <p:txBody>
          <a:bodyPr lIns="90000" tIns="72000" rIns="90000" bIns="72000" rtlCol="0" anchor="ctr"/>
          <a:lstStyle/>
          <a:p>
            <a:pPr marL="285750" indent="-285750" fontAlgn="base">
              <a:spcBef>
                <a:spcPct val="50000"/>
              </a:spcBef>
              <a:spcAft>
                <a:spcPct val="0"/>
              </a:spcAft>
              <a:buClr>
                <a:srgbClr val="F0AB00"/>
              </a:buClr>
              <a:buSzPct val="80000"/>
              <a:buFont typeface="Arial" panose="020B0604020202020204" pitchFamily="34" charset="0"/>
              <a:buChar char="•"/>
            </a:pPr>
            <a:endParaRPr lang="en-DE" sz="1600" kern="0" dirty="0">
              <a:ea typeface="Arial Unicode MS" pitchFamily="34" charset="-128"/>
              <a:cs typeface="Arial Unicode MS" pitchFamily="34" charset="-128"/>
            </a:endParaRPr>
          </a:p>
          <a:p>
            <a:pPr marL="285750" indent="-285750" fontAlgn="base">
              <a:spcBef>
                <a:spcPct val="50000"/>
              </a:spcBef>
              <a:spcAft>
                <a:spcPct val="0"/>
              </a:spcAft>
              <a:buClr>
                <a:srgbClr val="F0AB00"/>
              </a:buClr>
              <a:buSzPct val="80000"/>
              <a:buFont typeface="Arial" panose="020B0604020202020204" pitchFamily="34" charset="0"/>
              <a:buChar char="•"/>
            </a:pPr>
            <a:endParaRPr lang="en-DE" sz="1600" b="1" kern="0" dirty="0">
              <a:ea typeface="Arial Unicode MS" pitchFamily="34" charset="-128"/>
              <a:cs typeface="Arial Unicode MS" pitchFamily="34" charset="-128"/>
            </a:endParaRPr>
          </a:p>
          <a:p>
            <a:pPr fontAlgn="base">
              <a:spcBef>
                <a:spcPct val="50000"/>
              </a:spcBef>
              <a:spcAft>
                <a:spcPct val="0"/>
              </a:spcAft>
              <a:buClr>
                <a:srgbClr val="F0AB00"/>
              </a:buClr>
              <a:buSzPct val="80000"/>
            </a:pPr>
            <a:endParaRPr lang="en-DE" sz="1600" b="1" kern="0" dirty="0">
              <a:latin typeface="+mn-lt"/>
              <a:ea typeface="Arial Unicode MS" pitchFamily="34" charset="-128"/>
              <a:cs typeface="Arial Unicode MS" pitchFamily="34" charset="-128"/>
            </a:endParaRPr>
          </a:p>
          <a:p>
            <a:pPr marL="285750" indent="-285750" fontAlgn="base">
              <a:spcBef>
                <a:spcPct val="50000"/>
              </a:spcBef>
              <a:spcAft>
                <a:spcPct val="0"/>
              </a:spcAft>
              <a:buClr>
                <a:schemeClr val="tx1"/>
              </a:buClr>
              <a:buSzPct val="80000"/>
              <a:buFont typeface="Arial" panose="020B0604020202020204" pitchFamily="34" charset="0"/>
              <a:buChar char="•"/>
            </a:pPr>
            <a:r>
              <a:rPr lang="en-DE" sz="1600" b="1" kern="0" dirty="0">
                <a:latin typeface="+mn-lt"/>
                <a:ea typeface="Arial Unicode MS" pitchFamily="34" charset="-128"/>
                <a:cs typeface="Arial Unicode MS" pitchFamily="34" charset="-128"/>
              </a:rPr>
              <a:t>Distributed mesh of event brokers </a:t>
            </a:r>
            <a:r>
              <a:rPr lang="en-DE" sz="1600" kern="0" dirty="0">
                <a:latin typeface="+mn-lt"/>
                <a:ea typeface="Arial Unicode MS" pitchFamily="34" charset="-128"/>
                <a:cs typeface="Arial Unicode MS" pitchFamily="34" charset="-128"/>
              </a:rPr>
              <a:t>deployed</a:t>
            </a:r>
            <a:r>
              <a:rPr lang="en-DE" sz="1600" b="1" kern="0" dirty="0">
                <a:latin typeface="+mn-lt"/>
                <a:ea typeface="Arial Unicode MS" pitchFamily="34" charset="-128"/>
                <a:cs typeface="Arial Unicode MS" pitchFamily="34" charset="-128"/>
              </a:rPr>
              <a:t> across environments </a:t>
            </a:r>
            <a:r>
              <a:rPr lang="en-DE" sz="1600" kern="0" dirty="0">
                <a:latin typeface="+mn-lt"/>
                <a:ea typeface="Arial Unicode MS" pitchFamily="34" charset="-128"/>
                <a:cs typeface="Arial Unicode MS" pitchFamily="34" charset="-128"/>
              </a:rPr>
              <a:t>in</a:t>
            </a:r>
            <a:r>
              <a:rPr lang="en-DE" sz="1600" b="1" kern="0" dirty="0">
                <a:latin typeface="+mn-lt"/>
                <a:ea typeface="Arial Unicode MS" pitchFamily="34" charset="-128"/>
                <a:cs typeface="Arial Unicode MS" pitchFamily="34" charset="-128"/>
              </a:rPr>
              <a:t> private or public clouds</a:t>
            </a:r>
          </a:p>
          <a:p>
            <a:pPr marL="285750" indent="-285750" fontAlgn="base">
              <a:spcBef>
                <a:spcPct val="50000"/>
              </a:spcBef>
              <a:spcAft>
                <a:spcPct val="0"/>
              </a:spcAft>
              <a:buClr>
                <a:schemeClr val="tx1"/>
              </a:buClr>
              <a:buSzPct val="80000"/>
              <a:buFont typeface="Arial" panose="020B0604020202020204" pitchFamily="34" charset="0"/>
              <a:buChar char="•"/>
            </a:pPr>
            <a:r>
              <a:rPr lang="en-DE" sz="1600" b="1" kern="0" dirty="0">
                <a:latin typeface="+mn-lt"/>
                <a:ea typeface="Arial Unicode MS" pitchFamily="34" charset="-128"/>
                <a:cs typeface="Arial Unicode MS" pitchFamily="34" charset="-128"/>
              </a:rPr>
              <a:t>Enterprise-grade</a:t>
            </a:r>
            <a:r>
              <a:rPr lang="en-DE" sz="1600" kern="0" dirty="0">
                <a:latin typeface="+mn-lt"/>
                <a:ea typeface="Arial Unicode MS" pitchFamily="34" charset="-128"/>
                <a:cs typeface="Arial Unicode MS" pitchFamily="34" charset="-128"/>
              </a:rPr>
              <a:t> performance, reliability, security and governance; scales to </a:t>
            </a:r>
            <a:r>
              <a:rPr lang="en-DE" sz="1600" b="1" kern="0" dirty="0">
                <a:latin typeface="+mn-lt"/>
                <a:ea typeface="Arial Unicode MS" pitchFamily="34" charset="-128"/>
                <a:cs typeface="Arial Unicode MS" pitchFamily="34" charset="-128"/>
              </a:rPr>
              <a:t>very large use cases</a:t>
            </a:r>
            <a:endParaRPr lang="en-DE" sz="1600" kern="0" dirty="0">
              <a:latin typeface="+mn-lt"/>
              <a:ea typeface="Arial Unicode MS" pitchFamily="34" charset="-128"/>
              <a:cs typeface="Arial Unicode MS" pitchFamily="34" charset="-128"/>
            </a:endParaRPr>
          </a:p>
          <a:p>
            <a:pPr marL="285750" indent="-285750" fontAlgn="base">
              <a:spcBef>
                <a:spcPct val="50000"/>
              </a:spcBef>
              <a:spcAft>
                <a:spcPct val="0"/>
              </a:spcAft>
              <a:buClr>
                <a:schemeClr val="tx1"/>
              </a:buClr>
              <a:buSzPct val="80000"/>
              <a:buFont typeface="Arial" panose="020B0604020202020204" pitchFamily="34" charset="0"/>
              <a:buChar char="•"/>
            </a:pPr>
            <a:r>
              <a:rPr lang="en-US" sz="1600" kern="0" dirty="0">
                <a:latin typeface="+mn-lt"/>
                <a:ea typeface="Arial Unicode MS" pitchFamily="34" charset="-128"/>
                <a:cs typeface="Arial Unicode MS" pitchFamily="34" charset="-128"/>
              </a:rPr>
              <a:t>Full purpose set of </a:t>
            </a:r>
            <a:r>
              <a:rPr lang="en-US" sz="1600" b="1" kern="0" dirty="0">
                <a:latin typeface="+mn-lt"/>
                <a:ea typeface="Arial Unicode MS" pitchFamily="34" charset="-128"/>
                <a:cs typeface="Arial Unicode MS" pitchFamily="34" charset="-128"/>
              </a:rPr>
              <a:t>e</a:t>
            </a:r>
            <a:r>
              <a:rPr lang="en-DE" sz="1600" b="1" kern="0" dirty="0">
                <a:latin typeface="+mn-lt"/>
                <a:ea typeface="Arial Unicode MS" pitchFamily="34" charset="-128"/>
                <a:cs typeface="Arial Unicode MS" pitchFamily="34" charset="-128"/>
              </a:rPr>
              <a:t>venting services </a:t>
            </a:r>
            <a:r>
              <a:rPr lang="en-DE" sz="1600" kern="0" dirty="0">
                <a:latin typeface="+mn-lt"/>
                <a:ea typeface="Arial Unicode MS" pitchFamily="34" charset="-128"/>
                <a:cs typeface="Arial Unicode MS" pitchFamily="34" charset="-128"/>
              </a:rPr>
              <a:t>including event streaming, event management and monitoring</a:t>
            </a:r>
          </a:p>
          <a:p>
            <a:pPr marL="285750" indent="-285750" fontAlgn="base">
              <a:spcBef>
                <a:spcPct val="50000"/>
              </a:spcBef>
              <a:spcAft>
                <a:spcPct val="0"/>
              </a:spcAft>
              <a:buClr>
                <a:schemeClr val="tx1"/>
              </a:buClr>
              <a:buSzPct val="80000"/>
              <a:buFont typeface="Arial" panose="020B0604020202020204" pitchFamily="34" charset="0"/>
              <a:buChar char="•"/>
            </a:pPr>
            <a:r>
              <a:rPr lang="en-DE" sz="1600" b="1" kern="0" dirty="0">
                <a:latin typeface="+mn-lt"/>
                <a:ea typeface="Arial Unicode MS" pitchFamily="34" charset="-128"/>
                <a:cs typeface="Arial Unicode MS" pitchFamily="34" charset="-128"/>
              </a:rPr>
              <a:t>Advanced features </a:t>
            </a:r>
            <a:r>
              <a:rPr lang="en-DE" sz="1600" kern="0" dirty="0">
                <a:latin typeface="+mn-lt"/>
                <a:ea typeface="Arial Unicode MS" pitchFamily="34" charset="-128"/>
                <a:cs typeface="Arial Unicode MS" pitchFamily="34" charset="-128"/>
              </a:rPr>
              <a:t>like dynamic message routing, fine-grained filtering, distributed tracing</a:t>
            </a:r>
          </a:p>
          <a:p>
            <a:pPr marL="285750" indent="-285750" fontAlgn="base">
              <a:spcBef>
                <a:spcPct val="50000"/>
              </a:spcBef>
              <a:spcAft>
                <a:spcPct val="0"/>
              </a:spcAft>
              <a:buClr>
                <a:schemeClr val="tx1"/>
              </a:buClr>
              <a:buSzPct val="80000"/>
              <a:buFont typeface="Arial" panose="020B0604020202020204" pitchFamily="34" charset="0"/>
              <a:buChar char="•"/>
            </a:pPr>
            <a:r>
              <a:rPr lang="en-DE" sz="1600" b="1" kern="0" dirty="0">
                <a:latin typeface="+mn-lt"/>
                <a:ea typeface="Arial Unicode MS" pitchFamily="34" charset="-128"/>
                <a:cs typeface="Arial Unicode MS" pitchFamily="34" charset="-128"/>
              </a:rPr>
              <a:t>Power couple with SAP Integration Suite </a:t>
            </a:r>
            <a:r>
              <a:rPr lang="en-DE" sz="1600" kern="0" dirty="0">
                <a:latin typeface="+mn-lt"/>
                <a:ea typeface="Arial Unicode MS" pitchFamily="34" charset="-128"/>
                <a:cs typeface="Arial Unicode MS" pitchFamily="34" charset="-128"/>
              </a:rPr>
              <a:t>for Event Mediation and Orchestration</a:t>
            </a:r>
          </a:p>
          <a:p>
            <a:pPr marL="285750" indent="-285750" fontAlgn="base">
              <a:spcBef>
                <a:spcPct val="50000"/>
              </a:spcBef>
              <a:spcAft>
                <a:spcPct val="0"/>
              </a:spcAft>
              <a:buClr>
                <a:srgbClr val="F0AB00"/>
              </a:buClr>
              <a:buSzPct val="80000"/>
              <a:buFont typeface="Arial" panose="020B0604020202020204" pitchFamily="34" charset="0"/>
              <a:buChar char="•"/>
            </a:pPr>
            <a:endParaRPr lang="en-DE" sz="1600" kern="0" dirty="0">
              <a:ea typeface="Arial Unicode MS" pitchFamily="34" charset="-128"/>
              <a:cs typeface="Arial Unicode MS" pitchFamily="34" charset="-128"/>
            </a:endParaRPr>
          </a:p>
          <a:p>
            <a:pPr marL="285750" indent="-285750" fontAlgn="base">
              <a:spcBef>
                <a:spcPct val="50000"/>
              </a:spcBef>
              <a:spcAft>
                <a:spcPct val="0"/>
              </a:spcAft>
              <a:buClr>
                <a:srgbClr val="F0AB00"/>
              </a:buClr>
              <a:buSzPct val="80000"/>
              <a:buFont typeface="Arial" panose="020B0604020202020204" pitchFamily="34" charset="0"/>
              <a:buChar char="•"/>
            </a:pPr>
            <a:endParaRPr lang="en-DE" sz="1600" kern="0" dirty="0">
              <a:ea typeface="Arial Unicode MS" pitchFamily="34" charset="-128"/>
              <a:cs typeface="Arial Unicode MS" pitchFamily="34" charset="-128"/>
            </a:endParaRPr>
          </a:p>
        </p:txBody>
      </p:sp>
      <p:sp>
        <p:nvSpPr>
          <p:cNvPr id="6" name="Text Placeholder 2"/>
          <p:cNvSpPr txBox="1">
            <a:spLocks/>
          </p:cNvSpPr>
          <p:nvPr/>
        </p:nvSpPr>
        <p:spPr bwMode="gray">
          <a:xfrm>
            <a:off x="49760" y="1128515"/>
            <a:ext cx="12195174" cy="461665"/>
          </a:xfrm>
          <a:prstGeom prst="rect">
            <a:avLst/>
          </a:prstGeom>
          <a:noFill/>
        </p:spPr>
        <p:txBody>
          <a:bodyPr vert="horz" lIns="0" tIns="0" rIns="0" bIns="0" rtlCol="0">
            <a:noAutofit/>
          </a:bodyPr>
          <a:lstStyle>
            <a:lvl1pPr marL="0" indent="0" algn="l" defTabSz="1088776" rtl="0" eaLnBrk="1" latinLnBrk="0" hangingPunct="1">
              <a:spcBef>
                <a:spcPts val="1000"/>
              </a:spcBef>
              <a:spcAft>
                <a:spcPts val="0"/>
              </a:spcAft>
              <a:buClr>
                <a:schemeClr val="accent1"/>
              </a:buClr>
              <a:buSzPct val="80000"/>
              <a:buFontTx/>
              <a:buNone/>
              <a:defRPr sz="1600" b="1" kern="1200">
                <a:solidFill>
                  <a:schemeClr val="tx1"/>
                </a:solidFill>
                <a:latin typeface="+mn-lt"/>
                <a:ea typeface="+mn-ea"/>
                <a:cs typeface="+mn-cs"/>
              </a:defRPr>
            </a:lvl1pPr>
            <a:lvl2pPr marL="228600" indent="-182880" algn="l" defTabSz="1088776" rtl="0" eaLnBrk="1" latinLnBrk="0" hangingPunct="1">
              <a:spcBef>
                <a:spcPts val="200"/>
              </a:spcBef>
              <a:spcAft>
                <a:spcPts val="0"/>
              </a:spcAft>
              <a:buClr>
                <a:schemeClr val="accent1"/>
              </a:buClr>
              <a:buSzPct val="100000"/>
              <a:buFont typeface="Wingdings" pitchFamily="2" charset="2"/>
              <a:buChar char=""/>
              <a:defRPr sz="1400" kern="1200">
                <a:solidFill>
                  <a:schemeClr val="tx1"/>
                </a:solidFill>
                <a:latin typeface="+mn-lt"/>
                <a:ea typeface="+mn-ea"/>
                <a:cs typeface="+mn-cs"/>
              </a:defRPr>
            </a:lvl2pPr>
            <a:lvl3pPr marL="402336" indent="-180000" algn="l" defTabSz="1088776" rtl="0" eaLnBrk="1" latinLnBrk="0" hangingPunct="1">
              <a:spcBef>
                <a:spcPts val="200"/>
              </a:spcBef>
              <a:buClr>
                <a:schemeClr val="accent2"/>
              </a:buClr>
              <a:buSzPct val="100000"/>
              <a:buFont typeface="Arial" panose="020B0604020202020204" pitchFamily="34" charset="0"/>
              <a:buChar char="–"/>
              <a:defRPr sz="1200" kern="1200" baseline="0">
                <a:solidFill>
                  <a:schemeClr val="tx1"/>
                </a:solidFill>
                <a:latin typeface="+mn-lt"/>
                <a:ea typeface="+mn-ea"/>
                <a:cs typeface="+mn-cs"/>
              </a:defRPr>
            </a:lvl3pPr>
            <a:lvl4pPr marL="222336" indent="0" algn="l" defTabSz="1088776" rtl="0" eaLnBrk="1" latinLnBrk="0" hangingPunct="1">
              <a:spcBef>
                <a:spcPts val="200"/>
              </a:spcBef>
              <a:buClr>
                <a:schemeClr val="accent2"/>
              </a:buClr>
              <a:buSzPct val="100000"/>
              <a:buFont typeface="Arial" pitchFamily="34" charset="0"/>
              <a:buNone/>
              <a:defRPr sz="1200" kern="1200">
                <a:solidFill>
                  <a:schemeClr val="tx1"/>
                </a:solidFill>
                <a:latin typeface="+mn-lt"/>
                <a:ea typeface="+mn-ea"/>
                <a:cs typeface="+mn-cs"/>
              </a:defRPr>
            </a:lvl4pPr>
            <a:lvl5pPr marL="402336" indent="-180000" algn="l" defTabSz="1088776" rtl="0" eaLnBrk="1" latinLnBrk="0" hangingPunct="1">
              <a:spcBef>
                <a:spcPts val="200"/>
              </a:spcBef>
              <a:buClr>
                <a:schemeClr val="accent2"/>
              </a:buClr>
              <a:buSzPct val="100000"/>
              <a:buFont typeface="Arial" panose="020B0604020202020204" pitchFamily="34" charset="0"/>
              <a:buChar char="−"/>
              <a:defRPr sz="1200" kern="1200">
                <a:solidFill>
                  <a:schemeClr val="tx1"/>
                </a:solidFill>
                <a:latin typeface="+mn-lt"/>
                <a:ea typeface="+mn-ea"/>
                <a:cs typeface="+mn-cs"/>
              </a:defRPr>
            </a:lvl5pPr>
            <a:lvl6pPr marL="2994134"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8522"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910"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7298"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algn="ctr" fontAlgn="base">
              <a:spcBef>
                <a:spcPct val="50000"/>
              </a:spcBef>
              <a:spcAft>
                <a:spcPct val="0"/>
              </a:spcAft>
              <a:buClr>
                <a:srgbClr val="F0AB00"/>
              </a:buClr>
            </a:pPr>
            <a:r>
              <a:rPr lang="en-DE" sz="2400" kern="0" dirty="0">
                <a:ea typeface="Arial Unicode MS" pitchFamily="34" charset="-128"/>
                <a:cs typeface="Arial Unicode MS" pitchFamily="34" charset="-128"/>
              </a:rPr>
              <a:t> </a:t>
            </a:r>
            <a:r>
              <a:rPr lang="en-US" sz="2000" dirty="0">
                <a:latin typeface="Arial Body"/>
              </a:rPr>
              <a:t>Fully-managed service </a:t>
            </a:r>
            <a:r>
              <a:rPr lang="en-US" sz="2000" b="0" dirty="0">
                <a:latin typeface="Arial Body"/>
              </a:rPr>
              <a:t>for enabling </a:t>
            </a:r>
            <a:r>
              <a:rPr lang="en-US" sz="2000" dirty="0">
                <a:latin typeface="Arial Body"/>
              </a:rPr>
              <a:t>enterprise-grade event-driven architectures</a:t>
            </a:r>
            <a:endParaRPr lang="en-DE" sz="2400" b="0" kern="0" dirty="0">
              <a:solidFill>
                <a:srgbClr val="FFFFFF"/>
              </a:solidFill>
              <a:ea typeface="Arial Unicode MS" pitchFamily="34" charset="-128"/>
              <a:cs typeface="Arial Unicode MS" pitchFamily="34" charset="-128"/>
            </a:endParaRPr>
          </a:p>
        </p:txBody>
      </p:sp>
      <p:sp>
        <p:nvSpPr>
          <p:cNvPr id="16" name="Title 2">
            <a:extLst>
              <a:ext uri="{FF2B5EF4-FFF2-40B4-BE49-F238E27FC236}">
                <a16:creationId xmlns:a16="http://schemas.microsoft.com/office/drawing/2014/main" id="{48ABFAEC-A0FC-A047-B355-0A2A0FD3FFD4}"/>
              </a:ext>
            </a:extLst>
          </p:cNvPr>
          <p:cNvSpPr txBox="1">
            <a:spLocks/>
          </p:cNvSpPr>
          <p:nvPr/>
        </p:nvSpPr>
        <p:spPr bwMode="black">
          <a:xfrm>
            <a:off x="296012" y="276650"/>
            <a:ext cx="11603149" cy="677108"/>
          </a:xfrm>
          <a:prstGeom prst="rect">
            <a:avLst/>
          </a:prstGeom>
        </p:spPr>
        <p:txBody>
          <a:bodyPr vert="horz" wrap="square" lIns="0" tIns="0" rIns="0" bIns="0" rtlCol="0" anchor="t" anchorCtr="0">
            <a:spAutoFit/>
          </a:bodyPr>
          <a:lstStyle>
            <a:lvl1pPr algn="l" defTabSz="1088558" rtl="0" eaLnBrk="1" latinLnBrk="0" hangingPunct="1">
              <a:spcBef>
                <a:spcPct val="0"/>
              </a:spcBef>
              <a:buNone/>
              <a:defRPr sz="2400" b="1" kern="1200" baseline="0">
                <a:solidFill>
                  <a:schemeClr val="tx1"/>
                </a:solidFill>
                <a:latin typeface="+mj-lt"/>
                <a:ea typeface="+mj-ea"/>
                <a:cs typeface="+mj-cs"/>
              </a:defRPr>
            </a:lvl1pPr>
          </a:lstStyle>
          <a:p>
            <a:pPr algn="ctr"/>
            <a:r>
              <a:rPr lang="en-US" dirty="0">
                <a:solidFill>
                  <a:srgbClr val="FFC000"/>
                </a:solidFill>
              </a:rPr>
              <a:t>     </a:t>
            </a:r>
            <a:r>
              <a:rPr lang="en-US" dirty="0"/>
              <a:t>SAP Integration Suite, advanced event mesh</a:t>
            </a:r>
          </a:p>
          <a:p>
            <a:pPr algn="ctr"/>
            <a:endParaRPr lang="en-US" sz="2000" dirty="0">
              <a:solidFill>
                <a:srgbClr val="FFC000"/>
              </a:solidFill>
            </a:endParaRPr>
          </a:p>
        </p:txBody>
      </p:sp>
      <p:sp>
        <p:nvSpPr>
          <p:cNvPr id="21" name="TextBox 20">
            <a:extLst>
              <a:ext uri="{FF2B5EF4-FFF2-40B4-BE49-F238E27FC236}">
                <a16:creationId xmlns:a16="http://schemas.microsoft.com/office/drawing/2014/main" id="{B1931C87-32E2-81F9-75B4-F9F404112383}"/>
              </a:ext>
            </a:extLst>
          </p:cNvPr>
          <p:cNvSpPr txBox="1"/>
          <p:nvPr/>
        </p:nvSpPr>
        <p:spPr>
          <a:xfrm>
            <a:off x="6325598" y="2102833"/>
            <a:ext cx="5506977" cy="461665"/>
          </a:xfrm>
          <a:prstGeom prst="rect">
            <a:avLst/>
          </a:prstGeom>
          <a:noFill/>
        </p:spPr>
        <p:txBody>
          <a:bodyPr wrap="square">
            <a:spAutoFit/>
          </a:bodyPr>
          <a:lstStyle/>
          <a:p>
            <a:pPr algn="ctr" fontAlgn="base">
              <a:spcBef>
                <a:spcPct val="50000"/>
              </a:spcBef>
              <a:spcAft>
                <a:spcPct val="0"/>
              </a:spcAft>
              <a:buClr>
                <a:srgbClr val="F0AB00"/>
              </a:buClr>
              <a:buSzPct val="80000"/>
            </a:pPr>
            <a:r>
              <a:rPr lang="en-DE" sz="2400" b="1" kern="0" dirty="0">
                <a:ea typeface="Arial Unicode MS" pitchFamily="34" charset="-128"/>
                <a:cs typeface="Arial Unicode MS" pitchFamily="34" charset="-128"/>
              </a:rPr>
              <a:t>Advanced Event Mesh</a:t>
            </a:r>
          </a:p>
        </p:txBody>
      </p:sp>
      <p:pic>
        <p:nvPicPr>
          <p:cNvPr id="4" name="Picture 3">
            <a:extLst>
              <a:ext uri="{FF2B5EF4-FFF2-40B4-BE49-F238E27FC236}">
                <a16:creationId xmlns:a16="http://schemas.microsoft.com/office/drawing/2014/main" id="{75168279-A276-1759-4840-506058CBFDA3}"/>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36612" y="2125165"/>
            <a:ext cx="5437887" cy="4022928"/>
          </a:xfrm>
          <a:prstGeom prst="rect">
            <a:avLst/>
          </a:prstGeom>
        </p:spPr>
      </p:pic>
    </p:spTree>
    <p:extLst>
      <p:ext uri="{BB962C8B-B14F-4D97-AF65-F5344CB8AC3E}">
        <p14:creationId xmlns:p14="http://schemas.microsoft.com/office/powerpoint/2010/main" val="421533013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2" name="Table 4">
            <a:extLst>
              <a:ext uri="{FF2B5EF4-FFF2-40B4-BE49-F238E27FC236}">
                <a16:creationId xmlns:a16="http://schemas.microsoft.com/office/drawing/2014/main" id="{2347B026-7F6B-524B-8B97-268D32175E48}"/>
              </a:ext>
            </a:extLst>
          </p:cNvPr>
          <p:cNvGraphicFramePr>
            <a:graphicFrameLocks noGrp="1"/>
          </p:cNvGraphicFramePr>
          <p:nvPr/>
        </p:nvGraphicFramePr>
        <p:xfrm>
          <a:off x="489680" y="930479"/>
          <a:ext cx="11392523" cy="5897234"/>
        </p:xfrm>
        <a:graphic>
          <a:graphicData uri="http://schemas.openxmlformats.org/drawingml/2006/table">
            <a:tbl>
              <a:tblPr firstRow="1" bandRow="1" bandCol="1">
                <a:tableStyleId>{0E3FDE45-AF77-4B5C-9715-49D594BDF05E}</a:tableStyleId>
              </a:tblPr>
              <a:tblGrid>
                <a:gridCol w="1159239">
                  <a:extLst>
                    <a:ext uri="{9D8B030D-6E8A-4147-A177-3AD203B41FA5}">
                      <a16:colId xmlns:a16="http://schemas.microsoft.com/office/drawing/2014/main" val="434392205"/>
                    </a:ext>
                  </a:extLst>
                </a:gridCol>
                <a:gridCol w="3999174">
                  <a:extLst>
                    <a:ext uri="{9D8B030D-6E8A-4147-A177-3AD203B41FA5}">
                      <a16:colId xmlns:a16="http://schemas.microsoft.com/office/drawing/2014/main" val="2918105188"/>
                    </a:ext>
                  </a:extLst>
                </a:gridCol>
                <a:gridCol w="2994102">
                  <a:extLst>
                    <a:ext uri="{9D8B030D-6E8A-4147-A177-3AD203B41FA5}">
                      <a16:colId xmlns:a16="http://schemas.microsoft.com/office/drawing/2014/main" val="2994204675"/>
                    </a:ext>
                  </a:extLst>
                </a:gridCol>
                <a:gridCol w="3240008">
                  <a:extLst>
                    <a:ext uri="{9D8B030D-6E8A-4147-A177-3AD203B41FA5}">
                      <a16:colId xmlns:a16="http://schemas.microsoft.com/office/drawing/2014/main" val="749772497"/>
                    </a:ext>
                  </a:extLst>
                </a:gridCol>
              </a:tblGrid>
              <a:tr h="580086">
                <a:tc>
                  <a:txBody>
                    <a:bodyPr/>
                    <a:lstStyle/>
                    <a:p>
                      <a:pPr>
                        <a:lnSpc>
                          <a:spcPct val="90000"/>
                        </a:lnSpc>
                      </a:pPr>
                      <a:endParaRPr lang="en-US" sz="1400">
                        <a:ln>
                          <a:solidFill>
                            <a:schemeClr val="tx1"/>
                          </a:solidFill>
                        </a:ln>
                        <a:solidFill>
                          <a:schemeClr val="accent3"/>
                        </a:solidFill>
                      </a:endParaRPr>
                    </a:p>
                  </a:txBody>
                  <a:tcPr marL="91416" marR="91416" marT="45708" marB="45708" anchor="b">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nSpc>
                          <a:spcPct val="90000"/>
                        </a:lnSpc>
                      </a:pPr>
                      <a:endParaRPr lang="en-US" sz="1200">
                        <a:ln>
                          <a:solidFill>
                            <a:schemeClr val="tx1"/>
                          </a:solidFill>
                        </a:ln>
                        <a:solidFill>
                          <a:schemeClr val="accent3"/>
                        </a:solidFill>
                      </a:endParaRPr>
                    </a:p>
                  </a:txBody>
                  <a:tcPr marL="91416" marR="91416" marT="45708" marB="45708" anchor="b">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algn="ctr" defTabSz="1088558" rtl="0" eaLnBrk="1" latinLnBrk="0" hangingPunct="1">
                        <a:lnSpc>
                          <a:spcPct val="90000"/>
                        </a:lnSpc>
                      </a:pPr>
                      <a:r>
                        <a:rPr lang="en-US" sz="1400" dirty="0">
                          <a:solidFill>
                            <a:schemeClr val="bg1"/>
                          </a:solidFill>
                        </a:rPr>
                        <a:t>SAP Event Mesh</a:t>
                      </a:r>
                    </a:p>
                  </a:txBody>
                  <a:tcPr marL="91416" marR="91416" marT="45708" marB="45708"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accent3"/>
                    </a:solidFill>
                  </a:tcPr>
                </a:tc>
                <a:tc>
                  <a:txBody>
                    <a:bodyPr/>
                    <a:lstStyle/>
                    <a:p>
                      <a:pPr marL="0" marR="0" lvl="0" indent="0" algn="ctr" defTabSz="1088558" rtl="0" eaLnBrk="1" fontAlgn="auto" latinLnBrk="0" hangingPunct="1">
                        <a:lnSpc>
                          <a:spcPct val="90000"/>
                        </a:lnSpc>
                        <a:spcBef>
                          <a:spcPts val="0"/>
                        </a:spcBef>
                        <a:spcAft>
                          <a:spcPts val="0"/>
                        </a:spcAft>
                        <a:buClrTx/>
                        <a:buSzTx/>
                        <a:buFontTx/>
                        <a:buNone/>
                        <a:tabLst/>
                        <a:defRPr/>
                      </a:pPr>
                      <a:r>
                        <a:rPr lang="en-US" sz="1400" dirty="0">
                          <a:solidFill>
                            <a:schemeClr val="bg1"/>
                          </a:solidFill>
                        </a:rPr>
                        <a:t>SAP Integration Suite,          advanced event mesh</a:t>
                      </a:r>
                    </a:p>
                  </a:txBody>
                  <a:tcPr marL="91416" marR="91416" marT="45708" marB="45708" anchor="ctr">
                    <a:lnL w="1270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accent3"/>
                    </a:solidFill>
                  </a:tcPr>
                </a:tc>
                <a:extLst>
                  <a:ext uri="{0D108BD9-81ED-4DB2-BD59-A6C34878D82A}">
                    <a16:rowId xmlns:a16="http://schemas.microsoft.com/office/drawing/2014/main" val="2718734811"/>
                  </a:ext>
                </a:extLst>
              </a:tr>
              <a:tr h="339179">
                <a:tc rowSpan="8">
                  <a:txBody>
                    <a:bodyPr/>
                    <a:lstStyle/>
                    <a:p>
                      <a:pPr marL="0" algn="ctr" defTabSz="1088558" rtl="0" eaLnBrk="1" latinLnBrk="0" hangingPunct="1">
                        <a:lnSpc>
                          <a:spcPct val="90000"/>
                        </a:lnSpc>
                      </a:pPr>
                      <a:r>
                        <a:rPr lang="en-US" sz="1400" b="1" kern="1200" dirty="0">
                          <a:solidFill>
                            <a:schemeClr val="bg1"/>
                          </a:solidFill>
                          <a:latin typeface="+mn-lt"/>
                          <a:ea typeface="+mn-ea"/>
                          <a:cs typeface="+mn-cs"/>
                        </a:rPr>
                        <a:t>Standard</a:t>
                      </a:r>
                    </a:p>
                  </a:txBody>
                  <a:tcPr marL="0" marR="0" marT="64008" marB="64008" anchor="ctr">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008ECF"/>
                    </a:solidFill>
                  </a:tcPr>
                </a:tc>
                <a:tc>
                  <a:txBody>
                    <a:bodyPr/>
                    <a:lstStyle/>
                    <a:p>
                      <a:r>
                        <a:rPr lang="en-US" sz="1200" b="1" dirty="0">
                          <a:solidFill>
                            <a:schemeClr val="tx1"/>
                          </a:solidFill>
                        </a:rPr>
                        <a:t> Fully managed cloud service</a:t>
                      </a:r>
                    </a:p>
                  </a:txBody>
                  <a:tcPr marL="0" marR="0" marT="64008" marB="64008"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tx2">
                        <a:lumMod val="20000"/>
                        <a:lumOff val="80000"/>
                      </a:schemeClr>
                    </a:solidFill>
                  </a:tcPr>
                </a:tc>
                <a:tc>
                  <a:txBody>
                    <a:bodyPr/>
                    <a:lstStyle/>
                    <a:p>
                      <a:pPr algn="ctr"/>
                      <a:r>
                        <a:rPr lang="en-US" sz="1200" b="1">
                          <a:ln>
                            <a:solidFill>
                              <a:schemeClr val="accent3"/>
                            </a:solidFill>
                          </a:ln>
                          <a:solidFill>
                            <a:schemeClr val="accent3"/>
                          </a:solidFill>
                        </a:rPr>
                        <a:t>✓</a:t>
                      </a:r>
                    </a:p>
                  </a:txBody>
                  <a:tcPr marL="0" marR="0" marT="64008" marB="64008"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tx2">
                        <a:lumMod val="20000"/>
                        <a:lumOff val="80000"/>
                      </a:schemeClr>
                    </a:solidFill>
                  </a:tcPr>
                </a:tc>
                <a:tc>
                  <a:txBody>
                    <a:bodyPr/>
                    <a:lstStyle/>
                    <a:p>
                      <a:pPr algn="ctr"/>
                      <a:r>
                        <a:rPr lang="en-US" sz="1200" b="1" dirty="0">
                          <a:ln>
                            <a:solidFill>
                              <a:schemeClr val="accent3"/>
                            </a:solidFill>
                          </a:ln>
                          <a:solidFill>
                            <a:schemeClr val="accent3"/>
                          </a:solidFill>
                        </a:rPr>
                        <a:t>✓</a:t>
                      </a:r>
                    </a:p>
                  </a:txBody>
                  <a:tcPr marL="0" marR="0" marT="64008" marB="64008" anchor="ctr">
                    <a:lnL w="12700" cap="flat" cmpd="sng" algn="ctr">
                      <a:solidFill>
                        <a:schemeClr val="bg2"/>
                      </a:solidFill>
                      <a:prstDash val="solid"/>
                      <a:round/>
                      <a:headEnd type="none" w="med" len="med"/>
                      <a:tailEnd type="none" w="med" len="med"/>
                    </a:lnL>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tx2">
                        <a:lumMod val="20000"/>
                        <a:lumOff val="80000"/>
                      </a:schemeClr>
                    </a:solidFill>
                  </a:tcPr>
                </a:tc>
                <a:extLst>
                  <a:ext uri="{0D108BD9-81ED-4DB2-BD59-A6C34878D82A}">
                    <a16:rowId xmlns:a16="http://schemas.microsoft.com/office/drawing/2014/main" val="3962234169"/>
                  </a:ext>
                </a:extLst>
              </a:tr>
              <a:tr h="339179">
                <a:tc vMerge="1">
                  <a:txBody>
                    <a:bodyPr/>
                    <a:lstStyle/>
                    <a:p>
                      <a:endParaRPr lang="en-US" sz="1200" b="1" dirty="0">
                        <a:solidFill>
                          <a:schemeClr val="tx1"/>
                        </a:solidFill>
                      </a:endParaRPr>
                    </a:p>
                  </a:txBody>
                  <a:tcPr marL="0" marR="0" marT="64008" marB="64008" anchor="ctr">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r>
                        <a:rPr lang="en-US" sz="1200" b="1" dirty="0">
                          <a:solidFill>
                            <a:schemeClr val="tx1"/>
                          </a:solidFill>
                        </a:rPr>
                        <a:t> Infrastructure Model</a:t>
                      </a:r>
                    </a:p>
                  </a:txBody>
                  <a:tcPr marL="0" marR="0" marT="64008" marB="64008"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tx2">
                        <a:lumMod val="20000"/>
                        <a:lumOff val="80000"/>
                      </a:schemeClr>
                    </a:solidFill>
                  </a:tcPr>
                </a:tc>
                <a:tc>
                  <a:txBody>
                    <a:bodyPr/>
                    <a:lstStyle/>
                    <a:p>
                      <a:pPr marL="0" algn="ctr" defTabSz="1088558" rtl="0" eaLnBrk="1" latinLnBrk="0" hangingPunct="1"/>
                      <a:r>
                        <a:rPr lang="en-US" sz="1200" b="1" kern="1200" dirty="0">
                          <a:solidFill>
                            <a:schemeClr val="tx1"/>
                          </a:solidFill>
                          <a:latin typeface="+mn-lt"/>
                          <a:ea typeface="+mn-ea"/>
                          <a:cs typeface="+mn-cs"/>
                        </a:rPr>
                        <a:t>Shared</a:t>
                      </a:r>
                    </a:p>
                  </a:txBody>
                  <a:tcPr marL="0" marR="0" marT="64008" marB="64008"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tx2">
                        <a:lumMod val="20000"/>
                        <a:lumOff val="80000"/>
                      </a:schemeClr>
                    </a:solidFill>
                  </a:tcPr>
                </a:tc>
                <a:tc>
                  <a:txBody>
                    <a:bodyPr/>
                    <a:lstStyle/>
                    <a:p>
                      <a:pPr marL="0" algn="ctr" defTabSz="1088558" rtl="0" eaLnBrk="1" latinLnBrk="0" hangingPunct="1"/>
                      <a:r>
                        <a:rPr lang="en-US" sz="1200" b="1" kern="1200" dirty="0">
                          <a:solidFill>
                            <a:schemeClr val="tx1"/>
                          </a:solidFill>
                          <a:latin typeface="+mn-lt"/>
                          <a:ea typeface="+mn-ea"/>
                          <a:cs typeface="+mn-cs"/>
                        </a:rPr>
                        <a:t>Exclusive in T-Shirt Sizes</a:t>
                      </a:r>
                    </a:p>
                  </a:txBody>
                  <a:tcPr marL="0" marR="0" marT="64008" marB="64008" anchor="ctr">
                    <a:lnL w="12700" cap="flat" cmpd="sng" algn="ctr">
                      <a:solidFill>
                        <a:schemeClr val="bg2"/>
                      </a:solidFill>
                      <a:prstDash val="solid"/>
                      <a:round/>
                      <a:headEnd type="none" w="med" len="med"/>
                      <a:tailEnd type="none" w="med" len="med"/>
                    </a:lnL>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tx2">
                        <a:lumMod val="20000"/>
                        <a:lumOff val="80000"/>
                      </a:schemeClr>
                    </a:solidFill>
                  </a:tcPr>
                </a:tc>
                <a:extLst>
                  <a:ext uri="{0D108BD9-81ED-4DB2-BD59-A6C34878D82A}">
                    <a16:rowId xmlns:a16="http://schemas.microsoft.com/office/drawing/2014/main" val="1156897754"/>
                  </a:ext>
                </a:extLst>
              </a:tr>
              <a:tr h="339179">
                <a:tc vMerge="1">
                  <a:txBody>
                    <a:bodyPr/>
                    <a:lstStyle/>
                    <a:p>
                      <a:endParaRPr lang="en-US" sz="1200" b="1" dirty="0">
                        <a:solidFill>
                          <a:schemeClr val="tx1"/>
                        </a:solidFill>
                      </a:endParaRPr>
                    </a:p>
                  </a:txBody>
                  <a:tcPr marL="0" marR="0" marT="64008" marB="64008" anchor="ctr">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r>
                        <a:rPr lang="en-US" sz="1200" b="1" dirty="0">
                          <a:solidFill>
                            <a:schemeClr val="tx1"/>
                          </a:solidFill>
                        </a:rPr>
                        <a:t> Deployment Options</a:t>
                      </a:r>
                    </a:p>
                  </a:txBody>
                  <a:tcPr marL="0" marR="0" marT="64008" marB="64008"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tx2">
                        <a:lumMod val="20000"/>
                        <a:lumOff val="80000"/>
                      </a:schemeClr>
                    </a:solidFill>
                  </a:tcPr>
                </a:tc>
                <a:tc>
                  <a:txBody>
                    <a:bodyPr/>
                    <a:lstStyle/>
                    <a:p>
                      <a:pPr marL="0" algn="ctr" defTabSz="1088558" rtl="0" eaLnBrk="1" latinLnBrk="0" hangingPunct="1"/>
                      <a:r>
                        <a:rPr lang="en-US" sz="1200" b="1" kern="1200" dirty="0">
                          <a:solidFill>
                            <a:schemeClr val="tx1"/>
                          </a:solidFill>
                          <a:latin typeface="+mn-lt"/>
                          <a:ea typeface="+mn-ea"/>
                          <a:cs typeface="+mn-cs"/>
                        </a:rPr>
                        <a:t>BTP Deployment</a:t>
                      </a:r>
                    </a:p>
                  </a:txBody>
                  <a:tcPr marL="0" marR="0" marT="64008" marB="64008"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tx2">
                        <a:lumMod val="20000"/>
                        <a:lumOff val="80000"/>
                      </a:schemeClr>
                    </a:solidFill>
                  </a:tcPr>
                </a:tc>
                <a:tc>
                  <a:txBody>
                    <a:bodyPr/>
                    <a:lstStyle/>
                    <a:p>
                      <a:pPr marL="0" algn="ctr" defTabSz="1088558" rtl="0" eaLnBrk="1" latinLnBrk="0" hangingPunct="1"/>
                      <a:r>
                        <a:rPr lang="en-US" sz="1200" b="1" kern="1200" dirty="0">
                          <a:solidFill>
                            <a:schemeClr val="tx1"/>
                          </a:solidFill>
                          <a:latin typeface="+mn-lt"/>
                          <a:ea typeface="+mn-ea"/>
                          <a:cs typeface="+mn-cs"/>
                        </a:rPr>
                        <a:t>Private and Public Clouds</a:t>
                      </a:r>
                    </a:p>
                  </a:txBody>
                  <a:tcPr marL="0" marR="0" marT="64008" marB="64008" anchor="ctr">
                    <a:lnL w="12700" cap="flat" cmpd="sng" algn="ctr">
                      <a:solidFill>
                        <a:schemeClr val="bg2"/>
                      </a:solidFill>
                      <a:prstDash val="solid"/>
                      <a:round/>
                      <a:headEnd type="none" w="med" len="med"/>
                      <a:tailEnd type="none" w="med" len="med"/>
                    </a:lnL>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tx2">
                        <a:lumMod val="20000"/>
                        <a:lumOff val="80000"/>
                      </a:schemeClr>
                    </a:solidFill>
                  </a:tcPr>
                </a:tc>
                <a:extLst>
                  <a:ext uri="{0D108BD9-81ED-4DB2-BD59-A6C34878D82A}">
                    <a16:rowId xmlns:a16="http://schemas.microsoft.com/office/drawing/2014/main" val="3424404716"/>
                  </a:ext>
                </a:extLst>
              </a:tr>
              <a:tr h="339179">
                <a:tc vMerge="1">
                  <a:txBody>
                    <a:bodyPr/>
                    <a:lstStyle/>
                    <a:p>
                      <a:endParaRPr lang="en-US" sz="1200" b="1" dirty="0">
                        <a:solidFill>
                          <a:schemeClr val="tx1"/>
                        </a:solidFill>
                      </a:endParaRPr>
                    </a:p>
                  </a:txBody>
                  <a:tcPr marL="0" marR="0" marT="64008" marB="64008" anchor="ctr">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r>
                        <a:rPr lang="en-US" sz="1200" b="1" dirty="0">
                          <a:solidFill>
                            <a:schemeClr val="tx1"/>
                          </a:solidFill>
                        </a:rPr>
                        <a:t> Connecting SAP and non-SAP systems</a:t>
                      </a:r>
                    </a:p>
                  </a:txBody>
                  <a:tcPr marL="0" marR="0" marT="64008" marB="64008"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tx2">
                        <a:lumMod val="20000"/>
                        <a:lumOff val="80000"/>
                      </a:schemeClr>
                    </a:solidFill>
                  </a:tcPr>
                </a:tc>
                <a:tc>
                  <a:txBody>
                    <a:bodyPr/>
                    <a:lstStyle/>
                    <a:p>
                      <a:pPr marL="0" marR="0" lvl="0" indent="0" algn="ctr" defTabSz="1088558" rtl="0" eaLnBrk="1" fontAlgn="auto" latinLnBrk="0" hangingPunct="1">
                        <a:lnSpc>
                          <a:spcPct val="100000"/>
                        </a:lnSpc>
                        <a:spcBef>
                          <a:spcPts val="0"/>
                        </a:spcBef>
                        <a:spcAft>
                          <a:spcPts val="0"/>
                        </a:spcAft>
                        <a:buClrTx/>
                        <a:buSzTx/>
                        <a:buFontTx/>
                        <a:buNone/>
                        <a:tabLst/>
                        <a:defRPr/>
                      </a:pPr>
                      <a:r>
                        <a:rPr lang="en-US" sz="1200" b="1">
                          <a:ln>
                            <a:solidFill>
                              <a:schemeClr val="accent3"/>
                            </a:solidFill>
                          </a:ln>
                          <a:solidFill>
                            <a:schemeClr val="accent3"/>
                          </a:solidFill>
                        </a:rPr>
                        <a:t>✓</a:t>
                      </a:r>
                    </a:p>
                  </a:txBody>
                  <a:tcPr marL="0" marR="0" marT="64008" marB="64008"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tx2">
                        <a:lumMod val="20000"/>
                        <a:lumOff val="80000"/>
                      </a:schemeClr>
                    </a:solidFill>
                  </a:tcPr>
                </a:tc>
                <a:tc>
                  <a:txBody>
                    <a:bodyPr/>
                    <a:lstStyle/>
                    <a:p>
                      <a:pPr marL="0" marR="0" lvl="0" indent="0" algn="ctr" defTabSz="1088558" rtl="0" eaLnBrk="1" fontAlgn="auto" latinLnBrk="0" hangingPunct="1">
                        <a:lnSpc>
                          <a:spcPct val="100000"/>
                        </a:lnSpc>
                        <a:spcBef>
                          <a:spcPts val="0"/>
                        </a:spcBef>
                        <a:spcAft>
                          <a:spcPts val="0"/>
                        </a:spcAft>
                        <a:buClrTx/>
                        <a:buSzTx/>
                        <a:buFontTx/>
                        <a:buNone/>
                        <a:tabLst/>
                        <a:defRPr/>
                      </a:pPr>
                      <a:r>
                        <a:rPr lang="en-US" sz="1200" b="1" dirty="0">
                          <a:ln>
                            <a:solidFill>
                              <a:schemeClr val="accent3"/>
                            </a:solidFill>
                          </a:ln>
                          <a:solidFill>
                            <a:schemeClr val="accent3"/>
                          </a:solidFill>
                        </a:rPr>
                        <a:t>✓</a:t>
                      </a:r>
                    </a:p>
                  </a:txBody>
                  <a:tcPr marL="0" marR="0" marT="64008" marB="64008" anchor="ctr">
                    <a:lnL w="12700" cap="flat" cmpd="sng" algn="ctr">
                      <a:solidFill>
                        <a:schemeClr val="bg2"/>
                      </a:solidFill>
                      <a:prstDash val="solid"/>
                      <a:round/>
                      <a:headEnd type="none" w="med" len="med"/>
                      <a:tailEnd type="none" w="med" len="med"/>
                    </a:lnL>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tx2">
                        <a:lumMod val="20000"/>
                        <a:lumOff val="80000"/>
                      </a:schemeClr>
                    </a:solidFill>
                  </a:tcPr>
                </a:tc>
                <a:extLst>
                  <a:ext uri="{0D108BD9-81ED-4DB2-BD59-A6C34878D82A}">
                    <a16:rowId xmlns:a16="http://schemas.microsoft.com/office/drawing/2014/main" val="3803675128"/>
                  </a:ext>
                </a:extLst>
              </a:tr>
              <a:tr h="339179">
                <a:tc vMerge="1">
                  <a:txBody>
                    <a:bodyPr/>
                    <a:lstStyle/>
                    <a:p>
                      <a:endParaRPr lang="en-US" sz="1200" b="1" dirty="0">
                        <a:solidFill>
                          <a:schemeClr val="tx1"/>
                        </a:solidFill>
                      </a:endParaRPr>
                    </a:p>
                  </a:txBody>
                  <a:tcPr marL="0" marR="0" marT="64008" marB="64008" anchor="ctr">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r>
                        <a:rPr lang="en-US" sz="1200" b="1" dirty="0">
                          <a:solidFill>
                            <a:schemeClr val="tx1"/>
                          </a:solidFill>
                        </a:rPr>
                        <a:t> Out-of-the box support for SAP event sources</a:t>
                      </a:r>
                    </a:p>
                  </a:txBody>
                  <a:tcPr marL="0" marR="0" marT="64008" marB="64008"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tx2">
                        <a:lumMod val="20000"/>
                        <a:lumOff val="80000"/>
                      </a:schemeClr>
                    </a:solidFill>
                  </a:tcPr>
                </a:tc>
                <a:tc>
                  <a:txBody>
                    <a:bodyPr/>
                    <a:lstStyle/>
                    <a:p>
                      <a:pPr marL="0" marR="0" lvl="0" indent="0" algn="ctr" defTabSz="1088558" rtl="0" eaLnBrk="1" fontAlgn="auto" latinLnBrk="0" hangingPunct="1">
                        <a:lnSpc>
                          <a:spcPct val="100000"/>
                        </a:lnSpc>
                        <a:spcBef>
                          <a:spcPts val="0"/>
                        </a:spcBef>
                        <a:spcAft>
                          <a:spcPts val="0"/>
                        </a:spcAft>
                        <a:buClrTx/>
                        <a:buSzTx/>
                        <a:buFontTx/>
                        <a:buNone/>
                        <a:tabLst/>
                        <a:defRPr/>
                      </a:pPr>
                      <a:r>
                        <a:rPr lang="en-US" sz="1200" b="1" dirty="0">
                          <a:ln>
                            <a:solidFill>
                              <a:schemeClr val="accent3"/>
                            </a:solidFill>
                          </a:ln>
                          <a:solidFill>
                            <a:schemeClr val="accent3"/>
                          </a:solidFill>
                        </a:rPr>
                        <a:t>✓ </a:t>
                      </a:r>
                      <a:endParaRPr lang="en-US" sz="1200" b="1" kern="1200" dirty="0">
                        <a:solidFill>
                          <a:schemeClr val="tx1"/>
                        </a:solidFill>
                        <a:latin typeface="+mn-lt"/>
                        <a:ea typeface="+mn-ea"/>
                        <a:cs typeface="+mn-cs"/>
                      </a:endParaRPr>
                    </a:p>
                  </a:txBody>
                  <a:tcPr marL="0" marR="0" marT="64008" marB="64008"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tx2">
                        <a:lumMod val="20000"/>
                        <a:lumOff val="80000"/>
                      </a:schemeClr>
                    </a:solidFill>
                  </a:tcPr>
                </a:tc>
                <a:tc>
                  <a:txBody>
                    <a:bodyPr/>
                    <a:lstStyle/>
                    <a:p>
                      <a:pPr marL="0" marR="0" lvl="0" indent="0" algn="ctr" defTabSz="1088558" rtl="0" eaLnBrk="1" fontAlgn="auto" latinLnBrk="0" hangingPunct="1">
                        <a:lnSpc>
                          <a:spcPct val="100000"/>
                        </a:lnSpc>
                        <a:spcBef>
                          <a:spcPts val="0"/>
                        </a:spcBef>
                        <a:spcAft>
                          <a:spcPts val="0"/>
                        </a:spcAft>
                        <a:buClrTx/>
                        <a:buSzTx/>
                        <a:buFontTx/>
                        <a:buNone/>
                        <a:tabLst/>
                        <a:defRPr/>
                      </a:pPr>
                      <a:r>
                        <a:rPr lang="en-US" sz="1200" b="1" dirty="0">
                          <a:ln>
                            <a:solidFill>
                              <a:schemeClr val="accent3"/>
                            </a:solidFill>
                          </a:ln>
                          <a:solidFill>
                            <a:schemeClr val="accent3"/>
                          </a:solidFill>
                        </a:rPr>
                        <a:t>✓</a:t>
                      </a:r>
                      <a:endParaRPr lang="en-US" sz="1200" b="1" kern="1200" dirty="0">
                        <a:solidFill>
                          <a:schemeClr val="tx1"/>
                        </a:solidFill>
                        <a:latin typeface="+mn-lt"/>
                        <a:ea typeface="+mn-ea"/>
                        <a:cs typeface="+mn-cs"/>
                      </a:endParaRPr>
                    </a:p>
                  </a:txBody>
                  <a:tcPr marL="0" marR="0" marT="64008" marB="64008" anchor="ctr">
                    <a:lnL w="12700" cap="flat" cmpd="sng" algn="ctr">
                      <a:solidFill>
                        <a:schemeClr val="bg2"/>
                      </a:solidFill>
                      <a:prstDash val="solid"/>
                      <a:round/>
                      <a:headEnd type="none" w="med" len="med"/>
                      <a:tailEnd type="none" w="med" len="med"/>
                    </a:lnL>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tx2">
                        <a:lumMod val="20000"/>
                        <a:lumOff val="80000"/>
                      </a:schemeClr>
                    </a:solidFill>
                  </a:tcPr>
                </a:tc>
                <a:extLst>
                  <a:ext uri="{0D108BD9-81ED-4DB2-BD59-A6C34878D82A}">
                    <a16:rowId xmlns:a16="http://schemas.microsoft.com/office/drawing/2014/main" val="4973624"/>
                  </a:ext>
                </a:extLst>
              </a:tr>
              <a:tr h="339179">
                <a:tc vMerge="1">
                  <a:txBody>
                    <a:bodyPr/>
                    <a:lstStyle/>
                    <a:p>
                      <a:endParaRPr lang="en-US" sz="1200" b="1" dirty="0">
                        <a:solidFill>
                          <a:schemeClr val="tx1"/>
                        </a:solidFill>
                      </a:endParaRPr>
                    </a:p>
                  </a:txBody>
                  <a:tcPr marL="0" marR="0" marT="64008" marB="64008" anchor="ctr">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r>
                        <a:rPr lang="en-US" sz="1200" b="1" dirty="0">
                          <a:solidFill>
                            <a:schemeClr val="tx1"/>
                          </a:solidFill>
                        </a:rPr>
                        <a:t> Support of Standard Protocols</a:t>
                      </a:r>
                    </a:p>
                  </a:txBody>
                  <a:tcPr marL="0" marR="0" marT="64008" marB="64008"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tx2">
                        <a:lumMod val="20000"/>
                        <a:lumOff val="80000"/>
                      </a:schemeClr>
                    </a:solidFill>
                  </a:tcPr>
                </a:tc>
                <a:tc>
                  <a:txBody>
                    <a:bodyPr/>
                    <a:lstStyle/>
                    <a:p>
                      <a:pPr marL="0" marR="0" lvl="0" indent="0" algn="ctr" defTabSz="1088558" rtl="0" eaLnBrk="1" fontAlgn="auto" latinLnBrk="0" hangingPunct="1">
                        <a:lnSpc>
                          <a:spcPct val="100000"/>
                        </a:lnSpc>
                        <a:spcBef>
                          <a:spcPts val="0"/>
                        </a:spcBef>
                        <a:spcAft>
                          <a:spcPts val="0"/>
                        </a:spcAft>
                        <a:buClrTx/>
                        <a:buSzTx/>
                        <a:buFontTx/>
                        <a:buNone/>
                        <a:tabLst/>
                        <a:defRPr/>
                      </a:pPr>
                      <a:r>
                        <a:rPr lang="en-US" sz="1200" b="1" dirty="0">
                          <a:ln>
                            <a:solidFill>
                              <a:schemeClr val="accent3"/>
                            </a:solidFill>
                          </a:ln>
                          <a:solidFill>
                            <a:schemeClr val="accent3"/>
                          </a:solidFill>
                        </a:rPr>
                        <a:t>✓ </a:t>
                      </a:r>
                      <a:endParaRPr lang="en-US" sz="1200" b="1" kern="1200" dirty="0">
                        <a:solidFill>
                          <a:schemeClr val="tx1"/>
                        </a:solidFill>
                        <a:latin typeface="+mn-lt"/>
                        <a:ea typeface="+mn-ea"/>
                        <a:cs typeface="+mn-cs"/>
                      </a:endParaRPr>
                    </a:p>
                  </a:txBody>
                  <a:tcPr marL="0" marR="0" marT="64008" marB="64008"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tx2">
                        <a:lumMod val="20000"/>
                        <a:lumOff val="80000"/>
                      </a:schemeClr>
                    </a:solidFill>
                  </a:tcPr>
                </a:tc>
                <a:tc>
                  <a:txBody>
                    <a:bodyPr/>
                    <a:lstStyle/>
                    <a:p>
                      <a:pPr marL="0" marR="0" lvl="0" indent="0" algn="ctr" defTabSz="1088558" rtl="0" eaLnBrk="1" fontAlgn="auto" latinLnBrk="0" hangingPunct="1">
                        <a:lnSpc>
                          <a:spcPct val="100000"/>
                        </a:lnSpc>
                        <a:spcBef>
                          <a:spcPts val="0"/>
                        </a:spcBef>
                        <a:spcAft>
                          <a:spcPts val="0"/>
                        </a:spcAft>
                        <a:buClrTx/>
                        <a:buSzTx/>
                        <a:buFontTx/>
                        <a:buNone/>
                        <a:tabLst/>
                        <a:defRPr/>
                      </a:pPr>
                      <a:r>
                        <a:rPr lang="en-US" sz="1200" b="1" dirty="0">
                          <a:ln>
                            <a:solidFill>
                              <a:schemeClr val="accent3"/>
                            </a:solidFill>
                          </a:ln>
                          <a:solidFill>
                            <a:schemeClr val="accent3"/>
                          </a:solidFill>
                        </a:rPr>
                        <a:t>✓ </a:t>
                      </a:r>
                      <a:endParaRPr lang="en-US" sz="1200" b="1" kern="1200" dirty="0">
                        <a:solidFill>
                          <a:schemeClr val="tx1"/>
                        </a:solidFill>
                        <a:latin typeface="+mn-lt"/>
                        <a:ea typeface="+mn-ea"/>
                        <a:cs typeface="+mn-cs"/>
                      </a:endParaRPr>
                    </a:p>
                  </a:txBody>
                  <a:tcPr marL="0" marR="0" marT="64008" marB="64008" anchor="ctr">
                    <a:lnL w="12700" cap="flat" cmpd="sng" algn="ctr">
                      <a:solidFill>
                        <a:schemeClr val="bg2"/>
                      </a:solidFill>
                      <a:prstDash val="solid"/>
                      <a:round/>
                      <a:headEnd type="none" w="med" len="med"/>
                      <a:tailEnd type="none" w="med" len="med"/>
                    </a:lnL>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tx2">
                        <a:lumMod val="20000"/>
                        <a:lumOff val="80000"/>
                      </a:schemeClr>
                    </a:solidFill>
                  </a:tcPr>
                </a:tc>
                <a:extLst>
                  <a:ext uri="{0D108BD9-81ED-4DB2-BD59-A6C34878D82A}">
                    <a16:rowId xmlns:a16="http://schemas.microsoft.com/office/drawing/2014/main" val="4156227120"/>
                  </a:ext>
                </a:extLst>
              </a:tr>
              <a:tr h="339179">
                <a:tc vMerge="1">
                  <a:txBody>
                    <a:bodyPr/>
                    <a:lstStyle/>
                    <a:p>
                      <a:endParaRPr lang="en-US" sz="1200" b="1" dirty="0">
                        <a:solidFill>
                          <a:schemeClr val="tx1"/>
                        </a:solidFill>
                      </a:endParaRPr>
                    </a:p>
                  </a:txBody>
                  <a:tcPr marL="0" marR="0" marT="64008" marB="64008" anchor="ctr">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r>
                        <a:rPr lang="en-US" sz="1200" b="1" dirty="0">
                          <a:solidFill>
                            <a:schemeClr val="tx1"/>
                          </a:solidFill>
                        </a:rPr>
                        <a:t> Message size and storage</a:t>
                      </a:r>
                    </a:p>
                  </a:txBody>
                  <a:tcPr marL="0" marR="0" marT="64008" marB="64008"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tx2">
                        <a:lumMod val="20000"/>
                        <a:lumOff val="80000"/>
                      </a:schemeClr>
                    </a:solidFill>
                  </a:tcPr>
                </a:tc>
                <a:tc>
                  <a:txBody>
                    <a:bodyPr/>
                    <a:lstStyle/>
                    <a:p>
                      <a:pPr marL="0" marR="0" lvl="0" indent="0" algn="ctr" defTabSz="1088558"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latin typeface="+mn-lt"/>
                          <a:ea typeface="+mn-ea"/>
                          <a:cs typeface="+mn-cs"/>
                        </a:rPr>
                        <a:t>1MB / 10GB</a:t>
                      </a:r>
                    </a:p>
                  </a:txBody>
                  <a:tcPr marL="0" marR="0" marT="64008" marB="64008"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tx2">
                        <a:lumMod val="20000"/>
                        <a:lumOff val="80000"/>
                      </a:schemeClr>
                    </a:solidFill>
                  </a:tcPr>
                </a:tc>
                <a:tc>
                  <a:txBody>
                    <a:bodyPr/>
                    <a:lstStyle/>
                    <a:p>
                      <a:pPr marL="0" marR="0" lvl="0" indent="0" algn="ctr" defTabSz="1088558"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latin typeface="+mn-lt"/>
                          <a:ea typeface="+mn-ea"/>
                          <a:cs typeface="+mn-cs"/>
                        </a:rPr>
                        <a:t>Up to 30MB / Up to 6TB</a:t>
                      </a:r>
                    </a:p>
                  </a:txBody>
                  <a:tcPr marL="0" marR="0" marT="64008" marB="64008" anchor="ctr">
                    <a:lnL w="12700" cap="flat" cmpd="sng" algn="ctr">
                      <a:solidFill>
                        <a:schemeClr val="bg2"/>
                      </a:solidFill>
                      <a:prstDash val="solid"/>
                      <a:round/>
                      <a:headEnd type="none" w="med" len="med"/>
                      <a:tailEnd type="none" w="med" len="med"/>
                    </a:lnL>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tx2">
                        <a:lumMod val="20000"/>
                        <a:lumOff val="80000"/>
                      </a:schemeClr>
                    </a:solidFill>
                  </a:tcPr>
                </a:tc>
                <a:extLst>
                  <a:ext uri="{0D108BD9-81ED-4DB2-BD59-A6C34878D82A}">
                    <a16:rowId xmlns:a16="http://schemas.microsoft.com/office/drawing/2014/main" val="620794675"/>
                  </a:ext>
                </a:extLst>
              </a:tr>
              <a:tr h="339179">
                <a:tc vMerge="1">
                  <a:txBody>
                    <a:bodyPr/>
                    <a:lstStyle/>
                    <a:p>
                      <a:pPr algn="ctr"/>
                      <a:endParaRPr lang="en-US" sz="1200" b="1" dirty="0">
                        <a:solidFill>
                          <a:schemeClr val="tx1"/>
                        </a:solidFill>
                      </a:endParaRPr>
                    </a:p>
                  </a:txBody>
                  <a:tcPr marL="0" marR="0" marT="64008" marB="64008" anchor="ctr">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r>
                        <a:rPr lang="en-US" sz="1200" b="1" dirty="0">
                          <a:solidFill>
                            <a:schemeClr val="tx1"/>
                          </a:solidFill>
                        </a:rPr>
                        <a:t> Typical use case size</a:t>
                      </a:r>
                    </a:p>
                  </a:txBody>
                  <a:tcPr marL="0" marR="0" marT="64008" marB="64008"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tx2">
                        <a:lumMod val="20000"/>
                        <a:lumOff val="80000"/>
                      </a:schemeClr>
                    </a:solidFill>
                  </a:tcPr>
                </a:tc>
                <a:tc>
                  <a:txBody>
                    <a:bodyPr/>
                    <a:lstStyle/>
                    <a:p>
                      <a:pPr marL="0" marR="0" lvl="0" indent="0" algn="ctr" defTabSz="1088558"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latin typeface="+mn-lt"/>
                          <a:ea typeface="+mn-ea"/>
                          <a:cs typeface="+mn-cs"/>
                        </a:rPr>
                        <a:t>Small to Medium</a:t>
                      </a:r>
                    </a:p>
                  </a:txBody>
                  <a:tcPr marL="0" marR="0" marT="64008" marB="64008"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tx2">
                        <a:lumMod val="20000"/>
                        <a:lumOff val="80000"/>
                      </a:schemeClr>
                    </a:solidFill>
                  </a:tcPr>
                </a:tc>
                <a:tc>
                  <a:txBody>
                    <a:bodyPr/>
                    <a:lstStyle/>
                    <a:p>
                      <a:pPr marL="0" marR="0" lvl="0" indent="0" algn="ctr" defTabSz="1088558"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latin typeface="+mn-lt"/>
                          <a:ea typeface="+mn-ea"/>
                          <a:cs typeface="+mn-cs"/>
                        </a:rPr>
                        <a:t>Small to Ultra Large</a:t>
                      </a:r>
                    </a:p>
                  </a:txBody>
                  <a:tcPr marL="0" marR="0" marT="64008" marB="64008" anchor="ctr">
                    <a:lnL w="12700" cap="flat" cmpd="sng" algn="ctr">
                      <a:solidFill>
                        <a:schemeClr val="bg2"/>
                      </a:solidFill>
                      <a:prstDash val="solid"/>
                      <a:round/>
                      <a:headEnd type="none" w="med" len="med"/>
                      <a:tailEnd type="none" w="med" len="med"/>
                    </a:lnL>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tx2">
                        <a:lumMod val="20000"/>
                        <a:lumOff val="80000"/>
                      </a:schemeClr>
                    </a:solidFill>
                  </a:tcPr>
                </a:tc>
                <a:extLst>
                  <a:ext uri="{0D108BD9-81ED-4DB2-BD59-A6C34878D82A}">
                    <a16:rowId xmlns:a16="http://schemas.microsoft.com/office/drawing/2014/main" val="1250085830"/>
                  </a:ext>
                </a:extLst>
              </a:tr>
              <a:tr h="339179">
                <a:tc rowSpan="7">
                  <a:txBody>
                    <a:bodyPr/>
                    <a:lstStyle/>
                    <a:p>
                      <a:pPr marL="0" algn="ctr" defTabSz="1088558" rtl="0" eaLnBrk="1" latinLnBrk="0" hangingPunct="1">
                        <a:lnSpc>
                          <a:spcPct val="90000"/>
                        </a:lnSpc>
                      </a:pPr>
                      <a:r>
                        <a:rPr lang="en-US" sz="1400" b="1" kern="1200" dirty="0">
                          <a:solidFill>
                            <a:schemeClr val="bg1"/>
                          </a:solidFill>
                          <a:latin typeface="+mn-lt"/>
                          <a:ea typeface="+mn-ea"/>
                          <a:cs typeface="+mn-cs"/>
                        </a:rPr>
                        <a:t>Advanced</a:t>
                      </a:r>
                    </a:p>
                  </a:txBody>
                  <a:tcPr marL="0" marR="0" marT="64008" marB="64008" anchor="ctr">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008ECF"/>
                    </a:solidFill>
                  </a:tcPr>
                </a:tc>
                <a:tc>
                  <a:txBody>
                    <a:bodyPr/>
                    <a:lstStyle/>
                    <a:p>
                      <a:r>
                        <a:rPr lang="en-US" sz="1200" b="1" dirty="0">
                          <a:solidFill>
                            <a:schemeClr val="tx1"/>
                          </a:solidFill>
                        </a:rPr>
                        <a:t> Network of Event Brokers</a:t>
                      </a:r>
                    </a:p>
                  </a:txBody>
                  <a:tcPr marL="0" marR="0" marT="64008" marB="64008"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tx2">
                        <a:lumMod val="40000"/>
                        <a:lumOff val="60000"/>
                      </a:schemeClr>
                    </a:solidFill>
                  </a:tcPr>
                </a:tc>
                <a:tc>
                  <a:txBody>
                    <a:bodyPr/>
                    <a:lstStyle/>
                    <a:p>
                      <a:pPr marL="0" marR="0" lvl="0" indent="0" algn="ctr" defTabSz="1088558" rtl="0" eaLnBrk="1" fontAlgn="auto" latinLnBrk="0" hangingPunct="1">
                        <a:lnSpc>
                          <a:spcPct val="100000"/>
                        </a:lnSpc>
                        <a:spcBef>
                          <a:spcPts val="0"/>
                        </a:spcBef>
                        <a:spcAft>
                          <a:spcPts val="0"/>
                        </a:spcAft>
                        <a:buClrTx/>
                        <a:buSzTx/>
                        <a:buFontTx/>
                        <a:buNone/>
                        <a:tabLst/>
                        <a:defRPr/>
                      </a:pPr>
                      <a:endParaRPr lang="en-US" sz="1100" b="1" dirty="0">
                        <a:ln>
                          <a:solidFill>
                            <a:schemeClr val="accent3"/>
                          </a:solidFill>
                        </a:ln>
                        <a:solidFill>
                          <a:schemeClr val="accent3"/>
                        </a:solidFill>
                      </a:endParaRPr>
                    </a:p>
                  </a:txBody>
                  <a:tcPr marL="0" marR="0" marT="64008" marB="64008"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tx2">
                        <a:lumMod val="40000"/>
                        <a:lumOff val="60000"/>
                      </a:schemeClr>
                    </a:solidFill>
                  </a:tcPr>
                </a:tc>
                <a:tc>
                  <a:txBody>
                    <a:bodyPr/>
                    <a:lstStyle/>
                    <a:p>
                      <a:pPr marL="0" marR="0" lvl="0" indent="0" algn="ctr" defTabSz="1088558" rtl="0" eaLnBrk="1" fontAlgn="auto" latinLnBrk="0" hangingPunct="1">
                        <a:lnSpc>
                          <a:spcPct val="100000"/>
                        </a:lnSpc>
                        <a:spcBef>
                          <a:spcPts val="0"/>
                        </a:spcBef>
                        <a:spcAft>
                          <a:spcPts val="0"/>
                        </a:spcAft>
                        <a:buClrTx/>
                        <a:buSzTx/>
                        <a:buFontTx/>
                        <a:buNone/>
                        <a:tabLst/>
                        <a:defRPr/>
                      </a:pPr>
                      <a:r>
                        <a:rPr lang="en-US" sz="1100" b="1" dirty="0">
                          <a:ln>
                            <a:solidFill>
                              <a:schemeClr val="accent3"/>
                            </a:solidFill>
                          </a:ln>
                          <a:solidFill>
                            <a:schemeClr val="accent3"/>
                          </a:solidFill>
                        </a:rPr>
                        <a:t>✓</a:t>
                      </a:r>
                    </a:p>
                  </a:txBody>
                  <a:tcPr marL="0" marR="0" marT="64008" marB="64008" anchor="ctr">
                    <a:lnL w="12700" cap="flat" cmpd="sng" algn="ctr">
                      <a:solidFill>
                        <a:schemeClr val="bg2"/>
                      </a:solidFill>
                      <a:prstDash val="solid"/>
                      <a:round/>
                      <a:headEnd type="none" w="med" len="med"/>
                      <a:tailEnd type="none" w="med" len="med"/>
                    </a:lnL>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tx2">
                        <a:lumMod val="40000"/>
                        <a:lumOff val="60000"/>
                      </a:schemeClr>
                    </a:solidFill>
                  </a:tcPr>
                </a:tc>
                <a:extLst>
                  <a:ext uri="{0D108BD9-81ED-4DB2-BD59-A6C34878D82A}">
                    <a16:rowId xmlns:a16="http://schemas.microsoft.com/office/drawing/2014/main" val="310993060"/>
                  </a:ext>
                </a:extLst>
              </a:tr>
              <a:tr h="339179">
                <a:tc vMerge="1">
                  <a:txBody>
                    <a:bodyPr/>
                    <a:lstStyle/>
                    <a:p>
                      <a:endParaRPr lang="en-US" sz="1200" b="1" dirty="0">
                        <a:solidFill>
                          <a:schemeClr val="tx1"/>
                        </a:solidFill>
                      </a:endParaRPr>
                    </a:p>
                  </a:txBody>
                  <a:tcPr marL="0" marR="0" marT="64008" marB="64008" anchor="ctr">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r>
                        <a:rPr lang="en-US" sz="1200" b="1" dirty="0">
                          <a:solidFill>
                            <a:schemeClr val="tx1"/>
                          </a:solidFill>
                        </a:rPr>
                        <a:t> Advanced Event Monitoring and Analysis</a:t>
                      </a:r>
                    </a:p>
                  </a:txBody>
                  <a:tcPr marL="0" marR="0" marT="64008" marB="64008"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tx2">
                        <a:lumMod val="40000"/>
                        <a:lumOff val="60000"/>
                      </a:schemeClr>
                    </a:solidFill>
                  </a:tcPr>
                </a:tc>
                <a:tc>
                  <a:txBody>
                    <a:bodyPr/>
                    <a:lstStyle/>
                    <a:p>
                      <a:pPr marL="0" marR="0" lvl="0" indent="0" algn="ctr" defTabSz="1088558" rtl="0" eaLnBrk="1" fontAlgn="auto" latinLnBrk="0" hangingPunct="1">
                        <a:lnSpc>
                          <a:spcPct val="100000"/>
                        </a:lnSpc>
                        <a:spcBef>
                          <a:spcPts val="0"/>
                        </a:spcBef>
                        <a:spcAft>
                          <a:spcPts val="0"/>
                        </a:spcAft>
                        <a:buClrTx/>
                        <a:buSzTx/>
                        <a:buFontTx/>
                        <a:buNone/>
                        <a:tabLst/>
                        <a:defRPr/>
                      </a:pPr>
                      <a:endParaRPr lang="en-US" sz="1200" b="1" dirty="0">
                        <a:ln>
                          <a:solidFill>
                            <a:schemeClr val="accent3"/>
                          </a:solidFill>
                        </a:ln>
                        <a:solidFill>
                          <a:schemeClr val="accent3"/>
                        </a:solidFill>
                      </a:endParaRPr>
                    </a:p>
                  </a:txBody>
                  <a:tcPr marL="0" marR="0" marT="64008" marB="64008"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tx2">
                        <a:lumMod val="40000"/>
                        <a:lumOff val="60000"/>
                      </a:schemeClr>
                    </a:solidFill>
                  </a:tcPr>
                </a:tc>
                <a:tc>
                  <a:txBody>
                    <a:bodyPr/>
                    <a:lstStyle/>
                    <a:p>
                      <a:pPr marL="0" marR="0" lvl="0" indent="0" algn="ctr" defTabSz="1088558" rtl="0" eaLnBrk="1" fontAlgn="auto" latinLnBrk="0" hangingPunct="1">
                        <a:lnSpc>
                          <a:spcPct val="100000"/>
                        </a:lnSpc>
                        <a:spcBef>
                          <a:spcPts val="0"/>
                        </a:spcBef>
                        <a:spcAft>
                          <a:spcPts val="0"/>
                        </a:spcAft>
                        <a:buClrTx/>
                        <a:buSzTx/>
                        <a:buFontTx/>
                        <a:buNone/>
                        <a:tabLst/>
                        <a:defRPr/>
                      </a:pPr>
                      <a:r>
                        <a:rPr lang="en-US" sz="1200" b="1" dirty="0">
                          <a:ln>
                            <a:solidFill>
                              <a:schemeClr val="accent3"/>
                            </a:solidFill>
                          </a:ln>
                          <a:solidFill>
                            <a:schemeClr val="accent3"/>
                          </a:solidFill>
                        </a:rPr>
                        <a:t>✓</a:t>
                      </a:r>
                    </a:p>
                  </a:txBody>
                  <a:tcPr marL="0" marR="0" marT="64008" marB="64008" anchor="ctr">
                    <a:lnL w="12700" cap="flat" cmpd="sng" algn="ctr">
                      <a:solidFill>
                        <a:schemeClr val="bg2"/>
                      </a:solidFill>
                      <a:prstDash val="solid"/>
                      <a:round/>
                      <a:headEnd type="none" w="med" len="med"/>
                      <a:tailEnd type="none" w="med" len="med"/>
                    </a:lnL>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tx2">
                        <a:lumMod val="40000"/>
                        <a:lumOff val="60000"/>
                      </a:schemeClr>
                    </a:solidFill>
                  </a:tcPr>
                </a:tc>
                <a:extLst>
                  <a:ext uri="{0D108BD9-81ED-4DB2-BD59-A6C34878D82A}">
                    <a16:rowId xmlns:a16="http://schemas.microsoft.com/office/drawing/2014/main" val="1935015497"/>
                  </a:ext>
                </a:extLst>
              </a:tr>
              <a:tr h="339179">
                <a:tc vMerge="1">
                  <a:txBody>
                    <a:bodyPr/>
                    <a:lstStyle/>
                    <a:p>
                      <a:endParaRPr lang="en-US" sz="1200" b="1" dirty="0">
                        <a:solidFill>
                          <a:schemeClr val="tx1"/>
                        </a:solidFill>
                      </a:endParaRPr>
                    </a:p>
                  </a:txBody>
                  <a:tcPr marL="0" marR="0" marT="64008" marB="64008" anchor="ctr">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r>
                        <a:rPr lang="en-US" sz="1200" b="1" dirty="0">
                          <a:solidFill>
                            <a:schemeClr val="tx1"/>
                          </a:solidFill>
                        </a:rPr>
                        <a:t> Dynamic Event Routing</a:t>
                      </a:r>
                    </a:p>
                  </a:txBody>
                  <a:tcPr marL="0" marR="0" marT="64008" marB="64008"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tx2">
                        <a:lumMod val="40000"/>
                        <a:lumOff val="60000"/>
                      </a:schemeClr>
                    </a:solidFill>
                  </a:tcPr>
                </a:tc>
                <a:tc>
                  <a:txBody>
                    <a:bodyPr/>
                    <a:lstStyle/>
                    <a:p>
                      <a:pPr marL="0" marR="0" lvl="0" indent="0" algn="ctr" defTabSz="1088558" rtl="0" eaLnBrk="1" fontAlgn="auto" latinLnBrk="0" hangingPunct="1">
                        <a:lnSpc>
                          <a:spcPct val="100000"/>
                        </a:lnSpc>
                        <a:spcBef>
                          <a:spcPts val="0"/>
                        </a:spcBef>
                        <a:spcAft>
                          <a:spcPts val="0"/>
                        </a:spcAft>
                        <a:buClrTx/>
                        <a:buSzTx/>
                        <a:buFontTx/>
                        <a:buNone/>
                        <a:tabLst/>
                        <a:defRPr/>
                      </a:pPr>
                      <a:endParaRPr lang="en-US" sz="1200" b="1" dirty="0">
                        <a:ln>
                          <a:solidFill>
                            <a:schemeClr val="accent3"/>
                          </a:solidFill>
                        </a:ln>
                        <a:solidFill>
                          <a:schemeClr val="accent3"/>
                        </a:solidFill>
                      </a:endParaRPr>
                    </a:p>
                  </a:txBody>
                  <a:tcPr marL="0" marR="0" marT="64008" marB="64008"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tx2">
                        <a:lumMod val="40000"/>
                        <a:lumOff val="60000"/>
                      </a:schemeClr>
                    </a:solidFill>
                  </a:tcPr>
                </a:tc>
                <a:tc>
                  <a:txBody>
                    <a:bodyPr/>
                    <a:lstStyle/>
                    <a:p>
                      <a:pPr marL="0" marR="0" lvl="0" indent="0" algn="ctr" defTabSz="1088558" rtl="0" eaLnBrk="1" fontAlgn="auto" latinLnBrk="0" hangingPunct="1">
                        <a:lnSpc>
                          <a:spcPct val="100000"/>
                        </a:lnSpc>
                        <a:spcBef>
                          <a:spcPts val="0"/>
                        </a:spcBef>
                        <a:spcAft>
                          <a:spcPts val="0"/>
                        </a:spcAft>
                        <a:buClrTx/>
                        <a:buSzTx/>
                        <a:buFontTx/>
                        <a:buNone/>
                        <a:tabLst/>
                        <a:defRPr/>
                      </a:pPr>
                      <a:r>
                        <a:rPr lang="en-US" sz="1200" b="1" dirty="0">
                          <a:ln>
                            <a:solidFill>
                              <a:schemeClr val="accent3"/>
                            </a:solidFill>
                          </a:ln>
                          <a:solidFill>
                            <a:schemeClr val="accent3"/>
                          </a:solidFill>
                        </a:rPr>
                        <a:t>✓</a:t>
                      </a:r>
                    </a:p>
                  </a:txBody>
                  <a:tcPr marL="0" marR="0" marT="64008" marB="64008" anchor="ctr">
                    <a:lnL w="12700" cap="flat" cmpd="sng" algn="ctr">
                      <a:solidFill>
                        <a:schemeClr val="bg2"/>
                      </a:solidFill>
                      <a:prstDash val="solid"/>
                      <a:round/>
                      <a:headEnd type="none" w="med" len="med"/>
                      <a:tailEnd type="none" w="med" len="med"/>
                    </a:lnL>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tx2">
                        <a:lumMod val="40000"/>
                        <a:lumOff val="60000"/>
                      </a:schemeClr>
                    </a:solidFill>
                  </a:tcPr>
                </a:tc>
                <a:extLst>
                  <a:ext uri="{0D108BD9-81ED-4DB2-BD59-A6C34878D82A}">
                    <a16:rowId xmlns:a16="http://schemas.microsoft.com/office/drawing/2014/main" val="470358311"/>
                  </a:ext>
                </a:extLst>
              </a:tr>
              <a:tr h="339179">
                <a:tc vMerge="1">
                  <a:txBody>
                    <a:bodyPr/>
                    <a:lstStyle/>
                    <a:p>
                      <a:endParaRPr lang="en-US" sz="1200" b="1" dirty="0">
                        <a:solidFill>
                          <a:schemeClr val="tx1"/>
                        </a:solidFill>
                      </a:endParaRPr>
                    </a:p>
                  </a:txBody>
                  <a:tcPr marL="0" marR="0" marT="64008" marB="64008" anchor="ctr">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r>
                        <a:rPr lang="en-US" sz="1200" b="1" dirty="0">
                          <a:solidFill>
                            <a:schemeClr val="tx1"/>
                          </a:solidFill>
                        </a:rPr>
                        <a:t> Filtering</a:t>
                      </a:r>
                    </a:p>
                  </a:txBody>
                  <a:tcPr marL="0" marR="0" marT="64008" marB="64008"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tx2">
                        <a:lumMod val="40000"/>
                        <a:lumOff val="60000"/>
                      </a:schemeClr>
                    </a:solidFill>
                  </a:tcPr>
                </a:tc>
                <a:tc>
                  <a:txBody>
                    <a:bodyPr/>
                    <a:lstStyle/>
                    <a:p>
                      <a:pPr marL="0" marR="0" lvl="0" indent="0" algn="ctr" defTabSz="1088558" rtl="0" eaLnBrk="1" fontAlgn="auto" latinLnBrk="0" hangingPunct="1">
                        <a:lnSpc>
                          <a:spcPct val="100000"/>
                        </a:lnSpc>
                        <a:spcBef>
                          <a:spcPts val="0"/>
                        </a:spcBef>
                        <a:spcAft>
                          <a:spcPts val="0"/>
                        </a:spcAft>
                        <a:buClrTx/>
                        <a:buSzTx/>
                        <a:buFontTx/>
                        <a:buNone/>
                        <a:tabLst/>
                        <a:defRPr/>
                      </a:pPr>
                      <a:endParaRPr lang="en-US" sz="1200" b="1" dirty="0">
                        <a:ln>
                          <a:solidFill>
                            <a:schemeClr val="accent3"/>
                          </a:solidFill>
                        </a:ln>
                        <a:solidFill>
                          <a:schemeClr val="accent3"/>
                        </a:solidFill>
                      </a:endParaRPr>
                    </a:p>
                  </a:txBody>
                  <a:tcPr marL="0" marR="0" marT="64008" marB="64008"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tx2">
                        <a:lumMod val="40000"/>
                        <a:lumOff val="60000"/>
                      </a:schemeClr>
                    </a:solidFill>
                  </a:tcPr>
                </a:tc>
                <a:tc>
                  <a:txBody>
                    <a:bodyPr/>
                    <a:lstStyle/>
                    <a:p>
                      <a:pPr marL="0" marR="0" lvl="0" indent="0" algn="ctr" defTabSz="1088558" rtl="0" eaLnBrk="1" fontAlgn="auto" latinLnBrk="0" hangingPunct="1">
                        <a:lnSpc>
                          <a:spcPct val="100000"/>
                        </a:lnSpc>
                        <a:spcBef>
                          <a:spcPts val="0"/>
                        </a:spcBef>
                        <a:spcAft>
                          <a:spcPts val="0"/>
                        </a:spcAft>
                        <a:buClrTx/>
                        <a:buSzTx/>
                        <a:buFontTx/>
                        <a:buNone/>
                        <a:tabLst/>
                        <a:defRPr/>
                      </a:pPr>
                      <a:r>
                        <a:rPr lang="en-US" sz="1200" b="1" dirty="0">
                          <a:ln>
                            <a:solidFill>
                              <a:schemeClr val="accent3"/>
                            </a:solidFill>
                          </a:ln>
                          <a:solidFill>
                            <a:schemeClr val="accent3"/>
                          </a:solidFill>
                        </a:rPr>
                        <a:t>✓</a:t>
                      </a:r>
                    </a:p>
                  </a:txBody>
                  <a:tcPr marL="0" marR="0" marT="64008" marB="64008" anchor="ctr">
                    <a:lnL w="12700" cap="flat" cmpd="sng" algn="ctr">
                      <a:solidFill>
                        <a:schemeClr val="bg2"/>
                      </a:solidFill>
                      <a:prstDash val="solid"/>
                      <a:round/>
                      <a:headEnd type="none" w="med" len="med"/>
                      <a:tailEnd type="none" w="med" len="med"/>
                    </a:lnL>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tx2">
                        <a:lumMod val="40000"/>
                        <a:lumOff val="60000"/>
                      </a:schemeClr>
                    </a:solidFill>
                  </a:tcPr>
                </a:tc>
                <a:extLst>
                  <a:ext uri="{0D108BD9-81ED-4DB2-BD59-A6C34878D82A}">
                    <a16:rowId xmlns:a16="http://schemas.microsoft.com/office/drawing/2014/main" val="3350606167"/>
                  </a:ext>
                </a:extLst>
              </a:tr>
              <a:tr h="339179">
                <a:tc vMerge="1">
                  <a:txBody>
                    <a:bodyPr/>
                    <a:lstStyle/>
                    <a:p>
                      <a:endParaRPr lang="en-US" sz="1200" b="1" dirty="0">
                        <a:solidFill>
                          <a:schemeClr val="tx1"/>
                        </a:solidFill>
                      </a:endParaRPr>
                    </a:p>
                  </a:txBody>
                  <a:tcPr marL="0" marR="0" marT="64008" marB="64008" anchor="ctr">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r>
                        <a:rPr lang="en-US" sz="1200" b="1" dirty="0">
                          <a:solidFill>
                            <a:schemeClr val="tx1"/>
                          </a:solidFill>
                        </a:rPr>
                        <a:t> Event replay</a:t>
                      </a:r>
                    </a:p>
                  </a:txBody>
                  <a:tcPr marL="0" marR="0" marT="64008" marB="64008"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tx2">
                        <a:lumMod val="40000"/>
                        <a:lumOff val="60000"/>
                      </a:schemeClr>
                    </a:solidFill>
                  </a:tcPr>
                </a:tc>
                <a:tc>
                  <a:txBody>
                    <a:bodyPr/>
                    <a:lstStyle/>
                    <a:p>
                      <a:pPr marL="0" marR="0" lvl="0" indent="0" algn="ctr" defTabSz="1088558" rtl="0" eaLnBrk="1" fontAlgn="auto" latinLnBrk="0" hangingPunct="1">
                        <a:lnSpc>
                          <a:spcPct val="100000"/>
                        </a:lnSpc>
                        <a:spcBef>
                          <a:spcPts val="0"/>
                        </a:spcBef>
                        <a:spcAft>
                          <a:spcPts val="0"/>
                        </a:spcAft>
                        <a:buClrTx/>
                        <a:buSzTx/>
                        <a:buFontTx/>
                        <a:buNone/>
                        <a:tabLst/>
                        <a:defRPr/>
                      </a:pPr>
                      <a:endParaRPr lang="en-US" sz="1200" b="1" dirty="0">
                        <a:ln>
                          <a:solidFill>
                            <a:schemeClr val="accent3"/>
                          </a:solidFill>
                        </a:ln>
                        <a:solidFill>
                          <a:schemeClr val="accent3"/>
                        </a:solidFill>
                      </a:endParaRPr>
                    </a:p>
                  </a:txBody>
                  <a:tcPr marL="0" marR="0" marT="64008" marB="64008"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tx2">
                        <a:lumMod val="40000"/>
                        <a:lumOff val="60000"/>
                      </a:schemeClr>
                    </a:solidFill>
                  </a:tcPr>
                </a:tc>
                <a:tc>
                  <a:txBody>
                    <a:bodyPr/>
                    <a:lstStyle/>
                    <a:p>
                      <a:pPr marL="0" marR="0" lvl="0" indent="0" algn="ctr" defTabSz="1088558" rtl="0" eaLnBrk="1" fontAlgn="auto" latinLnBrk="0" hangingPunct="1">
                        <a:lnSpc>
                          <a:spcPct val="100000"/>
                        </a:lnSpc>
                        <a:spcBef>
                          <a:spcPts val="0"/>
                        </a:spcBef>
                        <a:spcAft>
                          <a:spcPts val="0"/>
                        </a:spcAft>
                        <a:buClrTx/>
                        <a:buSzTx/>
                        <a:buFontTx/>
                        <a:buNone/>
                        <a:tabLst/>
                        <a:defRPr/>
                      </a:pPr>
                      <a:r>
                        <a:rPr lang="en-US" sz="1200" b="1" dirty="0">
                          <a:ln>
                            <a:solidFill>
                              <a:schemeClr val="accent3"/>
                            </a:solidFill>
                          </a:ln>
                          <a:solidFill>
                            <a:schemeClr val="accent3"/>
                          </a:solidFill>
                        </a:rPr>
                        <a:t>✓</a:t>
                      </a:r>
                    </a:p>
                  </a:txBody>
                  <a:tcPr marL="0" marR="0" marT="64008" marB="64008" anchor="ctr">
                    <a:lnL w="12700" cap="flat" cmpd="sng" algn="ctr">
                      <a:solidFill>
                        <a:schemeClr val="bg2"/>
                      </a:solidFill>
                      <a:prstDash val="solid"/>
                      <a:round/>
                      <a:headEnd type="none" w="med" len="med"/>
                      <a:tailEnd type="none" w="med" len="med"/>
                    </a:lnL>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tx2">
                        <a:lumMod val="40000"/>
                        <a:lumOff val="60000"/>
                      </a:schemeClr>
                    </a:solidFill>
                  </a:tcPr>
                </a:tc>
                <a:extLst>
                  <a:ext uri="{0D108BD9-81ED-4DB2-BD59-A6C34878D82A}">
                    <a16:rowId xmlns:a16="http://schemas.microsoft.com/office/drawing/2014/main" val="257504385"/>
                  </a:ext>
                </a:extLst>
              </a:tr>
              <a:tr h="211083">
                <a:tc vMerge="1">
                  <a:txBody>
                    <a:bodyPr/>
                    <a:lstStyle/>
                    <a:p>
                      <a:endParaRPr lang="en-US" sz="1200" b="1" dirty="0">
                        <a:solidFill>
                          <a:schemeClr val="tx1"/>
                        </a:solidFill>
                      </a:endParaRPr>
                    </a:p>
                  </a:txBody>
                  <a:tcPr marL="0" marR="0" marT="64008" marB="64008" anchor="ctr">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r>
                        <a:rPr lang="en-US" sz="1200" b="1" dirty="0">
                          <a:solidFill>
                            <a:schemeClr val="tx1"/>
                          </a:solidFill>
                        </a:rPr>
                        <a:t> Event Management</a:t>
                      </a:r>
                    </a:p>
                  </a:txBody>
                  <a:tcPr marL="0" marR="0" marT="64008" marB="64008"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tx2">
                        <a:lumMod val="40000"/>
                        <a:lumOff val="60000"/>
                      </a:schemeClr>
                    </a:solidFill>
                  </a:tcPr>
                </a:tc>
                <a:tc>
                  <a:txBody>
                    <a:bodyPr/>
                    <a:lstStyle/>
                    <a:p>
                      <a:pPr marL="0" marR="0" lvl="0" indent="0" algn="ctr" defTabSz="1088558" rtl="0" eaLnBrk="1" fontAlgn="auto" latinLnBrk="0" hangingPunct="1">
                        <a:lnSpc>
                          <a:spcPct val="100000"/>
                        </a:lnSpc>
                        <a:spcBef>
                          <a:spcPts val="0"/>
                        </a:spcBef>
                        <a:spcAft>
                          <a:spcPts val="0"/>
                        </a:spcAft>
                        <a:buClrTx/>
                        <a:buSzTx/>
                        <a:buFontTx/>
                        <a:buNone/>
                        <a:tabLst/>
                        <a:defRPr/>
                      </a:pPr>
                      <a:endParaRPr lang="en-US" sz="1200" b="1" dirty="0">
                        <a:ln>
                          <a:solidFill>
                            <a:schemeClr val="accent3"/>
                          </a:solidFill>
                        </a:ln>
                        <a:solidFill>
                          <a:schemeClr val="accent3"/>
                        </a:solidFill>
                      </a:endParaRPr>
                    </a:p>
                  </a:txBody>
                  <a:tcPr marL="0" marR="0" marT="64008" marB="64008"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tx2">
                        <a:lumMod val="40000"/>
                        <a:lumOff val="60000"/>
                      </a:schemeClr>
                    </a:solidFill>
                  </a:tcPr>
                </a:tc>
                <a:tc>
                  <a:txBody>
                    <a:bodyPr/>
                    <a:lstStyle/>
                    <a:p>
                      <a:pPr marL="0" marR="0" lvl="0" indent="0" algn="ctr" defTabSz="1088558" rtl="0" eaLnBrk="1" fontAlgn="auto" latinLnBrk="0" hangingPunct="1">
                        <a:lnSpc>
                          <a:spcPct val="100000"/>
                        </a:lnSpc>
                        <a:spcBef>
                          <a:spcPts val="0"/>
                        </a:spcBef>
                        <a:spcAft>
                          <a:spcPts val="0"/>
                        </a:spcAft>
                        <a:buClrTx/>
                        <a:buSzTx/>
                        <a:buFontTx/>
                        <a:buNone/>
                        <a:tabLst/>
                        <a:defRPr/>
                      </a:pPr>
                      <a:r>
                        <a:rPr lang="en-US" sz="1200" b="1" dirty="0">
                          <a:ln>
                            <a:solidFill>
                              <a:schemeClr val="accent3"/>
                            </a:solidFill>
                          </a:ln>
                          <a:solidFill>
                            <a:schemeClr val="accent3"/>
                          </a:solidFill>
                        </a:rPr>
                        <a:t>✓</a:t>
                      </a:r>
                    </a:p>
                  </a:txBody>
                  <a:tcPr marL="0" marR="0" marT="64008" marB="64008" anchor="ctr">
                    <a:lnL w="12700" cap="flat" cmpd="sng" algn="ctr">
                      <a:solidFill>
                        <a:schemeClr val="bg2"/>
                      </a:solidFill>
                      <a:prstDash val="solid"/>
                      <a:round/>
                      <a:headEnd type="none" w="med" len="med"/>
                      <a:tailEnd type="none" w="med" len="med"/>
                    </a:lnL>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tx2">
                        <a:lumMod val="40000"/>
                        <a:lumOff val="60000"/>
                      </a:schemeClr>
                    </a:solidFill>
                  </a:tcPr>
                </a:tc>
                <a:extLst>
                  <a:ext uri="{0D108BD9-81ED-4DB2-BD59-A6C34878D82A}">
                    <a16:rowId xmlns:a16="http://schemas.microsoft.com/office/drawing/2014/main" val="1052550416"/>
                  </a:ext>
                </a:extLst>
              </a:tr>
              <a:tr h="211083">
                <a:tc vMerge="1">
                  <a:txBody>
                    <a:bodyPr/>
                    <a:lstStyle/>
                    <a:p>
                      <a:pPr marL="0" algn="ctr" defTabSz="1088558" rtl="0" eaLnBrk="1" latinLnBrk="0" hangingPunct="1">
                        <a:lnSpc>
                          <a:spcPct val="90000"/>
                        </a:lnSpc>
                      </a:pPr>
                      <a:endParaRPr lang="en-US" sz="1400" b="1" kern="1200" dirty="0">
                        <a:solidFill>
                          <a:schemeClr val="bg1"/>
                        </a:solidFill>
                        <a:latin typeface="+mn-lt"/>
                        <a:ea typeface="+mn-ea"/>
                        <a:cs typeface="+mn-cs"/>
                      </a:endParaRPr>
                    </a:p>
                  </a:txBody>
                  <a:tcPr marL="0" marR="0" marT="64008" marB="64008" anchor="ctr">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008ECF"/>
                    </a:solidFill>
                  </a:tcPr>
                </a:tc>
                <a:tc>
                  <a:txBody>
                    <a:bodyPr/>
                    <a:lstStyle/>
                    <a:p>
                      <a:r>
                        <a:rPr lang="en-US" sz="1200" b="1" dirty="0">
                          <a:solidFill>
                            <a:schemeClr val="tx1"/>
                          </a:solidFill>
                        </a:rPr>
                        <a:t> Distributed Tracing</a:t>
                      </a:r>
                    </a:p>
                  </a:txBody>
                  <a:tcPr marL="0" marR="0" marT="64008" marB="64008"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tx2">
                        <a:lumMod val="40000"/>
                        <a:lumOff val="60000"/>
                      </a:schemeClr>
                    </a:solidFill>
                  </a:tcPr>
                </a:tc>
                <a:tc>
                  <a:txBody>
                    <a:bodyPr/>
                    <a:lstStyle/>
                    <a:p>
                      <a:pPr marL="0" marR="0" lvl="0" indent="0" algn="ctr" defTabSz="1088558" rtl="0" eaLnBrk="1" fontAlgn="auto" latinLnBrk="0" hangingPunct="1">
                        <a:lnSpc>
                          <a:spcPct val="100000"/>
                        </a:lnSpc>
                        <a:spcBef>
                          <a:spcPts val="0"/>
                        </a:spcBef>
                        <a:spcAft>
                          <a:spcPts val="0"/>
                        </a:spcAft>
                        <a:buClrTx/>
                        <a:buSzTx/>
                        <a:buFontTx/>
                        <a:buNone/>
                        <a:tabLst/>
                        <a:defRPr/>
                      </a:pPr>
                      <a:endParaRPr lang="en-US" sz="1200" b="1" dirty="0">
                        <a:ln>
                          <a:solidFill>
                            <a:schemeClr val="accent3"/>
                          </a:solidFill>
                        </a:ln>
                        <a:solidFill>
                          <a:schemeClr val="accent3"/>
                        </a:solidFill>
                      </a:endParaRPr>
                    </a:p>
                  </a:txBody>
                  <a:tcPr marL="0" marR="0" marT="64008" marB="64008"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tx2">
                        <a:lumMod val="40000"/>
                        <a:lumOff val="60000"/>
                      </a:schemeClr>
                    </a:solidFill>
                  </a:tcPr>
                </a:tc>
                <a:tc>
                  <a:txBody>
                    <a:bodyPr/>
                    <a:lstStyle/>
                    <a:p>
                      <a:pPr marL="0" marR="0" lvl="0" indent="0" algn="ctr" defTabSz="1088558" rtl="0" eaLnBrk="1" fontAlgn="auto" latinLnBrk="0" hangingPunct="1">
                        <a:lnSpc>
                          <a:spcPct val="100000"/>
                        </a:lnSpc>
                        <a:spcBef>
                          <a:spcPts val="0"/>
                        </a:spcBef>
                        <a:spcAft>
                          <a:spcPts val="0"/>
                        </a:spcAft>
                        <a:buClrTx/>
                        <a:buSzTx/>
                        <a:buFontTx/>
                        <a:buNone/>
                        <a:tabLst/>
                        <a:defRPr/>
                      </a:pPr>
                      <a:r>
                        <a:rPr lang="en-US" sz="1200" b="1" dirty="0">
                          <a:ln>
                            <a:solidFill>
                              <a:schemeClr val="accent3"/>
                            </a:solidFill>
                          </a:ln>
                          <a:solidFill>
                            <a:schemeClr val="accent3"/>
                          </a:solidFill>
                        </a:rPr>
                        <a:t>✓</a:t>
                      </a:r>
                    </a:p>
                  </a:txBody>
                  <a:tcPr marL="0" marR="0" marT="64008" marB="64008" anchor="ctr">
                    <a:lnL w="12700" cap="flat" cmpd="sng" algn="ctr">
                      <a:solidFill>
                        <a:schemeClr val="bg2"/>
                      </a:solidFill>
                      <a:prstDash val="solid"/>
                      <a:round/>
                      <a:headEnd type="none" w="med" len="med"/>
                      <a:tailEnd type="none" w="med" len="med"/>
                    </a:lnL>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tx2">
                        <a:lumMod val="40000"/>
                        <a:lumOff val="60000"/>
                      </a:schemeClr>
                    </a:solidFill>
                  </a:tcPr>
                </a:tc>
                <a:extLst>
                  <a:ext uri="{0D108BD9-81ED-4DB2-BD59-A6C34878D82A}">
                    <a16:rowId xmlns:a16="http://schemas.microsoft.com/office/drawing/2014/main" val="1229340168"/>
                  </a:ext>
                </a:extLst>
              </a:tr>
              <a:tr h="286029">
                <a:tc>
                  <a:txBody>
                    <a:bodyPr/>
                    <a:lstStyle/>
                    <a:p>
                      <a:endParaRPr lang="en-US" sz="900" b="0" dirty="0">
                        <a:solidFill>
                          <a:schemeClr val="accent2"/>
                        </a:solidFill>
                      </a:endParaRPr>
                    </a:p>
                  </a:txBody>
                  <a:tcPr marL="0" marR="91416" marT="0" marB="0" anchor="ctr">
                    <a:lnL>
                      <a:noFill/>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900" b="0" dirty="0">
                        <a:solidFill>
                          <a:schemeClr val="accent2"/>
                        </a:solidFill>
                      </a:endParaRPr>
                    </a:p>
                  </a:txBody>
                  <a:tcPr marL="0" marR="91416" marT="0" marB="0" anchor="ctr">
                    <a:lnL>
                      <a:noFill/>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b="0">
                        <a:ln>
                          <a:solidFill>
                            <a:schemeClr val="tx1"/>
                          </a:solidFill>
                        </a:ln>
                      </a:endParaRPr>
                    </a:p>
                  </a:txBody>
                  <a:tcPr marL="91416" marR="9141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88558" rtl="0" eaLnBrk="1" fontAlgn="auto" latinLnBrk="0" hangingPunct="1">
                        <a:lnSpc>
                          <a:spcPct val="100000"/>
                        </a:lnSpc>
                        <a:spcBef>
                          <a:spcPts val="0"/>
                        </a:spcBef>
                        <a:spcAft>
                          <a:spcPts val="0"/>
                        </a:spcAft>
                        <a:buClrTx/>
                        <a:buSzTx/>
                        <a:buFontTx/>
                        <a:buNone/>
                        <a:tabLst/>
                        <a:defRPr/>
                      </a:pPr>
                      <a:endParaRPr lang="en-US" sz="900" b="0" dirty="0">
                        <a:ln>
                          <a:solidFill>
                            <a:schemeClr val="tx1"/>
                          </a:solidFill>
                        </a:ln>
                        <a:solidFill>
                          <a:schemeClr val="accent3"/>
                        </a:solidFill>
                      </a:endParaRPr>
                    </a:p>
                  </a:txBody>
                  <a:tcPr marL="91416" marR="91416" marT="0" marB="0" anchor="ctr">
                    <a:lnL w="12700" cap="flat" cmpd="sng" algn="ctr">
                      <a:noFill/>
                      <a:prstDash val="solid"/>
                      <a:round/>
                      <a:headEnd type="none" w="med" len="med"/>
                      <a:tailEnd type="none" w="med" len="med"/>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8978639"/>
                  </a:ext>
                </a:extLst>
              </a:tr>
            </a:tbl>
          </a:graphicData>
        </a:graphic>
      </p:graphicFrame>
      <p:sp>
        <p:nvSpPr>
          <p:cNvPr id="3" name="Title">
            <a:extLst>
              <a:ext uri="{FF2B5EF4-FFF2-40B4-BE49-F238E27FC236}">
                <a16:creationId xmlns:a16="http://schemas.microsoft.com/office/drawing/2014/main" id="{F16E3FD7-9C64-B19D-B7C9-E2AAED5CF4FB}"/>
              </a:ext>
            </a:extLst>
          </p:cNvPr>
          <p:cNvSpPr txBox="1">
            <a:spLocks/>
          </p:cNvSpPr>
          <p:nvPr/>
        </p:nvSpPr>
        <p:spPr bwMode="black">
          <a:xfrm>
            <a:off x="0" y="0"/>
            <a:ext cx="12195175" cy="799475"/>
          </a:xfrm>
          <a:prstGeom prst="rect">
            <a:avLst/>
          </a:prstGeom>
          <a:gradFill>
            <a:gsLst>
              <a:gs pos="21000">
                <a:schemeClr val="bg2">
                  <a:lumMod val="75000"/>
                </a:schemeClr>
              </a:gs>
              <a:gs pos="52000">
                <a:schemeClr val="accent3"/>
              </a:gs>
              <a:gs pos="81000">
                <a:srgbClr val="002060"/>
              </a:gs>
            </a:gsLst>
            <a:lin ang="13800000" scaled="0"/>
          </a:gradFill>
        </p:spPr>
        <p:txBody>
          <a:bodyPr vert="horz" wrap="square" lIns="0" tIns="36576" rIns="0" bIns="0" rtlCol="0" anchor="ctr" anchorCtr="0">
            <a:noAutofit/>
          </a:bodyPr>
          <a:lstStyle>
            <a:lvl1pPr algn="ctr" defTabSz="1088231" rtl="0" eaLnBrk="1" latinLnBrk="0" hangingPunct="1">
              <a:spcBef>
                <a:spcPct val="0"/>
              </a:spcBef>
              <a:buNone/>
              <a:defRPr sz="2399" b="1" kern="1200" baseline="0">
                <a:solidFill>
                  <a:schemeClr val="tx1"/>
                </a:solidFill>
                <a:latin typeface="+mj-lt"/>
                <a:ea typeface="+mj-ea"/>
                <a:cs typeface="+mj-cs"/>
              </a:defRPr>
            </a:lvl1pPr>
          </a:lstStyle>
          <a:p>
            <a:pPr marL="0" marR="0" lvl="0" indent="0" algn="ctr" defTabSz="913852" rtl="0" eaLnBrk="1" fontAlgn="base" latinLnBrk="0" hangingPunct="1">
              <a:lnSpc>
                <a:spcPct val="90000"/>
              </a:lnSpc>
              <a:spcBef>
                <a:spcPts val="0"/>
              </a:spcBef>
              <a:spcAft>
                <a:spcPct val="0"/>
              </a:spcAft>
              <a:buClr>
                <a:srgbClr val="F0AB00"/>
              </a:buClr>
              <a:buSzPct val="80000"/>
              <a:buFontTx/>
              <a:buNone/>
              <a:tabLst/>
              <a:defRPr/>
            </a:pPr>
            <a:r>
              <a:rPr kumimoji="0" lang="en-US" sz="2400" b="1" i="0" u="none" strike="noStrike" kern="0" cap="none" spc="0" normalizeH="0" baseline="0" noProof="0" dirty="0">
                <a:ln>
                  <a:noFill/>
                </a:ln>
                <a:solidFill>
                  <a:srgbClr val="FFFFFF"/>
                </a:solidFill>
                <a:effectLst/>
                <a:uLnTx/>
                <a:uFillTx/>
                <a:latin typeface="Arial" panose="020B0604020202020204" pitchFamily="34" charset="0"/>
                <a:ea typeface="Arial Unicode MS" pitchFamily="34" charset="-128"/>
                <a:cs typeface="Arial" panose="020B0604020202020204" pitchFamily="34" charset="0"/>
              </a:rPr>
              <a:t> Comparing SAP solutions for event-driven integration</a:t>
            </a:r>
          </a:p>
        </p:txBody>
      </p:sp>
    </p:spTree>
    <p:extLst>
      <p:ext uri="{BB962C8B-B14F-4D97-AF65-F5344CB8AC3E}">
        <p14:creationId xmlns:p14="http://schemas.microsoft.com/office/powerpoint/2010/main" val="303264891"/>
      </p:ext>
    </p:extLst>
  </p:cSld>
  <p:clrMapOvr>
    <a:masterClrMapping/>
  </p:clrMapOvr>
  <p:transition spd="slow">
    <p:wipe/>
  </p:transition>
</p:sld>
</file>

<file path=ppt/slides/slide3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12" name="Table 12">
            <a:extLst>
              <a:ext uri="{FF2B5EF4-FFF2-40B4-BE49-F238E27FC236}">
                <a16:creationId xmlns:a16="http://schemas.microsoft.com/office/drawing/2014/main" id="{A6A3FD7E-0705-41DC-8885-BC460D8C7AE3}"/>
              </a:ext>
            </a:extLst>
          </p:cNvPr>
          <p:cNvGraphicFramePr>
            <a:graphicFrameLocks noGrp="1"/>
          </p:cNvGraphicFramePr>
          <p:nvPr/>
        </p:nvGraphicFramePr>
        <p:xfrm>
          <a:off x="504000" y="1215957"/>
          <a:ext cx="11186350" cy="4806636"/>
        </p:xfrm>
        <a:graphic>
          <a:graphicData uri="http://schemas.openxmlformats.org/drawingml/2006/table">
            <a:tbl>
              <a:tblPr firstRow="1" bandRow="1">
                <a:tableStyleId>{2D5ABB26-0587-4C30-8999-92F81FD0307C}</a:tableStyleId>
              </a:tblPr>
              <a:tblGrid>
                <a:gridCol w="1640018">
                  <a:extLst>
                    <a:ext uri="{9D8B030D-6E8A-4147-A177-3AD203B41FA5}">
                      <a16:colId xmlns:a16="http://schemas.microsoft.com/office/drawing/2014/main" val="3330045179"/>
                    </a:ext>
                  </a:extLst>
                </a:gridCol>
                <a:gridCol w="4274242">
                  <a:extLst>
                    <a:ext uri="{9D8B030D-6E8A-4147-A177-3AD203B41FA5}">
                      <a16:colId xmlns:a16="http://schemas.microsoft.com/office/drawing/2014/main" val="350506442"/>
                    </a:ext>
                  </a:extLst>
                </a:gridCol>
                <a:gridCol w="5272090">
                  <a:extLst>
                    <a:ext uri="{9D8B030D-6E8A-4147-A177-3AD203B41FA5}">
                      <a16:colId xmlns:a16="http://schemas.microsoft.com/office/drawing/2014/main" val="2486344592"/>
                    </a:ext>
                  </a:extLst>
                </a:gridCol>
              </a:tblGrid>
              <a:tr h="350196">
                <a:tc>
                  <a:txBody>
                    <a:bodyPr/>
                    <a:lstStyle/>
                    <a:p>
                      <a:pPr marL="0" marR="0" indent="0" algn="ctr" defTabSz="409575" latinLnBrk="0">
                        <a:lnSpc>
                          <a:spcPct val="100000"/>
                        </a:lnSpc>
                        <a:spcBef>
                          <a:spcPts val="0"/>
                        </a:spcBef>
                        <a:spcAft>
                          <a:spcPts val="0"/>
                        </a:spcAft>
                        <a:buClrTx/>
                        <a:buSzTx/>
                        <a:buFontTx/>
                        <a:buNone/>
                        <a:tabLst/>
                      </a:pPr>
                      <a:r>
                        <a:rPr lang="en-GB" sz="1600" b="1" u="none" strike="noStrike" cap="none" spc="0" baseline="0" dirty="0">
                          <a:ln>
                            <a:noFill/>
                          </a:ln>
                          <a:uFillTx/>
                          <a:sym typeface="Gill Sans"/>
                        </a:rPr>
                        <a:t> </a:t>
                      </a:r>
                      <a:endParaRPr lang="en-GB" sz="1600" b="1" i="0" u="none" strike="noStrike" cap="none" spc="0" baseline="0" dirty="0">
                        <a:ln>
                          <a:noFill/>
                        </a:ln>
                        <a:uFillTx/>
                        <a:latin typeface="Arial" panose="020B0604020202020204" pitchFamily="34" charset="0"/>
                        <a:ea typeface="Open Sans"/>
                        <a:cs typeface="Arial" panose="020B0604020202020204" pitchFamily="34" charset="0"/>
                        <a:sym typeface="Gill Sans"/>
                      </a:endParaRPr>
                    </a:p>
                  </a:txBody>
                  <a:tcPr marL="0" marR="0" marT="0" marB="0" anchor="ctr">
                    <a:lnB w="19050" cap="flat" cmpd="sng" algn="ctr">
                      <a:solidFill>
                        <a:schemeClr val="tx1"/>
                      </a:solidFill>
                      <a:prstDash val="solid"/>
                      <a:round/>
                      <a:headEnd type="none" w="med" len="med"/>
                      <a:tailEnd type="none" w="med" len="med"/>
                    </a:lnB>
                  </a:tcPr>
                </a:tc>
                <a:tc>
                  <a:txBody>
                    <a:bodyPr/>
                    <a:lstStyle/>
                    <a:p>
                      <a:pPr marL="0" marR="0" indent="0" algn="l" defTabSz="409575" latinLnBrk="0">
                        <a:lnSpc>
                          <a:spcPct val="100000"/>
                        </a:lnSpc>
                        <a:spcBef>
                          <a:spcPts val="0"/>
                        </a:spcBef>
                        <a:spcAft>
                          <a:spcPts val="0"/>
                        </a:spcAft>
                        <a:buClrTx/>
                        <a:buSzTx/>
                        <a:buFontTx/>
                        <a:buNone/>
                        <a:tabLst/>
                      </a:pPr>
                      <a:r>
                        <a:rPr lang="en-GB" sz="1600" b="1" u="none" strike="noStrike" cap="none" spc="0" baseline="0" dirty="0">
                          <a:ln>
                            <a:noFill/>
                          </a:ln>
                          <a:uFillTx/>
                          <a:sym typeface="Gill Sans"/>
                        </a:rPr>
                        <a:t>SAP Event Mesh</a:t>
                      </a:r>
                      <a:endParaRPr lang="en-GB" sz="1600" b="1" i="0" u="none" strike="noStrike" cap="none" spc="0" baseline="0" dirty="0">
                        <a:ln>
                          <a:noFill/>
                        </a:ln>
                        <a:uFillTx/>
                        <a:latin typeface="Arial" panose="020B0604020202020204" pitchFamily="34" charset="0"/>
                        <a:ea typeface="Open Sans" panose="020B0606030504020204" pitchFamily="34" charset="0"/>
                        <a:cs typeface="Arial" panose="020B0604020202020204" pitchFamily="34" charset="0"/>
                        <a:sym typeface="Gill Sans"/>
                      </a:endParaRPr>
                    </a:p>
                  </a:txBody>
                  <a:tcPr marL="0" marR="0" marT="0" marB="0" anchor="ctr">
                    <a:lnB w="19050" cap="flat" cmpd="sng" algn="ctr">
                      <a:solidFill>
                        <a:schemeClr val="tx1"/>
                      </a:solidFill>
                      <a:prstDash val="solid"/>
                      <a:round/>
                      <a:headEnd type="none" w="med" len="med"/>
                      <a:tailEnd type="none" w="med" len="med"/>
                    </a:lnB>
                  </a:tcPr>
                </a:tc>
                <a:tc>
                  <a:txBody>
                    <a:bodyPr/>
                    <a:lstStyle/>
                    <a:p>
                      <a:pPr marL="9525" indent="0" algn="l">
                        <a:tabLst/>
                      </a:pPr>
                      <a:r>
                        <a:rPr lang="en-GB" sz="1600" b="1" dirty="0"/>
                        <a:t>Advanced event mesh</a:t>
                      </a:r>
                      <a:endParaRPr lang="en-GB" sz="1600" b="1" dirty="0">
                        <a:latin typeface="Arial" panose="020B0604020202020204" pitchFamily="34" charset="0"/>
                        <a:ea typeface="Open Sans" panose="020B0606030504020204" pitchFamily="34" charset="0"/>
                        <a:cs typeface="Arial" panose="020B0604020202020204" pitchFamily="34" charset="0"/>
                      </a:endParaRPr>
                    </a:p>
                  </a:txBody>
                  <a:tcPr marL="0" marR="0" marT="0" marB="0" anchor="ctr">
                    <a:lnB w="190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895517206"/>
                  </a:ext>
                </a:extLst>
              </a:tr>
              <a:tr h="468000">
                <a:tc>
                  <a:txBody>
                    <a:bodyPr/>
                    <a:lstStyle/>
                    <a:p>
                      <a:pPr marL="0" marR="0" indent="0" algn="l" defTabSz="409575" latinLnBrk="0">
                        <a:lnSpc>
                          <a:spcPct val="100000"/>
                        </a:lnSpc>
                        <a:spcBef>
                          <a:spcPts val="0"/>
                        </a:spcBef>
                        <a:spcAft>
                          <a:spcPts val="0"/>
                        </a:spcAft>
                        <a:buClrTx/>
                        <a:buSzTx/>
                        <a:buFontTx/>
                        <a:buNone/>
                        <a:tabLst/>
                      </a:pPr>
                      <a:r>
                        <a:rPr lang="en-GB" sz="1050" b="1" u="none" strike="noStrike" cap="none" spc="0" baseline="0" dirty="0">
                          <a:ln>
                            <a:noFill/>
                          </a:ln>
                          <a:uFillTx/>
                          <a:sym typeface="Gill Sans"/>
                        </a:rPr>
                        <a:t>Recommended for</a:t>
                      </a:r>
                      <a:endParaRPr lang="en-GB" sz="1050" b="1" i="0" u="none" strike="noStrike" cap="none" spc="0" baseline="0" dirty="0">
                        <a:ln>
                          <a:noFill/>
                        </a:ln>
                        <a:uFillTx/>
                        <a:latin typeface="Arial" panose="020B0604020202020204" pitchFamily="34" charset="0"/>
                        <a:ea typeface="Open Sans"/>
                        <a:cs typeface="Arial" panose="020B0604020202020204" pitchFamily="34" charset="0"/>
                        <a:sym typeface="Gill Sans"/>
                      </a:endParaRPr>
                    </a:p>
                  </a:txBody>
                  <a:tcPr marL="0" marR="0" marT="0" marB="0" anchor="ctr">
                    <a:lnT w="1905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marL="9525" marR="0" lvl="1" indent="0" algn="l" defTabSz="409575" latinLnBrk="0">
                        <a:lnSpc>
                          <a:spcPct val="100000"/>
                        </a:lnSpc>
                        <a:spcBef>
                          <a:spcPts val="0"/>
                        </a:spcBef>
                        <a:spcAft>
                          <a:spcPts val="0"/>
                        </a:spcAft>
                        <a:buClrTx/>
                        <a:buSzTx/>
                        <a:buFontTx/>
                        <a:buNone/>
                        <a:tabLst/>
                      </a:pPr>
                      <a:r>
                        <a:rPr lang="en-GB" sz="1050" b="1" u="none" strike="noStrike" cap="none" spc="0" baseline="0" dirty="0">
                          <a:ln>
                            <a:noFill/>
                          </a:ln>
                          <a:uFillTx/>
                          <a:sym typeface="Gill Sans"/>
                        </a:rPr>
                        <a:t>SAP’s event-driven ecosystem </a:t>
                      </a:r>
                      <a:r>
                        <a:rPr lang="en-GB" sz="1050" b="0" u="none" strike="noStrike" cap="none" spc="0" baseline="0" dirty="0">
                          <a:ln>
                            <a:noFill/>
                          </a:ln>
                          <a:uFillTx/>
                          <a:sym typeface="Gill Sans"/>
                        </a:rPr>
                        <a:t>and third-party components around the ecosystem</a:t>
                      </a:r>
                      <a:endParaRPr lang="en-GB" sz="1050" b="0" i="0" u="none" strike="noStrike" cap="none" spc="0" baseline="0" dirty="0">
                        <a:ln>
                          <a:noFill/>
                        </a:ln>
                        <a:uFillTx/>
                        <a:latin typeface="Arial" panose="020B0604020202020204" pitchFamily="34" charset="0"/>
                        <a:ea typeface="Open Sans" panose="020B0606030504020204" pitchFamily="34" charset="0"/>
                        <a:cs typeface="Arial" panose="020B0604020202020204" pitchFamily="34" charset="0"/>
                        <a:sym typeface="Gill Sans"/>
                      </a:endParaRPr>
                    </a:p>
                  </a:txBody>
                  <a:tcPr marL="0" marR="0" marT="0" marB="0" anchor="ctr">
                    <a:lnT w="1905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marL="9525" lvl="1" indent="0" algn="l">
                        <a:tabLst/>
                      </a:pPr>
                      <a:r>
                        <a:rPr lang="en-GB" sz="1050" b="1" dirty="0"/>
                        <a:t>General purpose </a:t>
                      </a:r>
                      <a:r>
                        <a:rPr lang="en-GB" sz="1050" b="0" dirty="0"/>
                        <a:t>including SAP ecosystem</a:t>
                      </a:r>
                      <a:endParaRPr lang="en-GB" sz="1050" dirty="0">
                        <a:latin typeface="Arial" panose="020B0604020202020204" pitchFamily="34" charset="0"/>
                        <a:ea typeface="Open Sans" panose="020B0606030504020204" pitchFamily="34" charset="0"/>
                        <a:cs typeface="Arial" panose="020B0604020202020204" pitchFamily="34" charset="0"/>
                      </a:endParaRPr>
                    </a:p>
                  </a:txBody>
                  <a:tcPr marL="0" marR="0" marT="0" marB="0" anchor="ctr">
                    <a:lnT w="1905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706555000"/>
                  </a:ext>
                </a:extLst>
              </a:tr>
              <a:tr h="468000">
                <a:tc>
                  <a:txBody>
                    <a:bodyPr/>
                    <a:lstStyle/>
                    <a:p>
                      <a:pPr marL="0" marR="0" indent="0" algn="l" defTabSz="409575" latinLnBrk="0">
                        <a:lnSpc>
                          <a:spcPct val="100000"/>
                        </a:lnSpc>
                        <a:spcBef>
                          <a:spcPts val="0"/>
                        </a:spcBef>
                        <a:spcAft>
                          <a:spcPts val="0"/>
                        </a:spcAft>
                        <a:buClrTx/>
                        <a:buSzTx/>
                        <a:buFontTx/>
                        <a:buNone/>
                        <a:tabLst/>
                      </a:pPr>
                      <a:r>
                        <a:rPr lang="en-GB" sz="1050" b="1" u="none" strike="noStrike" cap="none" spc="0" baseline="0" dirty="0">
                          <a:ln>
                            <a:noFill/>
                          </a:ln>
                          <a:uFillTx/>
                          <a:sym typeface="Gill Sans"/>
                        </a:rPr>
                        <a:t>Target scenarios</a:t>
                      </a:r>
                      <a:endParaRPr lang="en-GB" sz="1050" b="1" i="0" u="none" strike="noStrike" cap="none" spc="0" baseline="0" dirty="0">
                        <a:ln>
                          <a:noFill/>
                        </a:ln>
                        <a:uFillTx/>
                        <a:latin typeface="Arial" panose="020B0604020202020204" pitchFamily="34" charset="0"/>
                        <a:ea typeface="Open Sans"/>
                        <a:cs typeface="Arial" panose="020B0604020202020204" pitchFamily="34" charset="0"/>
                        <a:sym typeface="Gill Sans"/>
                      </a:endParaRPr>
                    </a:p>
                  </a:txBody>
                  <a:tcPr marL="0" marR="0" marT="0" marB="0" anchor="ct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marL="9525" lvl="1" indent="0" algn="l">
                        <a:buFont typeface="Arial" panose="020B0604020202020204" pitchFamily="34" charset="0"/>
                        <a:buNone/>
                        <a:tabLst/>
                      </a:pPr>
                      <a:r>
                        <a:rPr lang="en-US" sz="1050" b="1" dirty="0"/>
                        <a:t>SAP to everything</a:t>
                      </a:r>
                      <a:endParaRPr lang="en-US" sz="1050" b="1" dirty="0">
                        <a:latin typeface="Arial" panose="020B0604020202020204" pitchFamily="34" charset="0"/>
                        <a:cs typeface="Arial" panose="020B0604020202020204" pitchFamily="34" charset="0"/>
                      </a:endParaRPr>
                    </a:p>
                  </a:txBody>
                  <a:tcPr marL="0" marR="0" marT="0" marB="0" anchor="ct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marL="9525" lvl="1" indent="0" algn="l">
                        <a:buFont typeface="Arial" panose="020B0604020202020204" pitchFamily="34" charset="0"/>
                        <a:buNone/>
                        <a:tabLst/>
                      </a:pPr>
                      <a:r>
                        <a:rPr lang="en-US" sz="1050" dirty="0"/>
                        <a:t>SAP to everything and </a:t>
                      </a:r>
                      <a:r>
                        <a:rPr lang="en-US" sz="1050" b="1" dirty="0"/>
                        <a:t>everything to everything</a:t>
                      </a:r>
                      <a:endParaRPr lang="en-US" sz="1050" dirty="0">
                        <a:latin typeface="Arial" panose="020B0604020202020204" pitchFamily="34" charset="0"/>
                        <a:cs typeface="Arial" panose="020B0604020202020204" pitchFamily="34" charset="0"/>
                      </a:endParaRPr>
                    </a:p>
                  </a:txBody>
                  <a:tcPr marL="0" marR="0" marT="0" marB="0" anchor="ct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311754431"/>
                  </a:ext>
                </a:extLst>
              </a:tr>
              <a:tr h="468000">
                <a:tc>
                  <a:txBody>
                    <a:bodyPr/>
                    <a:lstStyle/>
                    <a:p>
                      <a:pPr marL="0" marR="0" indent="0" algn="l" defTabSz="409575" latinLnBrk="0">
                        <a:lnSpc>
                          <a:spcPct val="100000"/>
                        </a:lnSpc>
                        <a:spcBef>
                          <a:spcPts val="0"/>
                        </a:spcBef>
                        <a:spcAft>
                          <a:spcPts val="0"/>
                        </a:spcAft>
                        <a:buClrTx/>
                        <a:buSzTx/>
                        <a:buFontTx/>
                        <a:buNone/>
                        <a:tabLst/>
                      </a:pPr>
                      <a:r>
                        <a:rPr lang="en-GB" sz="1050" b="1" u="none" strike="noStrike" cap="none" spc="0" baseline="0" dirty="0">
                          <a:ln>
                            <a:noFill/>
                          </a:ln>
                          <a:uFillTx/>
                          <a:sym typeface="Gill Sans"/>
                        </a:rPr>
                        <a:t> Main use cases</a:t>
                      </a:r>
                      <a:endParaRPr lang="en-GB" sz="1050" b="1" i="0" u="none" strike="noStrike" cap="none" spc="0" baseline="0" dirty="0">
                        <a:ln>
                          <a:noFill/>
                        </a:ln>
                        <a:uFillTx/>
                        <a:latin typeface="Arial" panose="020B0604020202020204" pitchFamily="34" charset="0"/>
                        <a:ea typeface="Open Sans"/>
                        <a:cs typeface="Arial" panose="020B0604020202020204" pitchFamily="34" charset="0"/>
                        <a:sym typeface="Gill Sans"/>
                      </a:endParaRPr>
                    </a:p>
                  </a:txBody>
                  <a:tcPr marL="0" marR="0" marT="0" marB="0" anchor="ct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marL="9525" lvl="1" indent="0" algn="l">
                        <a:buFont typeface="Arial" panose="020B0604020202020204" pitchFamily="34" charset="0"/>
                        <a:buChar char="•"/>
                        <a:tabLst/>
                      </a:pPr>
                      <a:endParaRPr lang="en-US" sz="1050" dirty="0"/>
                    </a:p>
                    <a:p>
                      <a:pPr marL="9525" lvl="1" indent="0" algn="l">
                        <a:buFont typeface="Arial" panose="020B0604020202020204" pitchFamily="34" charset="0"/>
                        <a:buNone/>
                        <a:tabLst/>
                      </a:pPr>
                      <a:r>
                        <a:rPr lang="en-US" sz="1050" dirty="0"/>
                        <a:t>Integration and extension</a:t>
                      </a:r>
                    </a:p>
                    <a:p>
                      <a:pPr marL="9525" lvl="1" indent="0" algn="l">
                        <a:buFont typeface="Arial" panose="020B0604020202020204" pitchFamily="34" charset="0"/>
                        <a:buChar char="•"/>
                        <a:tabLst/>
                      </a:pPr>
                      <a:endParaRPr lang="en-US" sz="1050" dirty="0">
                        <a:latin typeface="Arial" panose="020B0604020202020204" pitchFamily="34" charset="0"/>
                        <a:cs typeface="Arial" panose="020B0604020202020204" pitchFamily="34" charset="0"/>
                      </a:endParaRPr>
                    </a:p>
                  </a:txBody>
                  <a:tcPr marL="0" marR="0" marT="0" marB="0" anchor="ct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marL="9525" lvl="1" indent="0" algn="l">
                        <a:buFont typeface="Arial" panose="020B0604020202020204" pitchFamily="34" charset="0"/>
                        <a:buChar char="•"/>
                        <a:tabLst/>
                      </a:pPr>
                      <a:endParaRPr lang="en-US" sz="1050" dirty="0"/>
                    </a:p>
                    <a:p>
                      <a:pPr marL="9525" marR="0" lvl="1" indent="0" algn="l" defTabSz="1088558"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50" dirty="0"/>
                        <a:t>Integration, event streaming, and event-driven backbone</a:t>
                      </a:r>
                    </a:p>
                    <a:p>
                      <a:pPr marL="9525" marR="0" lvl="1" indent="0" algn="l" defTabSz="1088558"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050" dirty="0">
                        <a:latin typeface="Arial" panose="020B0604020202020204" pitchFamily="34" charset="0"/>
                        <a:cs typeface="Arial" panose="020B0604020202020204" pitchFamily="34" charset="0"/>
                      </a:endParaRPr>
                    </a:p>
                  </a:txBody>
                  <a:tcPr marL="0" marR="0" marT="0" marB="0" anchor="ct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807322985"/>
                  </a:ext>
                </a:extLst>
              </a:tr>
              <a:tr h="468000">
                <a:tc>
                  <a:txBody>
                    <a:bodyPr/>
                    <a:lstStyle/>
                    <a:p>
                      <a:pPr marL="0" marR="0" indent="0" algn="l" defTabSz="409575" latinLnBrk="0">
                        <a:lnSpc>
                          <a:spcPct val="100000"/>
                        </a:lnSpc>
                        <a:spcBef>
                          <a:spcPts val="0"/>
                        </a:spcBef>
                        <a:spcAft>
                          <a:spcPts val="0"/>
                        </a:spcAft>
                        <a:buClrTx/>
                        <a:buSzTx/>
                        <a:buFontTx/>
                        <a:buNone/>
                        <a:tabLst/>
                      </a:pPr>
                      <a:r>
                        <a:rPr lang="en-GB" sz="1050" b="1" u="none" strike="noStrike" cap="none" spc="0" baseline="0" dirty="0">
                          <a:ln>
                            <a:noFill/>
                          </a:ln>
                          <a:solidFill>
                            <a:schemeClr val="tx1"/>
                          </a:solidFill>
                          <a:uFillTx/>
                          <a:sym typeface="Gill Sans"/>
                        </a:rPr>
                        <a:t>Numbers</a:t>
                      </a:r>
                      <a:endParaRPr lang="en-GB" sz="1050" b="1" i="0" u="none" strike="noStrike" cap="none" spc="0" baseline="0" dirty="0">
                        <a:ln>
                          <a:noFill/>
                        </a:ln>
                        <a:solidFill>
                          <a:schemeClr val="tx1"/>
                        </a:solidFill>
                        <a:uFillTx/>
                        <a:latin typeface="Arial" panose="020B0604020202020204" pitchFamily="34" charset="0"/>
                        <a:ea typeface="Open Sans" panose="020B0606030504020204" pitchFamily="34" charset="0"/>
                        <a:cs typeface="Arial" panose="020B0604020202020204" pitchFamily="34" charset="0"/>
                        <a:sym typeface="Gill Sans"/>
                      </a:endParaRPr>
                    </a:p>
                  </a:txBody>
                  <a:tcPr marL="0" marR="0" marT="0" marB="0" anchor="ct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marL="9525" marR="0" indent="0" algn="l" defTabSz="409575" latinLnBrk="0">
                        <a:lnSpc>
                          <a:spcPct val="100000"/>
                        </a:lnSpc>
                        <a:spcBef>
                          <a:spcPts val="0"/>
                        </a:spcBef>
                        <a:spcAft>
                          <a:spcPts val="0"/>
                        </a:spcAft>
                        <a:buClrTx/>
                        <a:buSzTx/>
                        <a:buFontTx/>
                        <a:buNone/>
                        <a:tabLst/>
                      </a:pPr>
                      <a:endParaRPr lang="en-GB" sz="1050" b="0" u="none" strike="noStrike" cap="none" spc="0" baseline="0" dirty="0">
                        <a:ln>
                          <a:noFill/>
                        </a:ln>
                        <a:solidFill>
                          <a:schemeClr val="tx1"/>
                        </a:solidFill>
                        <a:uFillTx/>
                        <a:sym typeface="Gill Sans"/>
                      </a:endParaRPr>
                    </a:p>
                    <a:p>
                      <a:pPr marL="134938" marR="0" lvl="1" indent="-125413" algn="l" defTabSz="409575" latinLnBrk="0">
                        <a:lnSpc>
                          <a:spcPct val="100000"/>
                        </a:lnSpc>
                        <a:spcBef>
                          <a:spcPts val="0"/>
                        </a:spcBef>
                        <a:spcAft>
                          <a:spcPts val="0"/>
                        </a:spcAft>
                        <a:buClr>
                          <a:schemeClr val="accent1"/>
                        </a:buClr>
                        <a:buSzTx/>
                        <a:buFont typeface="Wingdings" pitchFamily="2" charset="2"/>
                        <a:buChar char="§"/>
                        <a:tabLst/>
                      </a:pPr>
                      <a:r>
                        <a:rPr lang="en-GB" sz="1050" b="0" u="none" strike="noStrike" cap="none" spc="0" baseline="0" dirty="0">
                          <a:ln>
                            <a:noFill/>
                          </a:ln>
                          <a:solidFill>
                            <a:schemeClr val="tx1"/>
                          </a:solidFill>
                          <a:uFillTx/>
                          <a:sym typeface="Gill Sans"/>
                        </a:rPr>
                        <a:t>Message size up to 1 MB</a:t>
                      </a:r>
                    </a:p>
                    <a:p>
                      <a:pPr marL="134938" marR="0" lvl="1" indent="-125413" algn="l" defTabSz="409575" latinLnBrk="0">
                        <a:lnSpc>
                          <a:spcPct val="100000"/>
                        </a:lnSpc>
                        <a:spcBef>
                          <a:spcPts val="0"/>
                        </a:spcBef>
                        <a:spcAft>
                          <a:spcPts val="0"/>
                        </a:spcAft>
                        <a:buClr>
                          <a:schemeClr val="accent1"/>
                        </a:buClr>
                        <a:buSzTx/>
                        <a:buFont typeface="Wingdings" pitchFamily="2" charset="2"/>
                        <a:buChar char="§"/>
                        <a:tabLst/>
                      </a:pPr>
                      <a:r>
                        <a:rPr lang="en-GB" sz="1050" b="0" u="none" strike="noStrike" cap="none" spc="0" baseline="0" dirty="0">
                          <a:ln>
                            <a:noFill/>
                          </a:ln>
                          <a:solidFill>
                            <a:schemeClr val="tx1"/>
                          </a:solidFill>
                          <a:uFillTx/>
                          <a:sym typeface="Gill Sans"/>
                        </a:rPr>
                        <a:t>10 GB of storage</a:t>
                      </a:r>
                    </a:p>
                    <a:p>
                      <a:pPr marL="134938" marR="0" lvl="1" indent="-125413" algn="l" defTabSz="409575" rtl="0" eaLnBrk="1" latinLnBrk="0" hangingPunct="1">
                        <a:lnSpc>
                          <a:spcPct val="100000"/>
                        </a:lnSpc>
                        <a:spcBef>
                          <a:spcPts val="0"/>
                        </a:spcBef>
                        <a:spcAft>
                          <a:spcPts val="0"/>
                        </a:spcAft>
                        <a:buClr>
                          <a:schemeClr val="accent1"/>
                        </a:buClr>
                        <a:buSzTx/>
                        <a:buFont typeface="Wingdings" pitchFamily="2" charset="2"/>
                        <a:buChar char="§"/>
                        <a:tabLst/>
                      </a:pPr>
                      <a:r>
                        <a:rPr lang="en-GB" sz="1050" b="0" u="none" strike="noStrike" kern="1200" cap="none" spc="0" baseline="0" dirty="0">
                          <a:ln>
                            <a:noFill/>
                          </a:ln>
                          <a:solidFill>
                            <a:schemeClr val="tx1"/>
                          </a:solidFill>
                          <a:uFillTx/>
                          <a:sym typeface="Gill Sans"/>
                        </a:rPr>
                        <a:t>Guaranteed throughput of 250 KBps</a:t>
                      </a:r>
                    </a:p>
                    <a:p>
                      <a:pPr marL="9525" marR="0" indent="0" algn="l" defTabSz="409575" latinLnBrk="0">
                        <a:lnSpc>
                          <a:spcPct val="100000"/>
                        </a:lnSpc>
                        <a:spcBef>
                          <a:spcPts val="0"/>
                        </a:spcBef>
                        <a:spcAft>
                          <a:spcPts val="0"/>
                        </a:spcAft>
                        <a:buClrTx/>
                        <a:buSzTx/>
                        <a:buFontTx/>
                        <a:buNone/>
                        <a:tabLst/>
                      </a:pPr>
                      <a:endParaRPr lang="en-GB" sz="1050" b="0" i="0" u="none" strike="noStrike" cap="none" spc="0" baseline="0" dirty="0">
                        <a:ln>
                          <a:noFill/>
                        </a:ln>
                        <a:solidFill>
                          <a:schemeClr val="tx1"/>
                        </a:solidFill>
                        <a:uFillTx/>
                        <a:latin typeface="Arial" panose="020B0604020202020204" pitchFamily="34" charset="0"/>
                        <a:ea typeface="Open Sans" panose="020B0606030504020204" pitchFamily="34" charset="0"/>
                        <a:cs typeface="Arial" panose="020B0604020202020204" pitchFamily="34" charset="0"/>
                        <a:sym typeface="Gill Sans"/>
                      </a:endParaRPr>
                    </a:p>
                  </a:txBody>
                  <a:tcPr marL="0" marR="0" marT="0" marB="0" anchor="ct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marL="134938" lvl="1" indent="-125413" algn="l">
                        <a:buClr>
                          <a:schemeClr val="accent1"/>
                        </a:buClr>
                        <a:buFont typeface="Wingdings" pitchFamily="2" charset="2"/>
                        <a:buChar char="§"/>
                        <a:tabLst/>
                      </a:pPr>
                      <a:r>
                        <a:rPr lang="en-GB" sz="1050" b="0" dirty="0">
                          <a:solidFill>
                            <a:schemeClr val="tx1"/>
                          </a:solidFill>
                        </a:rPr>
                        <a:t>Message size up to 30 MB</a:t>
                      </a:r>
                    </a:p>
                    <a:p>
                      <a:pPr marL="134938" lvl="1" indent="-125413" algn="l">
                        <a:buClr>
                          <a:schemeClr val="accent1"/>
                        </a:buClr>
                        <a:buFont typeface="Wingdings" pitchFamily="2" charset="2"/>
                        <a:buChar char="§"/>
                        <a:tabLst/>
                      </a:pPr>
                      <a:r>
                        <a:rPr lang="en-GB" sz="1050" b="0" dirty="0">
                          <a:solidFill>
                            <a:schemeClr val="tx1"/>
                          </a:solidFill>
                        </a:rPr>
                        <a:t>Storage up to 6 TB</a:t>
                      </a:r>
                    </a:p>
                    <a:p>
                      <a:pPr marL="134938" lvl="1" indent="-125413" algn="l">
                        <a:buClr>
                          <a:schemeClr val="accent1"/>
                        </a:buClr>
                        <a:buFont typeface="Wingdings" pitchFamily="2" charset="2"/>
                        <a:buChar char="§"/>
                        <a:tabLst/>
                      </a:pPr>
                      <a:r>
                        <a:rPr lang="en-GB" sz="1050" b="0" dirty="0">
                          <a:solidFill>
                            <a:schemeClr val="tx1"/>
                          </a:solidFill>
                        </a:rPr>
                        <a:t>Up to billions of events per day</a:t>
                      </a:r>
                      <a:endParaRPr lang="en-GB" sz="1050" dirty="0">
                        <a:solidFill>
                          <a:schemeClr val="tx1"/>
                        </a:solidFill>
                        <a:latin typeface="Arial" panose="020B0604020202020204" pitchFamily="34" charset="0"/>
                        <a:ea typeface="Open Sans" panose="020B0606030504020204" pitchFamily="34" charset="0"/>
                        <a:cs typeface="Arial" panose="020B0604020202020204" pitchFamily="34" charset="0"/>
                      </a:endParaRPr>
                    </a:p>
                  </a:txBody>
                  <a:tcPr marL="0" marR="0" marT="0" marB="0" anchor="ct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814416993"/>
                  </a:ext>
                </a:extLst>
              </a:tr>
              <a:tr h="468000">
                <a:tc>
                  <a:txBody>
                    <a:bodyPr/>
                    <a:lstStyle/>
                    <a:p>
                      <a:pPr marL="0" marR="0" lvl="0" indent="0" algn="l" eaLnBrk="1" fontAlgn="auto" latinLnBrk="0" hangingPunct="1">
                        <a:lnSpc>
                          <a:spcPct val="100000"/>
                        </a:lnSpc>
                        <a:spcBef>
                          <a:spcPts val="0"/>
                        </a:spcBef>
                        <a:spcAft>
                          <a:spcPts val="0"/>
                        </a:spcAft>
                        <a:buClrTx/>
                        <a:buSzTx/>
                        <a:buFontTx/>
                        <a:buNone/>
                      </a:pPr>
                      <a:r>
                        <a:rPr lang="en-GB" sz="1050" b="1" u="none" strike="noStrike" cap="none" spc="0" baseline="0" dirty="0">
                          <a:ln>
                            <a:noFill/>
                          </a:ln>
                          <a:solidFill>
                            <a:schemeClr val="tx1"/>
                          </a:solidFill>
                          <a:uFillTx/>
                          <a:sym typeface="Gill Sans"/>
                        </a:rPr>
                        <a:t> Interfaces</a:t>
                      </a:r>
                      <a:endParaRPr lang="en-GB" sz="1050" b="1" i="0" u="none" strike="noStrike" cap="none" spc="0" baseline="0" dirty="0">
                        <a:ln>
                          <a:noFill/>
                        </a:ln>
                        <a:solidFill>
                          <a:schemeClr val="tx1"/>
                        </a:solidFill>
                        <a:uFillTx/>
                        <a:latin typeface="Arial" panose="020B0604020202020204" pitchFamily="34" charset="0"/>
                        <a:ea typeface="Open Sans" panose="020B0606030504020204" pitchFamily="34" charset="0"/>
                        <a:cs typeface="Arial" panose="020B0604020202020204" pitchFamily="34" charset="0"/>
                        <a:sym typeface="Gill Sans"/>
                      </a:endParaRPr>
                    </a:p>
                  </a:txBody>
                  <a:tcPr marL="0" marR="0" marT="0" marB="0" anchor="ct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marL="9525" marR="0" lvl="1" indent="0" algn="l" defTabSz="1088558" rtl="0" eaLnBrk="1" fontAlgn="auto" latinLnBrk="0" hangingPunct="1">
                        <a:lnSpc>
                          <a:spcPct val="100000"/>
                        </a:lnSpc>
                        <a:spcBef>
                          <a:spcPts val="0"/>
                        </a:spcBef>
                        <a:spcAft>
                          <a:spcPts val="0"/>
                        </a:spcAft>
                        <a:buClrTx/>
                        <a:buSzTx/>
                        <a:buFontTx/>
                        <a:buNone/>
                        <a:tabLst/>
                        <a:defRPr/>
                      </a:pPr>
                      <a:r>
                        <a:rPr lang="en-GB" sz="1050" b="0" kern="1200" dirty="0">
                          <a:solidFill>
                            <a:schemeClr val="tx1"/>
                          </a:solidFill>
                          <a:sym typeface="Gill Sans"/>
                        </a:rPr>
                        <a:t>REST, JMS, </a:t>
                      </a:r>
                      <a:r>
                        <a:rPr lang="en-GB" sz="1050" b="0" kern="1200" dirty="0">
                          <a:solidFill>
                            <a:schemeClr val="tx1"/>
                          </a:solidFill>
                        </a:rPr>
                        <a:t>AMQP</a:t>
                      </a:r>
                      <a:r>
                        <a:rPr lang="en-GB" sz="1050" b="0" kern="1200" dirty="0">
                          <a:solidFill>
                            <a:schemeClr val="tx1"/>
                          </a:solidFill>
                          <a:sym typeface="Gill Sans"/>
                        </a:rPr>
                        <a:t>, MQTT over WebSockets</a:t>
                      </a:r>
                      <a:endParaRPr lang="en-SG" sz="1050" b="0" kern="1200" noProof="0" dirty="0">
                        <a:solidFill>
                          <a:schemeClr val="tx1"/>
                        </a:solidFill>
                        <a:latin typeface="Arial" panose="020B0604020202020204" pitchFamily="34" charset="0"/>
                        <a:ea typeface="+mn-ea"/>
                        <a:cs typeface="Arial" panose="020B0604020202020204" pitchFamily="34" charset="0"/>
                        <a:sym typeface="Gill Sans"/>
                      </a:endParaRPr>
                    </a:p>
                  </a:txBody>
                  <a:tcPr marL="0" marR="0" marT="0" marB="0" anchor="ct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marL="9525" marR="0" lvl="1" indent="0" algn="l" defTabSz="1088558" rtl="0" eaLnBrk="1" fontAlgn="auto" latinLnBrk="0" hangingPunct="1">
                        <a:lnSpc>
                          <a:spcPct val="100000"/>
                        </a:lnSpc>
                        <a:spcBef>
                          <a:spcPts val="0"/>
                        </a:spcBef>
                        <a:spcAft>
                          <a:spcPts val="0"/>
                        </a:spcAft>
                        <a:buClrTx/>
                        <a:buSzTx/>
                        <a:buFontTx/>
                        <a:buNone/>
                        <a:tabLst/>
                        <a:defRPr/>
                      </a:pPr>
                      <a:endParaRPr lang="en-GB" sz="1050" b="0" kern="1200" dirty="0">
                        <a:solidFill>
                          <a:schemeClr val="tx1"/>
                        </a:solidFill>
                      </a:endParaRPr>
                    </a:p>
                    <a:p>
                      <a:pPr marL="9525" marR="0" lvl="1" indent="0" algn="l" defTabSz="1088558" rtl="0" eaLnBrk="1" fontAlgn="auto" latinLnBrk="0" hangingPunct="1">
                        <a:lnSpc>
                          <a:spcPct val="100000"/>
                        </a:lnSpc>
                        <a:spcBef>
                          <a:spcPts val="0"/>
                        </a:spcBef>
                        <a:spcAft>
                          <a:spcPts val="0"/>
                        </a:spcAft>
                        <a:buClrTx/>
                        <a:buSzTx/>
                        <a:buFontTx/>
                        <a:buNone/>
                        <a:tabLst/>
                        <a:defRPr/>
                      </a:pPr>
                      <a:r>
                        <a:rPr lang="en-GB" sz="1050" b="0" kern="1200" dirty="0">
                          <a:solidFill>
                            <a:schemeClr val="tx1"/>
                          </a:solidFill>
                        </a:rPr>
                        <a:t>REST, JMS, AMQP, MQTT, SMF over WebSockets and direct </a:t>
                      </a:r>
                    </a:p>
                    <a:p>
                      <a:pPr marL="9525" marR="0" lvl="1" indent="0" algn="l" defTabSz="1088558" rtl="0" eaLnBrk="1" fontAlgn="auto" latinLnBrk="0" hangingPunct="1">
                        <a:lnSpc>
                          <a:spcPct val="100000"/>
                        </a:lnSpc>
                        <a:spcBef>
                          <a:spcPts val="0"/>
                        </a:spcBef>
                        <a:spcAft>
                          <a:spcPts val="0"/>
                        </a:spcAft>
                        <a:buClrTx/>
                        <a:buSzTx/>
                        <a:buFontTx/>
                        <a:buNone/>
                        <a:tabLst/>
                        <a:defRPr/>
                      </a:pPr>
                      <a:endParaRPr lang="en-GB" sz="1050" b="0" kern="1200" dirty="0">
                        <a:solidFill>
                          <a:schemeClr val="tx1"/>
                        </a:solidFill>
                        <a:latin typeface="Arial" panose="020B0604020202020204" pitchFamily="34" charset="0"/>
                        <a:ea typeface="+mn-ea"/>
                        <a:cs typeface="Arial" panose="020B0604020202020204" pitchFamily="34" charset="0"/>
                      </a:endParaRPr>
                    </a:p>
                  </a:txBody>
                  <a:tcPr marL="0" marR="0" marT="0" marB="0" anchor="ct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271283737"/>
                  </a:ext>
                </a:extLst>
              </a:tr>
              <a:tr h="468000">
                <a:tc>
                  <a:txBody>
                    <a:bodyPr/>
                    <a:lstStyle/>
                    <a:p>
                      <a:pPr algn="l"/>
                      <a:r>
                        <a:rPr lang="en-GB" sz="1050" b="1" dirty="0">
                          <a:solidFill>
                            <a:schemeClr val="tx1"/>
                          </a:solidFill>
                        </a:rPr>
                        <a:t> Deployment </a:t>
                      </a:r>
                      <a:endParaRPr lang="en-GB" sz="1050" b="1" dirty="0">
                        <a:solidFill>
                          <a:schemeClr val="tx1"/>
                        </a:solidFill>
                        <a:latin typeface="Arial" panose="020B0604020202020204" pitchFamily="34" charset="0"/>
                        <a:ea typeface="Open Sans" panose="020B0606030504020204" pitchFamily="34" charset="0"/>
                        <a:cs typeface="Arial" panose="020B0604020202020204" pitchFamily="34" charset="0"/>
                      </a:endParaRPr>
                    </a:p>
                  </a:txBody>
                  <a:tcPr marL="0" marR="0" marT="0" marB="0" anchor="ct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marL="9525" marR="0" lvl="1" indent="0" algn="l" defTabSz="1088558" rtl="0" eaLnBrk="1" fontAlgn="auto" latinLnBrk="0" hangingPunct="1">
                        <a:lnSpc>
                          <a:spcPct val="100000"/>
                        </a:lnSpc>
                        <a:spcBef>
                          <a:spcPts val="0"/>
                        </a:spcBef>
                        <a:spcAft>
                          <a:spcPts val="0"/>
                        </a:spcAft>
                        <a:buClrTx/>
                        <a:buSzTx/>
                        <a:buFontTx/>
                        <a:buNone/>
                        <a:tabLst/>
                        <a:defRPr/>
                      </a:pPr>
                      <a:r>
                        <a:rPr lang="en-GB" sz="1050" b="0" kern="1200" dirty="0">
                          <a:solidFill>
                            <a:schemeClr val="tx1"/>
                          </a:solidFill>
                        </a:rPr>
                        <a:t>On SAP BTP</a:t>
                      </a:r>
                      <a:endParaRPr lang="en-SG" sz="1050" b="0" kern="1200" noProof="0" dirty="0">
                        <a:solidFill>
                          <a:schemeClr val="tx1"/>
                        </a:solidFill>
                        <a:latin typeface="Arial" panose="020B0604020202020204" pitchFamily="34" charset="0"/>
                        <a:ea typeface="+mn-ea"/>
                        <a:cs typeface="Arial" panose="020B0604020202020204" pitchFamily="34" charset="0"/>
                        <a:sym typeface="Gill Sans"/>
                      </a:endParaRPr>
                    </a:p>
                  </a:txBody>
                  <a:tcPr marL="0" marR="0" marT="0" marB="0" anchor="ct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marL="9525" marR="0" lvl="1" indent="0" algn="l" defTabSz="1088558" rtl="0" eaLnBrk="1" fontAlgn="auto" latinLnBrk="0" hangingPunct="1">
                        <a:lnSpc>
                          <a:spcPct val="100000"/>
                        </a:lnSpc>
                        <a:spcBef>
                          <a:spcPts val="0"/>
                        </a:spcBef>
                        <a:spcAft>
                          <a:spcPts val="0"/>
                        </a:spcAft>
                        <a:buClrTx/>
                        <a:buSzTx/>
                        <a:buFontTx/>
                        <a:buNone/>
                        <a:tabLst/>
                        <a:defRPr/>
                      </a:pPr>
                      <a:endParaRPr lang="en-GB" sz="1050" b="0" kern="1200" dirty="0">
                        <a:solidFill>
                          <a:schemeClr val="tx1"/>
                        </a:solidFill>
                      </a:endParaRPr>
                    </a:p>
                    <a:p>
                      <a:pPr marL="9525" marR="0" lvl="1" indent="0" algn="l" defTabSz="1088558" rtl="0" eaLnBrk="1" fontAlgn="auto" latinLnBrk="0" hangingPunct="1">
                        <a:lnSpc>
                          <a:spcPct val="100000"/>
                        </a:lnSpc>
                        <a:spcBef>
                          <a:spcPts val="0"/>
                        </a:spcBef>
                        <a:spcAft>
                          <a:spcPts val="0"/>
                        </a:spcAft>
                        <a:buClrTx/>
                        <a:buSzTx/>
                        <a:buFontTx/>
                        <a:buNone/>
                        <a:tabLst/>
                        <a:defRPr/>
                      </a:pPr>
                      <a:r>
                        <a:rPr lang="en-GB" sz="1050" b="0" kern="1200" dirty="0">
                          <a:solidFill>
                            <a:schemeClr val="tx1"/>
                          </a:solidFill>
                        </a:rPr>
                        <a:t>Almost anywhere including cloud and on premise</a:t>
                      </a:r>
                    </a:p>
                    <a:p>
                      <a:pPr marL="9525" marR="0" lvl="1" indent="0" algn="l" defTabSz="1088558" rtl="0" eaLnBrk="1" fontAlgn="auto" latinLnBrk="0" hangingPunct="1">
                        <a:lnSpc>
                          <a:spcPct val="100000"/>
                        </a:lnSpc>
                        <a:spcBef>
                          <a:spcPts val="0"/>
                        </a:spcBef>
                        <a:spcAft>
                          <a:spcPts val="0"/>
                        </a:spcAft>
                        <a:buClrTx/>
                        <a:buSzTx/>
                        <a:buFontTx/>
                        <a:buNone/>
                        <a:tabLst/>
                        <a:defRPr/>
                      </a:pPr>
                      <a:endParaRPr lang="en-SG" sz="1050" b="0" kern="1200" noProof="0" dirty="0">
                        <a:solidFill>
                          <a:schemeClr val="tx1"/>
                        </a:solidFill>
                        <a:latin typeface="Arial" panose="020B0604020202020204" pitchFamily="34" charset="0"/>
                        <a:ea typeface="+mn-ea"/>
                        <a:cs typeface="Arial" panose="020B0604020202020204" pitchFamily="34" charset="0"/>
                        <a:sym typeface="Gill Sans"/>
                      </a:endParaRPr>
                    </a:p>
                  </a:txBody>
                  <a:tcPr marL="0" marR="0" marT="0" marB="0" anchor="ct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652388528"/>
                  </a:ext>
                </a:extLst>
              </a:tr>
              <a:tr h="468000">
                <a:tc>
                  <a:txBody>
                    <a:bodyPr/>
                    <a:lstStyle/>
                    <a:p>
                      <a:pPr algn="l"/>
                      <a:r>
                        <a:rPr lang="en-GB" sz="1050" b="1" dirty="0">
                          <a:solidFill>
                            <a:schemeClr val="tx1"/>
                          </a:solidFill>
                        </a:rPr>
                        <a:t> Pricing</a:t>
                      </a:r>
                      <a:endParaRPr lang="en-GB" sz="1050" b="1" dirty="0">
                        <a:solidFill>
                          <a:schemeClr val="tx1"/>
                        </a:solidFill>
                        <a:latin typeface="Arial" panose="020B0604020202020204" pitchFamily="34" charset="0"/>
                        <a:ea typeface="Open Sans" panose="020B0606030504020204" pitchFamily="34" charset="0"/>
                        <a:cs typeface="Arial" panose="020B0604020202020204" pitchFamily="34" charset="0"/>
                      </a:endParaRPr>
                    </a:p>
                  </a:txBody>
                  <a:tcPr marL="0" marR="0" marT="0" marB="0" anchor="ct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marL="9525" marR="0" lvl="0" indent="0" algn="l" defTabSz="1088558"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GB" sz="1050" b="0" kern="1200" dirty="0">
                        <a:solidFill>
                          <a:schemeClr val="tx1"/>
                        </a:solidFill>
                      </a:endParaRPr>
                    </a:p>
                    <a:p>
                      <a:pPr marL="9525" marR="0" lvl="1" indent="0" algn="l" defTabSz="1088558"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050" b="0" kern="1200" dirty="0">
                          <a:solidFill>
                            <a:schemeClr val="tx1"/>
                          </a:solidFill>
                        </a:rPr>
                        <a:t>Usage-based pricing, starting with zero cost</a:t>
                      </a:r>
                    </a:p>
                    <a:p>
                      <a:pPr marL="9525" marR="0" lvl="0" indent="0" algn="l" defTabSz="1088558"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GB" sz="1050" b="0" kern="1200" dirty="0">
                        <a:solidFill>
                          <a:schemeClr val="tx1"/>
                        </a:solidFill>
                        <a:latin typeface="Arial" panose="020B0604020202020204" pitchFamily="34" charset="0"/>
                        <a:ea typeface="+mn-ea"/>
                        <a:cs typeface="Arial" panose="020B0604020202020204" pitchFamily="34" charset="0"/>
                      </a:endParaRPr>
                    </a:p>
                  </a:txBody>
                  <a:tcPr marL="0" marR="0" marT="0" marB="0" anchor="ct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marL="9525" marR="0" lvl="1" indent="0" algn="l" defTabSz="1088558"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050" b="0" kern="1200" dirty="0">
                          <a:solidFill>
                            <a:schemeClr val="tx1"/>
                          </a:solidFill>
                        </a:rPr>
                        <a:t>Various T-shirt sizes, grows with your business</a:t>
                      </a:r>
                      <a:endParaRPr lang="en-SG" sz="1050" b="0" kern="1200" noProof="0" dirty="0">
                        <a:solidFill>
                          <a:schemeClr val="tx1"/>
                        </a:solidFill>
                        <a:latin typeface="Arial" panose="020B0604020202020204" pitchFamily="34" charset="0"/>
                        <a:ea typeface="+mn-ea"/>
                        <a:cs typeface="Arial" panose="020B0604020202020204" pitchFamily="34" charset="0"/>
                        <a:sym typeface="Gill Sans"/>
                      </a:endParaRPr>
                    </a:p>
                  </a:txBody>
                  <a:tcPr marL="0" marR="0" marT="0" marB="0" anchor="ct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351570947"/>
                  </a:ext>
                </a:extLst>
              </a:tr>
              <a:tr h="468000">
                <a:tc>
                  <a:txBody>
                    <a:bodyPr/>
                    <a:lstStyle/>
                    <a:p>
                      <a:pPr marL="0" marR="0" indent="0" algn="l" defTabSz="409575" latinLnBrk="0">
                        <a:lnSpc>
                          <a:spcPct val="100000"/>
                        </a:lnSpc>
                        <a:spcBef>
                          <a:spcPts val="0"/>
                        </a:spcBef>
                        <a:spcAft>
                          <a:spcPts val="0"/>
                        </a:spcAft>
                        <a:buClrTx/>
                        <a:buSzTx/>
                        <a:buFontTx/>
                        <a:buNone/>
                        <a:tabLst/>
                      </a:pPr>
                      <a:r>
                        <a:rPr lang="en-GB" sz="1050" b="1" u="none" strike="noStrike" cap="none" spc="0" baseline="0" dirty="0">
                          <a:ln>
                            <a:noFill/>
                          </a:ln>
                          <a:solidFill>
                            <a:schemeClr val="tx1"/>
                          </a:solidFill>
                          <a:uFillTx/>
                          <a:sym typeface="Gill Sans"/>
                        </a:rPr>
                        <a:t> Advanced features</a:t>
                      </a:r>
                      <a:endParaRPr lang="en-GB" sz="1050" b="1" i="0" u="none" strike="noStrike" cap="none" spc="0" baseline="0" dirty="0">
                        <a:ln>
                          <a:noFill/>
                        </a:ln>
                        <a:solidFill>
                          <a:schemeClr val="tx1"/>
                        </a:solidFill>
                        <a:uFillTx/>
                        <a:latin typeface="Arial" panose="020B0604020202020204" pitchFamily="34" charset="0"/>
                        <a:ea typeface="Open Sans" panose="020B0606030504020204" pitchFamily="34" charset="0"/>
                        <a:cs typeface="Arial" panose="020B0604020202020204" pitchFamily="34" charset="0"/>
                        <a:sym typeface="Gill Sans"/>
                      </a:endParaRPr>
                    </a:p>
                  </a:txBody>
                  <a:tcPr marL="0" marR="0" marT="0" marB="0" anchor="ctr">
                    <a:lnT w="9525" cap="flat" cmpd="sng" algn="ctr">
                      <a:solidFill>
                        <a:schemeClr val="tx1"/>
                      </a:solidFill>
                      <a:prstDash val="solid"/>
                      <a:round/>
                      <a:headEnd type="none" w="med" len="med"/>
                      <a:tailEnd type="none" w="med" len="med"/>
                    </a:lnT>
                  </a:tcPr>
                </a:tc>
                <a:tc>
                  <a:txBody>
                    <a:bodyPr/>
                    <a:lstStyle/>
                    <a:p>
                      <a:pPr marL="134938" marR="0" lvl="1" indent="-125413" algn="l" defTabSz="1088558" rtl="0" eaLnBrk="1" latinLnBrk="0" hangingPunct="1">
                        <a:lnSpc>
                          <a:spcPct val="100000"/>
                        </a:lnSpc>
                        <a:spcBef>
                          <a:spcPts val="0"/>
                        </a:spcBef>
                        <a:spcAft>
                          <a:spcPts val="0"/>
                        </a:spcAft>
                        <a:buClr>
                          <a:schemeClr val="accent1"/>
                        </a:buClr>
                        <a:buSzTx/>
                        <a:buFont typeface="Wingdings" pitchFamily="2" charset="2"/>
                        <a:buChar char="§"/>
                        <a:tabLst/>
                      </a:pPr>
                      <a:r>
                        <a:rPr lang="en-GB" sz="1050" b="0" kern="1200" dirty="0">
                          <a:solidFill>
                            <a:schemeClr val="tx1"/>
                          </a:solidFill>
                          <a:sym typeface="Gill Sans"/>
                        </a:rPr>
                        <a:t>Facilitated connectivity to selected SAP software back ends</a:t>
                      </a:r>
                    </a:p>
                    <a:p>
                      <a:pPr marL="134938" marR="0" lvl="1" indent="-125413" algn="l" defTabSz="1088558" rtl="0" eaLnBrk="1" latinLnBrk="0" hangingPunct="1">
                        <a:lnSpc>
                          <a:spcPct val="100000"/>
                        </a:lnSpc>
                        <a:spcBef>
                          <a:spcPts val="0"/>
                        </a:spcBef>
                        <a:spcAft>
                          <a:spcPts val="0"/>
                        </a:spcAft>
                        <a:buClr>
                          <a:schemeClr val="accent1"/>
                        </a:buClr>
                        <a:buSzTx/>
                        <a:buFont typeface="Wingdings" pitchFamily="2" charset="2"/>
                        <a:buChar char="§"/>
                        <a:tabLst/>
                      </a:pPr>
                      <a:r>
                        <a:rPr lang="en-GB" sz="1050" b="0" kern="1200" dirty="0">
                          <a:solidFill>
                            <a:schemeClr val="tx1"/>
                          </a:solidFill>
                          <a:sym typeface="Gill Sans"/>
                        </a:rPr>
                        <a:t>Integration into SAP services and solutions </a:t>
                      </a:r>
                      <a:endParaRPr lang="en-GB" sz="1050" b="0" kern="1200" dirty="0">
                        <a:solidFill>
                          <a:schemeClr val="tx1"/>
                        </a:solidFill>
                        <a:latin typeface="Arial" panose="020B0604020202020204" pitchFamily="34" charset="0"/>
                        <a:ea typeface="+mn-ea"/>
                        <a:cs typeface="Arial" panose="020B0604020202020204" pitchFamily="34" charset="0"/>
                        <a:sym typeface="Gill Sans"/>
                      </a:endParaRPr>
                    </a:p>
                  </a:txBody>
                  <a:tcPr marL="0" marR="0" marT="0" marB="0" anchor="ctr">
                    <a:lnT w="9525" cap="flat" cmpd="sng" algn="ctr">
                      <a:solidFill>
                        <a:schemeClr val="tx1"/>
                      </a:solidFill>
                      <a:prstDash val="solid"/>
                      <a:round/>
                      <a:headEnd type="none" w="med" len="med"/>
                      <a:tailEnd type="none" w="med" len="med"/>
                    </a:lnT>
                  </a:tcPr>
                </a:tc>
                <a:tc>
                  <a:txBody>
                    <a:bodyPr/>
                    <a:lstStyle/>
                    <a:p>
                      <a:pPr marL="9525" marR="0" lvl="1" indent="0" algn="l" defTabSz="1088558"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GB" sz="1050" b="0" kern="1200" dirty="0">
                        <a:solidFill>
                          <a:schemeClr val="tx1"/>
                        </a:solidFill>
                        <a:sym typeface="Gill Sans"/>
                      </a:endParaRPr>
                    </a:p>
                    <a:p>
                      <a:pPr marL="134938" marR="0" lvl="1" indent="-125413" algn="l" defTabSz="1088558" rtl="0" eaLnBrk="1" fontAlgn="auto" latinLnBrk="0" hangingPunct="1">
                        <a:lnSpc>
                          <a:spcPct val="100000"/>
                        </a:lnSpc>
                        <a:spcBef>
                          <a:spcPts val="0"/>
                        </a:spcBef>
                        <a:spcAft>
                          <a:spcPts val="0"/>
                        </a:spcAft>
                        <a:buClr>
                          <a:schemeClr val="accent1"/>
                        </a:buClr>
                        <a:buSzTx/>
                        <a:buFont typeface="Wingdings" pitchFamily="2" charset="2"/>
                        <a:buChar char="§"/>
                        <a:tabLst/>
                        <a:defRPr/>
                      </a:pPr>
                      <a:r>
                        <a:rPr lang="en-GB" sz="1050" b="0" kern="1200" dirty="0">
                          <a:solidFill>
                            <a:schemeClr val="tx1"/>
                          </a:solidFill>
                          <a:sym typeface="Gill Sans"/>
                        </a:rPr>
                        <a:t>Opening on payloads</a:t>
                      </a:r>
                    </a:p>
                    <a:p>
                      <a:pPr marL="134938" marR="0" lvl="1" indent="-125413" algn="l" defTabSz="1088558" rtl="0" eaLnBrk="1" fontAlgn="auto" latinLnBrk="0" hangingPunct="1">
                        <a:lnSpc>
                          <a:spcPct val="100000"/>
                        </a:lnSpc>
                        <a:spcBef>
                          <a:spcPts val="0"/>
                        </a:spcBef>
                        <a:spcAft>
                          <a:spcPts val="0"/>
                        </a:spcAft>
                        <a:buClr>
                          <a:schemeClr val="accent1"/>
                        </a:buClr>
                        <a:buSzTx/>
                        <a:buFont typeface="Wingdings" pitchFamily="2" charset="2"/>
                        <a:buChar char="§"/>
                        <a:tabLst/>
                        <a:defRPr/>
                      </a:pPr>
                      <a:r>
                        <a:rPr lang="en-GB" sz="1050" b="0" kern="1200" dirty="0">
                          <a:solidFill>
                            <a:schemeClr val="tx1"/>
                          </a:solidFill>
                          <a:sym typeface="Gill Sans"/>
                        </a:rPr>
                        <a:t>Support of transactions</a:t>
                      </a:r>
                      <a:endParaRPr lang="en-SG" sz="1050" b="0" kern="1200" noProof="0" dirty="0">
                        <a:solidFill>
                          <a:schemeClr val="tx1"/>
                        </a:solidFill>
                        <a:sym typeface="Gill Sans"/>
                      </a:endParaRPr>
                    </a:p>
                    <a:p>
                      <a:pPr marL="134938" marR="0" lvl="1" indent="-125413" algn="l" defTabSz="1088558" rtl="0" eaLnBrk="1" fontAlgn="auto" latinLnBrk="0" hangingPunct="1">
                        <a:lnSpc>
                          <a:spcPct val="100000"/>
                        </a:lnSpc>
                        <a:spcBef>
                          <a:spcPts val="0"/>
                        </a:spcBef>
                        <a:spcAft>
                          <a:spcPts val="0"/>
                        </a:spcAft>
                        <a:buClr>
                          <a:schemeClr val="accent1"/>
                        </a:buClr>
                        <a:buSzTx/>
                        <a:buFont typeface="Wingdings" pitchFamily="2" charset="2"/>
                        <a:buChar char="§"/>
                        <a:tabLst/>
                        <a:defRPr/>
                      </a:pPr>
                      <a:r>
                        <a:rPr lang="en-GB" sz="1050" b="0" kern="1200" dirty="0">
                          <a:solidFill>
                            <a:schemeClr val="tx1"/>
                          </a:solidFill>
                          <a:sym typeface="Gill Sans"/>
                        </a:rPr>
                        <a:t>Support of replay of events</a:t>
                      </a:r>
                    </a:p>
                    <a:p>
                      <a:pPr marL="134938" marR="0" lvl="1" indent="-125413" algn="l" defTabSz="1088558" rtl="0" eaLnBrk="1" fontAlgn="auto" latinLnBrk="0" hangingPunct="1">
                        <a:lnSpc>
                          <a:spcPct val="100000"/>
                        </a:lnSpc>
                        <a:spcBef>
                          <a:spcPts val="0"/>
                        </a:spcBef>
                        <a:spcAft>
                          <a:spcPts val="0"/>
                        </a:spcAft>
                        <a:buClr>
                          <a:schemeClr val="accent1"/>
                        </a:buClr>
                        <a:buSzTx/>
                        <a:buFont typeface="Wingdings" pitchFamily="2" charset="2"/>
                        <a:buChar char="§"/>
                        <a:tabLst/>
                        <a:defRPr/>
                      </a:pPr>
                      <a:r>
                        <a:rPr lang="en-GB" sz="1050" b="0" kern="1200" dirty="0">
                          <a:solidFill>
                            <a:schemeClr val="tx1"/>
                          </a:solidFill>
                          <a:sym typeface="Gill Sans"/>
                        </a:rPr>
                        <a:t>Distributed tracing </a:t>
                      </a:r>
                      <a:r>
                        <a:rPr lang="en-GB" sz="1050" b="0" kern="1200">
                          <a:solidFill>
                            <a:schemeClr val="tx1"/>
                          </a:solidFill>
                          <a:sym typeface="Gill Sans"/>
                        </a:rPr>
                        <a:t>support </a:t>
                      </a:r>
                      <a:endParaRPr lang="en-SG" sz="1050" b="0" kern="1200" noProof="0" dirty="0">
                        <a:solidFill>
                          <a:schemeClr val="tx1"/>
                        </a:solidFill>
                        <a:latin typeface="Arial" panose="020B0604020202020204" pitchFamily="34" charset="0"/>
                        <a:ea typeface="+mn-ea"/>
                        <a:cs typeface="Arial" panose="020B0604020202020204" pitchFamily="34" charset="0"/>
                        <a:sym typeface="Gill Sans"/>
                      </a:endParaRPr>
                    </a:p>
                  </a:txBody>
                  <a:tcPr marL="0" marR="0" marT="0" marB="0" anchor="ctr">
                    <a:lnT w="9525"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3648117123"/>
                  </a:ext>
                </a:extLst>
              </a:tr>
            </a:tbl>
          </a:graphicData>
        </a:graphic>
      </p:graphicFrame>
      <p:sp>
        <p:nvSpPr>
          <p:cNvPr id="2" name="Titel 1">
            <a:extLst>
              <a:ext uri="{FF2B5EF4-FFF2-40B4-BE49-F238E27FC236}">
                <a16:creationId xmlns:a16="http://schemas.microsoft.com/office/drawing/2014/main" id="{4371D69D-74DF-9067-0B97-B6602987DAB4}"/>
              </a:ext>
            </a:extLst>
          </p:cNvPr>
          <p:cNvSpPr>
            <a:spLocks noGrp="1"/>
          </p:cNvSpPr>
          <p:nvPr>
            <p:ph type="title"/>
          </p:nvPr>
        </p:nvSpPr>
        <p:spPr/>
        <p:txBody>
          <a:bodyPr/>
          <a:lstStyle/>
          <a:p>
            <a:r>
              <a:rPr lang="en-US" kern="0" dirty="0">
                <a:latin typeface="Arial" panose="020B0604020202020204" pitchFamily="34" charset="0"/>
                <a:ea typeface="Arial Unicode MS"/>
                <a:cs typeface="Arial" panose="020B0604020202020204" pitchFamily="34" charset="0"/>
              </a:rPr>
              <a:t> High-level comparison – SAP Event Mesh and advanced event mesh</a:t>
            </a:r>
            <a:endParaRPr lang="en-US" dirty="0"/>
          </a:p>
        </p:txBody>
      </p:sp>
    </p:spTree>
    <p:extLst>
      <p:ext uri="{BB962C8B-B14F-4D97-AF65-F5344CB8AC3E}">
        <p14:creationId xmlns:p14="http://schemas.microsoft.com/office/powerpoint/2010/main" val="408798048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p:cNvSpPr>
            <a:spLocks noGrp="1"/>
          </p:cNvSpPr>
          <p:nvPr>
            <p:ph type="title"/>
          </p:nvPr>
        </p:nvSpPr>
        <p:spPr bwMode="gray">
          <a:noFill/>
        </p:spPr>
        <p:txBody>
          <a:bodyPr/>
          <a:lstStyle/>
          <a:p>
            <a:r>
              <a:rPr lang="en-US" dirty="0"/>
              <a:t>Topic 3 – Enhanced Integration using the SAP BTP</a:t>
            </a:r>
          </a:p>
        </p:txBody>
      </p:sp>
      <p:sp>
        <p:nvSpPr>
          <p:cNvPr id="249" name="Freeform: Shape 11">
            <a:extLst>
              <a:ext uri="{FF2B5EF4-FFF2-40B4-BE49-F238E27FC236}">
                <a16:creationId xmlns:a16="http://schemas.microsoft.com/office/drawing/2014/main" id="{E31D9C2C-10CD-E882-23E3-E9956A286E5F}"/>
              </a:ext>
            </a:extLst>
          </p:cNvPr>
          <p:cNvSpPr/>
          <p:nvPr/>
        </p:nvSpPr>
        <p:spPr>
          <a:xfrm>
            <a:off x="1941906" y="5626281"/>
            <a:ext cx="8312815" cy="477162"/>
          </a:xfrm>
          <a:prstGeom prst="roundRect">
            <a:avLst>
              <a:gd name="adj" fmla="val 9823"/>
            </a:avLst>
          </a:prstGeom>
          <a:solidFill>
            <a:srgbClr val="B3D2FF"/>
          </a:solidFill>
          <a:ln w="12673" cap="flat">
            <a:noFill/>
            <a:prstDash val="solid"/>
            <a:miter/>
          </a:ln>
        </p:spPr>
        <p:txBody>
          <a:bodyPr rtlCol="0" anchor="ctr"/>
          <a:lstStyle/>
          <a:p>
            <a:pPr marL="0" marR="0" lvl="0" indent="0" algn="l" defTabSz="1088122" rtl="0" eaLnBrk="1" fontAlgn="auto" latinLnBrk="0" hangingPunct="1">
              <a:lnSpc>
                <a:spcPct val="100000"/>
              </a:lnSpc>
              <a:spcBef>
                <a:spcPts val="0"/>
              </a:spcBef>
              <a:spcAft>
                <a:spcPts val="0"/>
              </a:spcAft>
              <a:buClrTx/>
              <a:buSzTx/>
              <a:buFontTx/>
              <a:buNone/>
              <a:tabLst/>
              <a:defRPr/>
            </a:pPr>
            <a:endParaRPr kumimoji="0" lang="en-US" sz="2098" b="0" i="0" u="none" strike="noStrike" kern="1200" cap="none" spc="0" normalizeH="0" baseline="0">
              <a:ln>
                <a:noFill/>
              </a:ln>
              <a:solidFill>
                <a:srgbClr val="000000"/>
              </a:solidFill>
              <a:effectLst/>
              <a:uLnTx/>
              <a:uFillTx/>
              <a:latin typeface="72 Brand" panose="020B0504030603020204" pitchFamily="34" charset="0"/>
              <a:ea typeface="+mn-ea"/>
              <a:cs typeface="+mn-cs"/>
            </a:endParaRPr>
          </a:p>
        </p:txBody>
      </p:sp>
      <p:sp>
        <p:nvSpPr>
          <p:cNvPr id="250" name="Textfeld 16">
            <a:extLst>
              <a:ext uri="{FF2B5EF4-FFF2-40B4-BE49-F238E27FC236}">
                <a16:creationId xmlns:a16="http://schemas.microsoft.com/office/drawing/2014/main" id="{45FD08BD-8DD9-3639-C640-3E4778565AAF}"/>
              </a:ext>
            </a:extLst>
          </p:cNvPr>
          <p:cNvSpPr txBox="1"/>
          <p:nvPr/>
        </p:nvSpPr>
        <p:spPr>
          <a:xfrm>
            <a:off x="7917684" y="5708563"/>
            <a:ext cx="2253368" cy="307617"/>
          </a:xfrm>
          <a:prstGeom prst="rect">
            <a:avLst/>
          </a:prstGeom>
          <a:noFill/>
        </p:spPr>
        <p:txBody>
          <a:bodyPr wrap="square" lIns="0" tIns="0" rIns="0" bIns="0" rtlCol="0" anchor="ctr" anchorCtr="0">
            <a:spAutoFit/>
          </a:bodyP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marL="0" marR="0" lvl="0" indent="0" algn="l" defTabSz="1088122"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a:ln>
                  <a:noFill/>
                </a:ln>
                <a:solidFill>
                  <a:srgbClr val="000000"/>
                </a:solidFill>
                <a:effectLst/>
                <a:uLnTx/>
                <a:uFillTx/>
                <a:latin typeface="72 Brand" panose="020B0504030603020204" pitchFamily="34" charset="0"/>
                <a:ea typeface="+mn-ea"/>
                <a:cs typeface="Arial"/>
              </a:rPr>
              <a:t>Run</a:t>
            </a:r>
            <a:r>
              <a:rPr kumimoji="0" lang="en-US" sz="1000" b="0" i="0" u="none" strike="noStrike" kern="1200" cap="none" spc="0" normalizeH="0" baseline="0">
                <a:ln>
                  <a:noFill/>
                </a:ln>
                <a:solidFill>
                  <a:srgbClr val="000000"/>
                </a:solidFill>
                <a:effectLst/>
                <a:uLnTx/>
                <a:uFillTx/>
                <a:latin typeface="72 Brand" panose="020B0504030603020204" pitchFamily="34" charset="0"/>
                <a:ea typeface="+mn-ea"/>
                <a:cs typeface="Arial"/>
              </a:rPr>
              <a:t> with confidence on a trusted, </a:t>
            </a:r>
            <a:br>
              <a:rPr kumimoji="0" lang="en-US" sz="1000" b="0" i="0" u="none" strike="noStrike" kern="1200" cap="none" spc="0" normalizeH="0" baseline="0">
                <a:ln>
                  <a:noFill/>
                </a:ln>
                <a:solidFill>
                  <a:srgbClr val="000000"/>
                </a:solidFill>
                <a:effectLst/>
                <a:uLnTx/>
                <a:uFillTx/>
                <a:latin typeface="72 Brand" panose="020B0504030603020204" pitchFamily="34" charset="0"/>
                <a:ea typeface="+mn-ea"/>
                <a:cs typeface="Arial" panose="020B0604020202020204" pitchFamily="34" charset="0"/>
              </a:rPr>
            </a:br>
            <a:r>
              <a:rPr kumimoji="0" lang="en-US" sz="1000" b="0" i="0" u="none" strike="noStrike" kern="1200" cap="none" spc="0" normalizeH="0" baseline="0">
                <a:ln>
                  <a:noFill/>
                </a:ln>
                <a:solidFill>
                  <a:srgbClr val="000000"/>
                </a:solidFill>
                <a:effectLst/>
                <a:uLnTx/>
                <a:uFillTx/>
                <a:latin typeface="72 Brand" panose="020B0504030603020204" pitchFamily="34" charset="0"/>
                <a:ea typeface="+mn-ea"/>
                <a:cs typeface="Arial"/>
              </a:rPr>
              <a:t>enterprise-grade platform</a:t>
            </a:r>
          </a:p>
        </p:txBody>
      </p:sp>
      <p:sp>
        <p:nvSpPr>
          <p:cNvPr id="251" name="Textfeld 15">
            <a:extLst>
              <a:ext uri="{FF2B5EF4-FFF2-40B4-BE49-F238E27FC236}">
                <a16:creationId xmlns:a16="http://schemas.microsoft.com/office/drawing/2014/main" id="{22880D3B-F802-3D87-C36E-F2F37AD7AE8F}"/>
              </a:ext>
            </a:extLst>
          </p:cNvPr>
          <p:cNvSpPr txBox="1"/>
          <p:nvPr/>
        </p:nvSpPr>
        <p:spPr>
          <a:xfrm>
            <a:off x="2295743" y="5708563"/>
            <a:ext cx="2400835" cy="307617"/>
          </a:xfrm>
          <a:prstGeom prst="rect">
            <a:avLst/>
          </a:prstGeom>
          <a:noFill/>
        </p:spPr>
        <p:txBody>
          <a:bodyPr wrap="square" lIns="0" tIns="0" rIns="0" bIns="0" rtlCol="0" anchor="ctr" anchorCtr="0">
            <a:spAutoFit/>
          </a:bodyP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marL="0" marR="0" lvl="0" indent="0" algn="l" defTabSz="1088122"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a:ln>
                  <a:noFill/>
                </a:ln>
                <a:solidFill>
                  <a:srgbClr val="000000"/>
                </a:solidFill>
                <a:effectLst/>
                <a:uLnTx/>
                <a:uFillTx/>
                <a:latin typeface="72 Brand" panose="020B0504030603020204" pitchFamily="34" charset="0"/>
                <a:ea typeface="+mn-ea"/>
                <a:cs typeface="Arial"/>
              </a:rPr>
              <a:t>Create</a:t>
            </a:r>
            <a:r>
              <a:rPr kumimoji="0" lang="en-US" sz="1000" b="0" i="0" u="none" strike="noStrike" kern="1200" cap="none" spc="0" normalizeH="0" baseline="0">
                <a:ln>
                  <a:noFill/>
                </a:ln>
                <a:solidFill>
                  <a:srgbClr val="000000"/>
                </a:solidFill>
                <a:effectLst/>
                <a:uLnTx/>
                <a:uFillTx/>
                <a:latin typeface="72 Brand" panose="020B0504030603020204" pitchFamily="34" charset="0"/>
                <a:ea typeface="+mn-ea"/>
                <a:cs typeface="Arial"/>
              </a:rPr>
              <a:t> personalized experiences </a:t>
            </a:r>
            <a:br>
              <a:rPr kumimoji="0" lang="en-US" sz="1000" b="0" i="0" u="none" strike="noStrike" kern="1200" cap="none" spc="0" normalizeH="0" baseline="0">
                <a:ln>
                  <a:noFill/>
                </a:ln>
                <a:solidFill>
                  <a:srgbClr val="000000"/>
                </a:solidFill>
                <a:effectLst/>
                <a:uLnTx/>
                <a:uFillTx/>
                <a:latin typeface="72 Brand" panose="020B0504030603020204" pitchFamily="34" charset="0"/>
                <a:ea typeface="+mn-ea"/>
                <a:cs typeface="Arial" panose="020B0604020202020204" pitchFamily="34" charset="0"/>
              </a:rPr>
            </a:br>
            <a:r>
              <a:rPr kumimoji="0" lang="en-US" sz="1000" b="0" i="0" u="none" strike="noStrike" kern="1200" cap="none" spc="0" normalizeH="0" baseline="0">
                <a:ln>
                  <a:noFill/>
                </a:ln>
                <a:solidFill>
                  <a:srgbClr val="000000"/>
                </a:solidFill>
                <a:effectLst/>
                <a:uLnTx/>
                <a:uFillTx/>
                <a:latin typeface="72 Brand" panose="020B0504030603020204" pitchFamily="34" charset="0"/>
                <a:ea typeface="+mn-ea"/>
                <a:cs typeface="Arial"/>
              </a:rPr>
              <a:t>that instantly work with SAP applications </a:t>
            </a:r>
          </a:p>
        </p:txBody>
      </p:sp>
      <p:sp>
        <p:nvSpPr>
          <p:cNvPr id="252" name="Textfeld 17">
            <a:extLst>
              <a:ext uri="{FF2B5EF4-FFF2-40B4-BE49-F238E27FC236}">
                <a16:creationId xmlns:a16="http://schemas.microsoft.com/office/drawing/2014/main" id="{774F22A9-CF43-3EDE-52D0-E4381AE198DF}"/>
              </a:ext>
            </a:extLst>
          </p:cNvPr>
          <p:cNvSpPr txBox="1"/>
          <p:nvPr/>
        </p:nvSpPr>
        <p:spPr>
          <a:xfrm>
            <a:off x="5165818" y="5708563"/>
            <a:ext cx="2400834" cy="307617"/>
          </a:xfrm>
          <a:prstGeom prst="rect">
            <a:avLst/>
          </a:prstGeom>
          <a:noFill/>
        </p:spPr>
        <p:txBody>
          <a:bodyPr wrap="square" lIns="0" tIns="0" rIns="0" bIns="0" rtlCol="0" anchor="ctr" anchorCtr="0">
            <a:spAutoFit/>
          </a:bodyP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marL="0" marR="0" lvl="0" indent="0" algn="l" defTabSz="1088122"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a:ln>
                  <a:noFill/>
                </a:ln>
                <a:solidFill>
                  <a:srgbClr val="000000"/>
                </a:solidFill>
                <a:effectLst/>
                <a:uLnTx/>
                <a:uFillTx/>
                <a:latin typeface="72 Brand" panose="020B0504030603020204" pitchFamily="34" charset="0"/>
                <a:ea typeface="+mn-ea"/>
                <a:cs typeface="Arial"/>
              </a:rPr>
              <a:t>Build</a:t>
            </a:r>
            <a:r>
              <a:rPr kumimoji="0" lang="en-US" sz="1000" b="0" i="0" u="none" strike="noStrike" kern="1200" cap="none" spc="0" normalizeH="0" baseline="0">
                <a:ln>
                  <a:noFill/>
                </a:ln>
                <a:solidFill>
                  <a:srgbClr val="000000"/>
                </a:solidFill>
                <a:effectLst/>
                <a:uLnTx/>
                <a:uFillTx/>
                <a:latin typeface="72 Brand" panose="020B0504030603020204" pitchFamily="34" charset="0"/>
                <a:ea typeface="+mn-ea"/>
                <a:cs typeface="Arial"/>
              </a:rPr>
              <a:t> faster with business context </a:t>
            </a:r>
            <a:br>
              <a:rPr kumimoji="0" lang="en-US" sz="1000" b="0" i="0" u="none" strike="noStrike" kern="1200" cap="none" spc="0" normalizeH="0" baseline="0">
                <a:ln>
                  <a:noFill/>
                </a:ln>
                <a:solidFill>
                  <a:srgbClr val="000000"/>
                </a:solidFill>
                <a:effectLst/>
                <a:uLnTx/>
                <a:uFillTx/>
                <a:latin typeface="72 Brand" panose="020B0504030603020204" pitchFamily="34" charset="0"/>
                <a:ea typeface="+mn-ea"/>
                <a:cs typeface="Arial" panose="020B0604020202020204" pitchFamily="34" charset="0"/>
              </a:rPr>
            </a:br>
            <a:r>
              <a:rPr kumimoji="0" lang="en-US" sz="1000" b="0" i="0" u="none" strike="noStrike" kern="1200" cap="none" spc="0" normalizeH="0" baseline="0">
                <a:ln>
                  <a:noFill/>
                </a:ln>
                <a:solidFill>
                  <a:srgbClr val="000000"/>
                </a:solidFill>
                <a:effectLst/>
                <a:uLnTx/>
                <a:uFillTx/>
                <a:latin typeface="72 Brand" panose="020B0504030603020204" pitchFamily="34" charset="0"/>
                <a:ea typeface="+mn-ea"/>
                <a:cs typeface="Arial"/>
              </a:rPr>
              <a:t>to meet change with agility</a:t>
            </a:r>
          </a:p>
        </p:txBody>
      </p:sp>
      <p:grpSp>
        <p:nvGrpSpPr>
          <p:cNvPr id="253" name="!!!_Group 55">
            <a:extLst>
              <a:ext uri="{FF2B5EF4-FFF2-40B4-BE49-F238E27FC236}">
                <a16:creationId xmlns:a16="http://schemas.microsoft.com/office/drawing/2014/main" id="{9D44D0E9-8589-EDF2-F451-E3537A62A25A}"/>
              </a:ext>
            </a:extLst>
          </p:cNvPr>
          <p:cNvGrpSpPr/>
          <p:nvPr/>
        </p:nvGrpSpPr>
        <p:grpSpPr>
          <a:xfrm>
            <a:off x="1941601" y="1016953"/>
            <a:ext cx="8311972" cy="4565346"/>
            <a:chOff x="3427012" y="910723"/>
            <a:chExt cx="8316301" cy="4567726"/>
          </a:xfrm>
        </p:grpSpPr>
        <p:sp>
          <p:nvSpPr>
            <p:cNvPr id="254" name="Freeform: Shape 57">
              <a:extLst>
                <a:ext uri="{FF2B5EF4-FFF2-40B4-BE49-F238E27FC236}">
                  <a16:creationId xmlns:a16="http://schemas.microsoft.com/office/drawing/2014/main" id="{905738FA-B42E-DCE5-4520-CB9B54CA7BEA}"/>
                </a:ext>
              </a:extLst>
            </p:cNvPr>
            <p:cNvSpPr/>
            <p:nvPr/>
          </p:nvSpPr>
          <p:spPr>
            <a:xfrm>
              <a:off x="4324358" y="1402221"/>
              <a:ext cx="6521455" cy="3366336"/>
            </a:xfrm>
            <a:custGeom>
              <a:avLst/>
              <a:gdLst>
                <a:gd name="connsiteX0" fmla="*/ 4906137 w 4906137"/>
                <a:gd name="connsiteY0" fmla="*/ 2453069 h 2453068"/>
                <a:gd name="connsiteX1" fmla="*/ 2453069 w 4906137"/>
                <a:gd name="connsiteY1" fmla="*/ 0 h 2453068"/>
                <a:gd name="connsiteX2" fmla="*/ 0 w 4906137"/>
                <a:gd name="connsiteY2" fmla="*/ 2453069 h 2453068"/>
                <a:gd name="connsiteX3" fmla="*/ 4906137 w 4906137"/>
                <a:gd name="connsiteY3" fmla="*/ 2453069 h 2453068"/>
              </a:gdLst>
              <a:ahLst/>
              <a:cxnLst>
                <a:cxn ang="0">
                  <a:pos x="connsiteX0" y="connsiteY0"/>
                </a:cxn>
                <a:cxn ang="0">
                  <a:pos x="connsiteX1" y="connsiteY1"/>
                </a:cxn>
                <a:cxn ang="0">
                  <a:pos x="connsiteX2" y="connsiteY2"/>
                </a:cxn>
                <a:cxn ang="0">
                  <a:pos x="connsiteX3" y="connsiteY3"/>
                </a:cxn>
              </a:cxnLst>
              <a:rect l="l" t="t" r="r" b="b"/>
              <a:pathLst>
                <a:path w="4906137" h="2453068">
                  <a:moveTo>
                    <a:pt x="4906137" y="2453069"/>
                  </a:moveTo>
                  <a:cubicBezTo>
                    <a:pt x="4906137" y="1098233"/>
                    <a:pt x="3807810" y="0"/>
                    <a:pt x="2453069" y="0"/>
                  </a:cubicBezTo>
                  <a:cubicBezTo>
                    <a:pt x="1098328" y="0"/>
                    <a:pt x="0" y="1098328"/>
                    <a:pt x="0" y="2453069"/>
                  </a:cubicBezTo>
                  <a:lnTo>
                    <a:pt x="4906137" y="2453069"/>
                  </a:lnTo>
                  <a:close/>
                </a:path>
              </a:pathLst>
            </a:custGeom>
            <a:noFill/>
            <a:ln w="9525" cap="flat">
              <a:gradFill>
                <a:gsLst>
                  <a:gs pos="0">
                    <a:srgbClr val="5D8CC9"/>
                  </a:gs>
                  <a:gs pos="50000">
                    <a:srgbClr val="4C77BB"/>
                  </a:gs>
                  <a:gs pos="100000">
                    <a:srgbClr val="3B62AD"/>
                  </a:gs>
                </a:gsLst>
                <a:lin ang="243289" scaled="1"/>
              </a:gradFill>
              <a:prstDash val="solid"/>
              <a:miter/>
            </a:ln>
          </p:spPr>
          <p:txBody>
            <a:bodyPr rtlCol="0" anchor="ctr"/>
            <a:lstStyle/>
            <a:p>
              <a:pPr marL="0" marR="0" lvl="0" indent="0" algn="l" defTabSz="913578" rtl="0" eaLnBrk="1" fontAlgn="auto" latinLnBrk="0" hangingPunct="1">
                <a:lnSpc>
                  <a:spcPct val="100000"/>
                </a:lnSpc>
                <a:spcBef>
                  <a:spcPts val="0"/>
                </a:spcBef>
                <a:spcAft>
                  <a:spcPts val="0"/>
                </a:spcAft>
                <a:buClrTx/>
                <a:buSzTx/>
                <a:buFontTx/>
                <a:buNone/>
                <a:tabLst/>
                <a:defRPr/>
              </a:pPr>
              <a:endParaRPr kumimoji="0" lang="en-US" sz="17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255" name="Freeform: Shape 59">
              <a:extLst>
                <a:ext uri="{FF2B5EF4-FFF2-40B4-BE49-F238E27FC236}">
                  <a16:creationId xmlns:a16="http://schemas.microsoft.com/office/drawing/2014/main" id="{300D42F7-5DD5-C1B9-0B0F-C42AFA8ED251}"/>
                </a:ext>
              </a:extLst>
            </p:cNvPr>
            <p:cNvSpPr/>
            <p:nvPr/>
          </p:nvSpPr>
          <p:spPr>
            <a:xfrm>
              <a:off x="4324358" y="1402221"/>
              <a:ext cx="6521455" cy="3366336"/>
            </a:xfrm>
            <a:custGeom>
              <a:avLst/>
              <a:gdLst>
                <a:gd name="connsiteX0" fmla="*/ 0 w 4906137"/>
                <a:gd name="connsiteY0" fmla="*/ 2453069 h 2453068"/>
                <a:gd name="connsiteX1" fmla="*/ 2453069 w 4906137"/>
                <a:gd name="connsiteY1" fmla="*/ 0 h 2453068"/>
                <a:gd name="connsiteX2" fmla="*/ 4906137 w 4906137"/>
                <a:gd name="connsiteY2" fmla="*/ 2453069 h 2453068"/>
              </a:gdLst>
              <a:ahLst/>
              <a:cxnLst>
                <a:cxn ang="0">
                  <a:pos x="connsiteX0" y="connsiteY0"/>
                </a:cxn>
                <a:cxn ang="0">
                  <a:pos x="connsiteX1" y="connsiteY1"/>
                </a:cxn>
                <a:cxn ang="0">
                  <a:pos x="connsiteX2" y="connsiteY2"/>
                </a:cxn>
              </a:cxnLst>
              <a:rect l="l" t="t" r="r" b="b"/>
              <a:pathLst>
                <a:path w="4906137" h="2453068">
                  <a:moveTo>
                    <a:pt x="0" y="2453069"/>
                  </a:moveTo>
                  <a:cubicBezTo>
                    <a:pt x="0" y="1098233"/>
                    <a:pt x="1098328" y="0"/>
                    <a:pt x="2453069" y="0"/>
                  </a:cubicBezTo>
                  <a:cubicBezTo>
                    <a:pt x="3807810" y="0"/>
                    <a:pt x="4906137" y="1098328"/>
                    <a:pt x="4906137" y="2453069"/>
                  </a:cubicBezTo>
                </a:path>
              </a:pathLst>
            </a:custGeom>
            <a:solidFill>
              <a:srgbClr val="EBF8FF"/>
            </a:solidFill>
            <a:ln w="12700" cap="flat">
              <a:gradFill>
                <a:gsLst>
                  <a:gs pos="0">
                    <a:srgbClr val="4394FF"/>
                  </a:gs>
                  <a:gs pos="50000">
                    <a:srgbClr val="2374F5"/>
                  </a:gs>
                  <a:gs pos="100000">
                    <a:srgbClr val="0B5CDD"/>
                  </a:gs>
                </a:gsLst>
                <a:lin ang="0" scaled="1"/>
              </a:gradFill>
              <a:prstDash val="solid"/>
              <a:miter/>
            </a:ln>
          </p:spPr>
          <p:txBody>
            <a:bodyPr rtlCol="0" anchor="ctr"/>
            <a:lstStyle/>
            <a:p>
              <a:pPr marL="0" marR="0" lvl="0" indent="0" algn="l" defTabSz="913578" rtl="0" eaLnBrk="1" fontAlgn="auto" latinLnBrk="0" hangingPunct="1">
                <a:lnSpc>
                  <a:spcPct val="100000"/>
                </a:lnSpc>
                <a:spcBef>
                  <a:spcPts val="0"/>
                </a:spcBef>
                <a:spcAft>
                  <a:spcPts val="0"/>
                </a:spcAft>
                <a:buClrTx/>
                <a:buSzTx/>
                <a:buFontTx/>
                <a:buNone/>
                <a:tabLst/>
                <a:defRPr/>
              </a:pPr>
              <a:endParaRPr kumimoji="0" lang="en-US" sz="17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256" name="Freeform: Shape 63">
              <a:extLst>
                <a:ext uri="{FF2B5EF4-FFF2-40B4-BE49-F238E27FC236}">
                  <a16:creationId xmlns:a16="http://schemas.microsoft.com/office/drawing/2014/main" id="{4E55C699-847F-3A14-23D1-EF84DB619ABB}"/>
                </a:ext>
              </a:extLst>
            </p:cNvPr>
            <p:cNvSpPr/>
            <p:nvPr/>
          </p:nvSpPr>
          <p:spPr>
            <a:xfrm>
              <a:off x="3427012" y="4578941"/>
              <a:ext cx="8316301" cy="899508"/>
            </a:xfrm>
            <a:custGeom>
              <a:avLst/>
              <a:gdLst>
                <a:gd name="connsiteX0" fmla="*/ 5840773 w 6256412"/>
                <a:gd name="connsiteY0" fmla="*/ 253 h 655477"/>
                <a:gd name="connsiteX1" fmla="*/ 415523 w 6256412"/>
                <a:gd name="connsiteY1" fmla="*/ 253 h 655477"/>
                <a:gd name="connsiteX2" fmla="*/ 328179 w 6256412"/>
                <a:gd name="connsiteY2" fmla="*/ 43973 h 655477"/>
                <a:gd name="connsiteX3" fmla="*/ 2043 w 6256412"/>
                <a:gd name="connsiteY3" fmla="*/ 612711 h 655477"/>
                <a:gd name="connsiteX4" fmla="*/ 51573 w 6256412"/>
                <a:gd name="connsiteY4" fmla="*/ 655478 h 655477"/>
                <a:gd name="connsiteX5" fmla="*/ 6222345 w 6256412"/>
                <a:gd name="connsiteY5" fmla="*/ 655478 h 655477"/>
                <a:gd name="connsiteX6" fmla="*/ 6251491 w 6256412"/>
                <a:gd name="connsiteY6" fmla="*/ 608900 h 655477"/>
                <a:gd name="connsiteX7" fmla="*/ 5919545 w 6256412"/>
                <a:gd name="connsiteY7" fmla="*/ 41020 h 655477"/>
                <a:gd name="connsiteX8" fmla="*/ 5840963 w 6256412"/>
                <a:gd name="connsiteY8" fmla="*/ 253 h 655477"/>
                <a:gd name="connsiteX9" fmla="*/ 5840963 w 6256412"/>
                <a:gd name="connsiteY9" fmla="*/ 253 h 655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256412" h="655477">
                  <a:moveTo>
                    <a:pt x="5840773" y="253"/>
                  </a:moveTo>
                  <a:lnTo>
                    <a:pt x="415523" y="253"/>
                  </a:lnTo>
                  <a:cubicBezTo>
                    <a:pt x="415523" y="253"/>
                    <a:pt x="358183" y="-5938"/>
                    <a:pt x="328179" y="43973"/>
                  </a:cubicBezTo>
                  <a:cubicBezTo>
                    <a:pt x="303319" y="85311"/>
                    <a:pt x="2043" y="612711"/>
                    <a:pt x="2043" y="612711"/>
                  </a:cubicBezTo>
                  <a:cubicBezTo>
                    <a:pt x="2043" y="612711"/>
                    <a:pt x="-15388" y="655478"/>
                    <a:pt x="51573" y="655478"/>
                  </a:cubicBezTo>
                  <a:lnTo>
                    <a:pt x="6222345" y="655478"/>
                  </a:lnTo>
                  <a:cubicBezTo>
                    <a:pt x="6222345" y="655478"/>
                    <a:pt x="6271875" y="646715"/>
                    <a:pt x="6251491" y="608900"/>
                  </a:cubicBezTo>
                  <a:cubicBezTo>
                    <a:pt x="6231108" y="571086"/>
                    <a:pt x="5919545" y="41020"/>
                    <a:pt x="5919545" y="41020"/>
                  </a:cubicBezTo>
                  <a:cubicBezTo>
                    <a:pt x="5919545" y="41020"/>
                    <a:pt x="5900971" y="-3747"/>
                    <a:pt x="5840963" y="253"/>
                  </a:cubicBezTo>
                  <a:lnTo>
                    <a:pt x="5840963" y="253"/>
                  </a:lnTo>
                  <a:close/>
                </a:path>
              </a:pathLst>
            </a:custGeom>
            <a:gradFill>
              <a:gsLst>
                <a:gs pos="0">
                  <a:schemeClr val="tx2"/>
                </a:gs>
                <a:gs pos="50000">
                  <a:srgbClr val="2374F5"/>
                </a:gs>
                <a:gs pos="100000">
                  <a:srgbClr val="0B5CDD"/>
                </a:gs>
              </a:gsLst>
              <a:lin ang="243261" scaled="1"/>
            </a:gradFill>
            <a:ln w="9525" cap="flat">
              <a:noFill/>
              <a:prstDash val="solid"/>
              <a:miter/>
            </a:ln>
          </p:spPr>
          <p:txBody>
            <a:bodyPr rtlCol="0" anchor="ctr"/>
            <a:lstStyle/>
            <a:p>
              <a:pPr marL="0" marR="0" lvl="0" indent="0" algn="l" defTabSz="913578" rtl="0" eaLnBrk="1" fontAlgn="auto" latinLnBrk="0" hangingPunct="1">
                <a:lnSpc>
                  <a:spcPct val="100000"/>
                </a:lnSpc>
                <a:spcBef>
                  <a:spcPts val="0"/>
                </a:spcBef>
                <a:spcAft>
                  <a:spcPts val="0"/>
                </a:spcAft>
                <a:buClrTx/>
                <a:buSzTx/>
                <a:buFontTx/>
                <a:buNone/>
                <a:tabLst/>
                <a:defRPr/>
              </a:pPr>
              <a:endParaRPr kumimoji="0" lang="en-US" sz="17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257" name="Freeform: Shape 64">
              <a:extLst>
                <a:ext uri="{FF2B5EF4-FFF2-40B4-BE49-F238E27FC236}">
                  <a16:creationId xmlns:a16="http://schemas.microsoft.com/office/drawing/2014/main" id="{85353F39-5ECF-6962-6867-4F78C045FA69}"/>
                </a:ext>
              </a:extLst>
            </p:cNvPr>
            <p:cNvSpPr/>
            <p:nvPr/>
          </p:nvSpPr>
          <p:spPr>
            <a:xfrm>
              <a:off x="4746099" y="1837750"/>
              <a:ext cx="5677723" cy="2930806"/>
            </a:xfrm>
            <a:custGeom>
              <a:avLst/>
              <a:gdLst>
                <a:gd name="connsiteX0" fmla="*/ 4271391 w 4271391"/>
                <a:gd name="connsiteY0" fmla="*/ 2135696 h 2135695"/>
                <a:gd name="connsiteX1" fmla="*/ 2135696 w 4271391"/>
                <a:gd name="connsiteY1" fmla="*/ 0 h 2135695"/>
                <a:gd name="connsiteX2" fmla="*/ 0 w 4271391"/>
                <a:gd name="connsiteY2" fmla="*/ 2135696 h 2135695"/>
                <a:gd name="connsiteX3" fmla="*/ 4271296 w 4271391"/>
                <a:gd name="connsiteY3" fmla="*/ 2135696 h 2135695"/>
              </a:gdLst>
              <a:ahLst/>
              <a:cxnLst>
                <a:cxn ang="0">
                  <a:pos x="connsiteX0" y="connsiteY0"/>
                </a:cxn>
                <a:cxn ang="0">
                  <a:pos x="connsiteX1" y="connsiteY1"/>
                </a:cxn>
                <a:cxn ang="0">
                  <a:pos x="connsiteX2" y="connsiteY2"/>
                </a:cxn>
                <a:cxn ang="0">
                  <a:pos x="connsiteX3" y="connsiteY3"/>
                </a:cxn>
              </a:cxnLst>
              <a:rect l="l" t="t" r="r" b="b"/>
              <a:pathLst>
                <a:path w="4271391" h="2135695">
                  <a:moveTo>
                    <a:pt x="4271391" y="2135696"/>
                  </a:moveTo>
                  <a:cubicBezTo>
                    <a:pt x="4271391" y="956215"/>
                    <a:pt x="3315176" y="0"/>
                    <a:pt x="2135696" y="0"/>
                  </a:cubicBezTo>
                  <a:cubicBezTo>
                    <a:pt x="956215" y="0"/>
                    <a:pt x="0" y="956215"/>
                    <a:pt x="0" y="2135696"/>
                  </a:cubicBezTo>
                  <a:lnTo>
                    <a:pt x="4271296" y="2135696"/>
                  </a:lnTo>
                  <a:close/>
                </a:path>
              </a:pathLst>
            </a:custGeom>
            <a:gradFill>
              <a:gsLst>
                <a:gs pos="100000">
                  <a:srgbClr val="89D2FF"/>
                </a:gs>
                <a:gs pos="0">
                  <a:srgbClr val="B9E4FF"/>
                </a:gs>
              </a:gsLst>
              <a:lin ang="2700000" scaled="1"/>
            </a:gradFill>
            <a:ln w="9525" cap="flat">
              <a:noFill/>
              <a:prstDash val="solid"/>
              <a:miter/>
            </a:ln>
          </p:spPr>
          <p:txBody>
            <a:bodyPr rtlCol="0" anchor="ctr"/>
            <a:lstStyle/>
            <a:p>
              <a:pPr marL="0" marR="0" lvl="0" indent="0" algn="l" defTabSz="913578" rtl="0" eaLnBrk="1" fontAlgn="auto" latinLnBrk="0" hangingPunct="1">
                <a:lnSpc>
                  <a:spcPct val="100000"/>
                </a:lnSpc>
                <a:spcBef>
                  <a:spcPts val="0"/>
                </a:spcBef>
                <a:spcAft>
                  <a:spcPts val="0"/>
                </a:spcAft>
                <a:buClrTx/>
                <a:buSzTx/>
                <a:buFontTx/>
                <a:buNone/>
                <a:tabLst/>
                <a:defRPr/>
              </a:pPr>
              <a:endParaRPr kumimoji="0" lang="en-US" sz="17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258" name="Freeform: Shape 66">
              <a:extLst>
                <a:ext uri="{FF2B5EF4-FFF2-40B4-BE49-F238E27FC236}">
                  <a16:creationId xmlns:a16="http://schemas.microsoft.com/office/drawing/2014/main" id="{00FBB800-BEDC-5587-B230-22AEC182408D}"/>
                </a:ext>
              </a:extLst>
            </p:cNvPr>
            <p:cNvSpPr/>
            <p:nvPr/>
          </p:nvSpPr>
          <p:spPr>
            <a:xfrm>
              <a:off x="6081713" y="3216492"/>
              <a:ext cx="3006747" cy="1552064"/>
            </a:xfrm>
            <a:custGeom>
              <a:avLst/>
              <a:gdLst>
                <a:gd name="connsiteX0" fmla="*/ 2261997 w 2261997"/>
                <a:gd name="connsiteY0" fmla="*/ 1130998 h 1130998"/>
                <a:gd name="connsiteX1" fmla="*/ 1130998 w 2261997"/>
                <a:gd name="connsiteY1" fmla="*/ 0 h 1130998"/>
                <a:gd name="connsiteX2" fmla="*/ 0 w 2261997"/>
                <a:gd name="connsiteY2" fmla="*/ 1130998 h 1130998"/>
                <a:gd name="connsiteX3" fmla="*/ 2261997 w 2261997"/>
                <a:gd name="connsiteY3" fmla="*/ 1130998 h 1130998"/>
              </a:gdLst>
              <a:ahLst/>
              <a:cxnLst>
                <a:cxn ang="0">
                  <a:pos x="connsiteX0" y="connsiteY0"/>
                </a:cxn>
                <a:cxn ang="0">
                  <a:pos x="connsiteX1" y="connsiteY1"/>
                </a:cxn>
                <a:cxn ang="0">
                  <a:pos x="connsiteX2" y="connsiteY2"/>
                </a:cxn>
                <a:cxn ang="0">
                  <a:pos x="connsiteX3" y="connsiteY3"/>
                </a:cxn>
              </a:cxnLst>
              <a:rect l="l" t="t" r="r" b="b"/>
              <a:pathLst>
                <a:path w="2261997" h="1130998">
                  <a:moveTo>
                    <a:pt x="2261997" y="1130998"/>
                  </a:moveTo>
                  <a:cubicBezTo>
                    <a:pt x="2261997" y="506349"/>
                    <a:pt x="1755648" y="0"/>
                    <a:pt x="1130998" y="0"/>
                  </a:cubicBezTo>
                  <a:cubicBezTo>
                    <a:pt x="506349" y="0"/>
                    <a:pt x="0" y="506349"/>
                    <a:pt x="0" y="1130998"/>
                  </a:cubicBezTo>
                  <a:lnTo>
                    <a:pt x="2261997" y="1130998"/>
                  </a:lnTo>
                  <a:close/>
                </a:path>
              </a:pathLst>
            </a:custGeom>
            <a:gradFill flip="none" rotWithShape="1">
              <a:gsLst>
                <a:gs pos="100000">
                  <a:srgbClr val="4CB1FF"/>
                </a:gs>
                <a:gs pos="0">
                  <a:srgbClr val="89D2FF"/>
                </a:gs>
              </a:gsLst>
              <a:lin ang="2700000" scaled="1"/>
              <a:tileRect/>
            </a:gradFill>
            <a:ln w="9525" cap="flat">
              <a:noFill/>
              <a:prstDash val="solid"/>
              <a:miter/>
            </a:ln>
          </p:spPr>
          <p:txBody>
            <a:bodyPr rtlCol="0" anchor="ctr"/>
            <a:lstStyle/>
            <a:p>
              <a:pPr marL="0" marR="0" lvl="0" indent="0" algn="l" defTabSz="913578" rtl="0" eaLnBrk="1" fontAlgn="auto" latinLnBrk="0" hangingPunct="1">
                <a:lnSpc>
                  <a:spcPct val="100000"/>
                </a:lnSpc>
                <a:spcBef>
                  <a:spcPts val="0"/>
                </a:spcBef>
                <a:spcAft>
                  <a:spcPts val="0"/>
                </a:spcAft>
                <a:buClrTx/>
                <a:buSzTx/>
                <a:buFontTx/>
                <a:buNone/>
                <a:tabLst/>
                <a:defRPr/>
              </a:pPr>
              <a:endParaRPr kumimoji="0" lang="en-US" sz="17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259" name="Freeform: Shape 67">
              <a:extLst>
                <a:ext uri="{FF2B5EF4-FFF2-40B4-BE49-F238E27FC236}">
                  <a16:creationId xmlns:a16="http://schemas.microsoft.com/office/drawing/2014/main" id="{CAD88D57-7AFE-3752-496B-3A81CE30F14E}"/>
                </a:ext>
              </a:extLst>
            </p:cNvPr>
            <p:cNvSpPr/>
            <p:nvPr/>
          </p:nvSpPr>
          <p:spPr>
            <a:xfrm>
              <a:off x="6081713" y="3216492"/>
              <a:ext cx="3006747" cy="1552064"/>
            </a:xfrm>
            <a:custGeom>
              <a:avLst/>
              <a:gdLst>
                <a:gd name="connsiteX0" fmla="*/ 0 w 2261997"/>
                <a:gd name="connsiteY0" fmla="*/ 1130998 h 1130998"/>
                <a:gd name="connsiteX1" fmla="*/ 1130998 w 2261997"/>
                <a:gd name="connsiteY1" fmla="*/ 0 h 1130998"/>
                <a:gd name="connsiteX2" fmla="*/ 2261997 w 2261997"/>
                <a:gd name="connsiteY2" fmla="*/ 1130998 h 1130998"/>
              </a:gdLst>
              <a:ahLst/>
              <a:cxnLst>
                <a:cxn ang="0">
                  <a:pos x="connsiteX0" y="connsiteY0"/>
                </a:cxn>
                <a:cxn ang="0">
                  <a:pos x="connsiteX1" y="connsiteY1"/>
                </a:cxn>
                <a:cxn ang="0">
                  <a:pos x="connsiteX2" y="connsiteY2"/>
                </a:cxn>
              </a:cxnLst>
              <a:rect l="l" t="t" r="r" b="b"/>
              <a:pathLst>
                <a:path w="2261997" h="1130998">
                  <a:moveTo>
                    <a:pt x="0" y="1130998"/>
                  </a:moveTo>
                  <a:cubicBezTo>
                    <a:pt x="0" y="506349"/>
                    <a:pt x="506349" y="0"/>
                    <a:pt x="1130998" y="0"/>
                  </a:cubicBezTo>
                  <a:cubicBezTo>
                    <a:pt x="1755648" y="0"/>
                    <a:pt x="2261997" y="506349"/>
                    <a:pt x="2261997" y="1130998"/>
                  </a:cubicBezTo>
                </a:path>
              </a:pathLst>
            </a:custGeom>
            <a:noFill/>
            <a:ln w="12700" cap="flat">
              <a:solidFill>
                <a:srgbClr val="FFFFFF"/>
              </a:solidFill>
              <a:prstDash val="solid"/>
              <a:miter/>
            </a:ln>
          </p:spPr>
          <p:txBody>
            <a:bodyPr rtlCol="0" anchor="ctr"/>
            <a:lstStyle/>
            <a:p>
              <a:pPr marL="0" marR="0" lvl="0" indent="0" algn="l" defTabSz="913578" rtl="0" eaLnBrk="1" fontAlgn="auto" latinLnBrk="0" hangingPunct="1">
                <a:lnSpc>
                  <a:spcPct val="100000"/>
                </a:lnSpc>
                <a:spcBef>
                  <a:spcPts val="0"/>
                </a:spcBef>
                <a:spcAft>
                  <a:spcPts val="0"/>
                </a:spcAft>
                <a:buClrTx/>
                <a:buSzTx/>
                <a:buFontTx/>
                <a:buNone/>
                <a:tabLst/>
                <a:defRPr/>
              </a:pPr>
              <a:endParaRPr kumimoji="0" lang="en-US" sz="17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260" name="Freeform: Shape 71">
              <a:extLst>
                <a:ext uri="{FF2B5EF4-FFF2-40B4-BE49-F238E27FC236}">
                  <a16:creationId xmlns:a16="http://schemas.microsoft.com/office/drawing/2014/main" id="{2FDB9A34-1E3E-4026-170D-F4717706BA0A}"/>
                </a:ext>
              </a:extLst>
            </p:cNvPr>
            <p:cNvSpPr/>
            <p:nvPr/>
          </p:nvSpPr>
          <p:spPr>
            <a:xfrm>
              <a:off x="6495728" y="3643919"/>
              <a:ext cx="2178714" cy="1124639"/>
            </a:xfrm>
            <a:custGeom>
              <a:avLst/>
              <a:gdLst>
                <a:gd name="connsiteX0" fmla="*/ 1639062 w 1639062"/>
                <a:gd name="connsiteY0" fmla="*/ 819531 h 819531"/>
                <a:gd name="connsiteX1" fmla="*/ 819531 w 1639062"/>
                <a:gd name="connsiteY1" fmla="*/ 0 h 819531"/>
                <a:gd name="connsiteX2" fmla="*/ 0 w 1639062"/>
                <a:gd name="connsiteY2" fmla="*/ 819531 h 819531"/>
                <a:gd name="connsiteX3" fmla="*/ 1639062 w 1639062"/>
                <a:gd name="connsiteY3" fmla="*/ 819531 h 819531"/>
              </a:gdLst>
              <a:ahLst/>
              <a:cxnLst>
                <a:cxn ang="0">
                  <a:pos x="connsiteX0" y="connsiteY0"/>
                </a:cxn>
                <a:cxn ang="0">
                  <a:pos x="connsiteX1" y="connsiteY1"/>
                </a:cxn>
                <a:cxn ang="0">
                  <a:pos x="connsiteX2" y="connsiteY2"/>
                </a:cxn>
                <a:cxn ang="0">
                  <a:pos x="connsiteX3" y="connsiteY3"/>
                </a:cxn>
              </a:cxnLst>
              <a:rect l="l" t="t" r="r" b="b"/>
              <a:pathLst>
                <a:path w="1639062" h="819531">
                  <a:moveTo>
                    <a:pt x="1639062" y="819531"/>
                  </a:moveTo>
                  <a:cubicBezTo>
                    <a:pt x="1639062" y="366903"/>
                    <a:pt x="1272159" y="0"/>
                    <a:pt x="819531" y="0"/>
                  </a:cubicBezTo>
                  <a:cubicBezTo>
                    <a:pt x="366903" y="0"/>
                    <a:pt x="0" y="366903"/>
                    <a:pt x="0" y="819531"/>
                  </a:cubicBezTo>
                  <a:lnTo>
                    <a:pt x="1639062" y="819531"/>
                  </a:lnTo>
                  <a:close/>
                </a:path>
              </a:pathLst>
            </a:custGeom>
            <a:gradFill>
              <a:gsLst>
                <a:gs pos="0">
                  <a:srgbClr val="4394FF"/>
                </a:gs>
                <a:gs pos="50000">
                  <a:srgbClr val="2374F5"/>
                </a:gs>
                <a:gs pos="100000">
                  <a:srgbClr val="0B5CDD"/>
                </a:gs>
              </a:gsLst>
              <a:lin ang="712447" scaled="1"/>
            </a:gradFill>
            <a:ln w="9525" cap="flat">
              <a:noFill/>
              <a:prstDash val="solid"/>
              <a:miter/>
            </a:ln>
          </p:spPr>
          <p:txBody>
            <a:bodyPr rtlCol="0" anchor="ctr"/>
            <a:lstStyle/>
            <a:p>
              <a:pPr marL="0" marR="0" lvl="0" indent="0" algn="l" defTabSz="913578" rtl="0" eaLnBrk="1" fontAlgn="auto" latinLnBrk="0" hangingPunct="1">
                <a:lnSpc>
                  <a:spcPct val="100000"/>
                </a:lnSpc>
                <a:spcBef>
                  <a:spcPts val="0"/>
                </a:spcBef>
                <a:spcAft>
                  <a:spcPts val="0"/>
                </a:spcAft>
                <a:buClrTx/>
                <a:buSzTx/>
                <a:buFontTx/>
                <a:buNone/>
                <a:tabLst/>
                <a:defRPr/>
              </a:pPr>
              <a:endParaRPr kumimoji="0" lang="en-US" sz="17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261" name="Freeform: Shape 86">
              <a:extLst>
                <a:ext uri="{FF2B5EF4-FFF2-40B4-BE49-F238E27FC236}">
                  <a16:creationId xmlns:a16="http://schemas.microsoft.com/office/drawing/2014/main" id="{401F1B32-9016-990B-9383-BDB3BFF2A77C}"/>
                </a:ext>
              </a:extLst>
            </p:cNvPr>
            <p:cNvSpPr/>
            <p:nvPr/>
          </p:nvSpPr>
          <p:spPr>
            <a:xfrm>
              <a:off x="6495728" y="3643919"/>
              <a:ext cx="2178714" cy="1124639"/>
            </a:xfrm>
            <a:custGeom>
              <a:avLst/>
              <a:gdLst>
                <a:gd name="connsiteX0" fmla="*/ 0 w 1639062"/>
                <a:gd name="connsiteY0" fmla="*/ 819531 h 819531"/>
                <a:gd name="connsiteX1" fmla="*/ 819531 w 1639062"/>
                <a:gd name="connsiteY1" fmla="*/ 0 h 819531"/>
                <a:gd name="connsiteX2" fmla="*/ 1639062 w 1639062"/>
                <a:gd name="connsiteY2" fmla="*/ 819531 h 819531"/>
              </a:gdLst>
              <a:ahLst/>
              <a:cxnLst>
                <a:cxn ang="0">
                  <a:pos x="connsiteX0" y="connsiteY0"/>
                </a:cxn>
                <a:cxn ang="0">
                  <a:pos x="connsiteX1" y="connsiteY1"/>
                </a:cxn>
                <a:cxn ang="0">
                  <a:pos x="connsiteX2" y="connsiteY2"/>
                </a:cxn>
              </a:cxnLst>
              <a:rect l="l" t="t" r="r" b="b"/>
              <a:pathLst>
                <a:path w="1639062" h="819531">
                  <a:moveTo>
                    <a:pt x="0" y="819531"/>
                  </a:moveTo>
                  <a:cubicBezTo>
                    <a:pt x="0" y="366903"/>
                    <a:pt x="366903" y="0"/>
                    <a:pt x="819531" y="0"/>
                  </a:cubicBezTo>
                  <a:cubicBezTo>
                    <a:pt x="1272159" y="0"/>
                    <a:pt x="1639062" y="366903"/>
                    <a:pt x="1639062" y="819531"/>
                  </a:cubicBezTo>
                </a:path>
              </a:pathLst>
            </a:custGeom>
            <a:noFill/>
            <a:ln w="12700" cap="flat">
              <a:solidFill>
                <a:srgbClr val="FFFFFF"/>
              </a:solidFill>
              <a:prstDash val="solid"/>
              <a:miter/>
            </a:ln>
          </p:spPr>
          <p:txBody>
            <a:bodyPr rtlCol="0" anchor="ctr"/>
            <a:lstStyle/>
            <a:p>
              <a:pPr marL="0" marR="0" lvl="0" indent="0" algn="l" defTabSz="913578" rtl="0" eaLnBrk="1" fontAlgn="auto" latinLnBrk="0" hangingPunct="1">
                <a:lnSpc>
                  <a:spcPct val="100000"/>
                </a:lnSpc>
                <a:spcBef>
                  <a:spcPts val="0"/>
                </a:spcBef>
                <a:spcAft>
                  <a:spcPts val="0"/>
                </a:spcAft>
                <a:buClrTx/>
                <a:buSzTx/>
                <a:buFontTx/>
                <a:buNone/>
                <a:tabLst/>
                <a:defRPr/>
              </a:pPr>
              <a:endParaRPr kumimoji="0" lang="en-US" sz="17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262" name="Freeform: Shape 87">
              <a:extLst>
                <a:ext uri="{FF2B5EF4-FFF2-40B4-BE49-F238E27FC236}">
                  <a16:creationId xmlns:a16="http://schemas.microsoft.com/office/drawing/2014/main" id="{C9DCD720-AB00-BBF7-4235-49179FAC104C}"/>
                </a:ext>
              </a:extLst>
            </p:cNvPr>
            <p:cNvSpPr/>
            <p:nvPr/>
          </p:nvSpPr>
          <p:spPr>
            <a:xfrm>
              <a:off x="4746225" y="1837750"/>
              <a:ext cx="5677723" cy="2930806"/>
            </a:xfrm>
            <a:custGeom>
              <a:avLst/>
              <a:gdLst>
                <a:gd name="connsiteX0" fmla="*/ 0 w 4271391"/>
                <a:gd name="connsiteY0" fmla="*/ 2135696 h 2135695"/>
                <a:gd name="connsiteX1" fmla="*/ 2135696 w 4271391"/>
                <a:gd name="connsiteY1" fmla="*/ 0 h 2135695"/>
                <a:gd name="connsiteX2" fmla="*/ 4271391 w 4271391"/>
                <a:gd name="connsiteY2" fmla="*/ 2135696 h 2135695"/>
              </a:gdLst>
              <a:ahLst/>
              <a:cxnLst>
                <a:cxn ang="0">
                  <a:pos x="connsiteX0" y="connsiteY0"/>
                </a:cxn>
                <a:cxn ang="0">
                  <a:pos x="connsiteX1" y="connsiteY1"/>
                </a:cxn>
                <a:cxn ang="0">
                  <a:pos x="connsiteX2" y="connsiteY2"/>
                </a:cxn>
              </a:cxnLst>
              <a:rect l="l" t="t" r="r" b="b"/>
              <a:pathLst>
                <a:path w="4271391" h="2135695">
                  <a:moveTo>
                    <a:pt x="0" y="2135696"/>
                  </a:moveTo>
                  <a:cubicBezTo>
                    <a:pt x="0" y="956215"/>
                    <a:pt x="956215" y="0"/>
                    <a:pt x="2135696" y="0"/>
                  </a:cubicBezTo>
                  <a:cubicBezTo>
                    <a:pt x="3315176" y="0"/>
                    <a:pt x="4271391" y="956215"/>
                    <a:pt x="4271391" y="2135696"/>
                  </a:cubicBezTo>
                </a:path>
              </a:pathLst>
            </a:custGeom>
            <a:noFill/>
            <a:ln w="12700" cap="flat">
              <a:solidFill>
                <a:srgbClr val="FFFFFF"/>
              </a:solidFill>
              <a:prstDash val="solid"/>
              <a:miter/>
            </a:ln>
          </p:spPr>
          <p:txBody>
            <a:bodyPr rtlCol="0" anchor="ctr"/>
            <a:lstStyle/>
            <a:p>
              <a:pPr marL="0" marR="0" lvl="0" indent="0" algn="l" defTabSz="913578" rtl="0" eaLnBrk="1" fontAlgn="auto" latinLnBrk="0" hangingPunct="1">
                <a:lnSpc>
                  <a:spcPct val="100000"/>
                </a:lnSpc>
                <a:spcBef>
                  <a:spcPts val="0"/>
                </a:spcBef>
                <a:spcAft>
                  <a:spcPts val="0"/>
                </a:spcAft>
                <a:buClrTx/>
                <a:buSzTx/>
                <a:buFontTx/>
                <a:buNone/>
                <a:tabLst/>
                <a:defRPr/>
              </a:pPr>
              <a:endParaRPr kumimoji="0" lang="en-US" sz="17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263" name="Freeform: Shape 88">
              <a:extLst>
                <a:ext uri="{FF2B5EF4-FFF2-40B4-BE49-F238E27FC236}">
                  <a16:creationId xmlns:a16="http://schemas.microsoft.com/office/drawing/2014/main" id="{7F49F6FE-68A2-01E3-0D3A-1C9EFCB3BA3E}"/>
                </a:ext>
              </a:extLst>
            </p:cNvPr>
            <p:cNvSpPr/>
            <p:nvPr/>
          </p:nvSpPr>
          <p:spPr>
            <a:xfrm>
              <a:off x="8773833" y="1186024"/>
              <a:ext cx="2442823" cy="3053544"/>
            </a:xfrm>
            <a:custGeom>
              <a:avLst/>
              <a:gdLst>
                <a:gd name="connsiteX0" fmla="*/ 0 w 1837753"/>
                <a:gd name="connsiteY0" fmla="*/ 0 h 2225135"/>
                <a:gd name="connsiteX1" fmla="*/ 1837754 w 1837753"/>
                <a:gd name="connsiteY1" fmla="*/ 2225135 h 2225135"/>
              </a:gdLst>
              <a:ahLst/>
              <a:cxnLst>
                <a:cxn ang="0">
                  <a:pos x="connsiteX0" y="connsiteY0"/>
                </a:cxn>
                <a:cxn ang="0">
                  <a:pos x="connsiteX1" y="connsiteY1"/>
                </a:cxn>
              </a:cxnLst>
              <a:rect l="l" t="t" r="r" b="b"/>
              <a:pathLst>
                <a:path w="1837753" h="2225135">
                  <a:moveTo>
                    <a:pt x="0" y="0"/>
                  </a:moveTo>
                  <a:cubicBezTo>
                    <a:pt x="967454" y="331375"/>
                    <a:pt x="1692307" y="1185386"/>
                    <a:pt x="1837754" y="2225135"/>
                  </a:cubicBezTo>
                </a:path>
              </a:pathLst>
            </a:custGeom>
            <a:noFill/>
            <a:ln w="12700" cap="flat">
              <a:solidFill>
                <a:srgbClr val="AFBAC1"/>
              </a:solidFill>
              <a:prstDash val="solid"/>
              <a:miter/>
            </a:ln>
          </p:spPr>
          <p:txBody>
            <a:bodyPr rtlCol="0" anchor="ctr"/>
            <a:lstStyle/>
            <a:p>
              <a:pPr marL="0" marR="0" lvl="0" indent="0" algn="l" defTabSz="913578" rtl="0" eaLnBrk="1" fontAlgn="auto" latinLnBrk="0" hangingPunct="1">
                <a:lnSpc>
                  <a:spcPct val="100000"/>
                </a:lnSpc>
                <a:spcBef>
                  <a:spcPts val="0"/>
                </a:spcBef>
                <a:spcAft>
                  <a:spcPts val="0"/>
                </a:spcAft>
                <a:buClrTx/>
                <a:buSzTx/>
                <a:buFontTx/>
                <a:buNone/>
                <a:tabLst/>
                <a:defRPr/>
              </a:pPr>
              <a:endParaRPr kumimoji="0" lang="en-US" sz="17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264" name="Freeform: Shape 89">
              <a:extLst>
                <a:ext uri="{FF2B5EF4-FFF2-40B4-BE49-F238E27FC236}">
                  <a16:creationId xmlns:a16="http://schemas.microsoft.com/office/drawing/2014/main" id="{9238DB33-F18D-AF39-B58C-51ECF1E75B2D}"/>
                </a:ext>
              </a:extLst>
            </p:cNvPr>
            <p:cNvSpPr/>
            <p:nvPr/>
          </p:nvSpPr>
          <p:spPr>
            <a:xfrm>
              <a:off x="3953262" y="1186024"/>
              <a:ext cx="2442823" cy="3053544"/>
            </a:xfrm>
            <a:custGeom>
              <a:avLst/>
              <a:gdLst>
                <a:gd name="connsiteX0" fmla="*/ 0 w 1837753"/>
                <a:gd name="connsiteY0" fmla="*/ 2225135 h 2225135"/>
                <a:gd name="connsiteX1" fmla="*/ 1837754 w 1837753"/>
                <a:gd name="connsiteY1" fmla="*/ 0 h 2225135"/>
              </a:gdLst>
              <a:ahLst/>
              <a:cxnLst>
                <a:cxn ang="0">
                  <a:pos x="connsiteX0" y="connsiteY0"/>
                </a:cxn>
                <a:cxn ang="0">
                  <a:pos x="connsiteX1" y="connsiteY1"/>
                </a:cxn>
              </a:cxnLst>
              <a:rect l="l" t="t" r="r" b="b"/>
              <a:pathLst>
                <a:path w="1837753" h="2225135">
                  <a:moveTo>
                    <a:pt x="0" y="2225135"/>
                  </a:moveTo>
                  <a:cubicBezTo>
                    <a:pt x="145352" y="1185386"/>
                    <a:pt x="870299" y="331375"/>
                    <a:pt x="1837754" y="0"/>
                  </a:cubicBezTo>
                </a:path>
              </a:pathLst>
            </a:custGeom>
            <a:noFill/>
            <a:ln w="12700" cap="flat">
              <a:solidFill>
                <a:srgbClr val="AFBAC1"/>
              </a:solidFill>
              <a:prstDash val="solid"/>
              <a:miter/>
            </a:ln>
          </p:spPr>
          <p:txBody>
            <a:bodyPr rtlCol="0" anchor="ctr"/>
            <a:lstStyle/>
            <a:p>
              <a:pPr marL="0" marR="0" lvl="0" indent="0" algn="l" defTabSz="913578" rtl="0" eaLnBrk="1" fontAlgn="auto" latinLnBrk="0" hangingPunct="1">
                <a:lnSpc>
                  <a:spcPct val="100000"/>
                </a:lnSpc>
                <a:spcBef>
                  <a:spcPts val="0"/>
                </a:spcBef>
                <a:spcAft>
                  <a:spcPts val="0"/>
                </a:spcAft>
                <a:buClrTx/>
                <a:buSzTx/>
                <a:buFontTx/>
                <a:buNone/>
                <a:tabLst/>
                <a:defRPr/>
              </a:pPr>
              <a:endParaRPr kumimoji="0" lang="en-US" sz="17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265" name="Freeform: Shape 90">
              <a:extLst>
                <a:ext uri="{FF2B5EF4-FFF2-40B4-BE49-F238E27FC236}">
                  <a16:creationId xmlns:a16="http://schemas.microsoft.com/office/drawing/2014/main" id="{47C90E18-2EAB-4FBF-0C74-6DF60AFB6597}"/>
                </a:ext>
              </a:extLst>
            </p:cNvPr>
            <p:cNvSpPr/>
            <p:nvPr/>
          </p:nvSpPr>
          <p:spPr>
            <a:xfrm>
              <a:off x="6171860" y="2226093"/>
              <a:ext cx="648624" cy="1205941"/>
            </a:xfrm>
            <a:custGeom>
              <a:avLst/>
              <a:gdLst>
                <a:gd name="connsiteX0" fmla="*/ 487966 w 487965"/>
                <a:gd name="connsiteY0" fmla="*/ 878777 h 878776"/>
                <a:gd name="connsiteX1" fmla="*/ 0 w 487965"/>
                <a:gd name="connsiteY1" fmla="*/ 0 h 878776"/>
              </a:gdLst>
              <a:ahLst/>
              <a:cxnLst>
                <a:cxn ang="0">
                  <a:pos x="connsiteX0" y="connsiteY0"/>
                </a:cxn>
                <a:cxn ang="0">
                  <a:pos x="connsiteX1" y="connsiteY1"/>
                </a:cxn>
              </a:cxnLst>
              <a:rect l="l" t="t" r="r" b="b"/>
              <a:pathLst>
                <a:path w="487965" h="878776">
                  <a:moveTo>
                    <a:pt x="487966" y="878777"/>
                  </a:moveTo>
                  <a:lnTo>
                    <a:pt x="0" y="0"/>
                  </a:lnTo>
                </a:path>
              </a:pathLst>
            </a:custGeom>
            <a:ln w="12700" cap="flat">
              <a:solidFill>
                <a:srgbClr val="FFFFFF"/>
              </a:solidFill>
              <a:prstDash val="solid"/>
              <a:miter/>
            </a:ln>
          </p:spPr>
          <p:txBody>
            <a:bodyPr rtlCol="0" anchor="ctr"/>
            <a:lstStyle/>
            <a:p>
              <a:pPr marL="0" marR="0" lvl="0" indent="0" algn="l" defTabSz="913578" rtl="0" eaLnBrk="1" fontAlgn="auto" latinLnBrk="0" hangingPunct="1">
                <a:lnSpc>
                  <a:spcPct val="100000"/>
                </a:lnSpc>
                <a:spcBef>
                  <a:spcPts val="0"/>
                </a:spcBef>
                <a:spcAft>
                  <a:spcPts val="0"/>
                </a:spcAft>
                <a:buClrTx/>
                <a:buSzTx/>
                <a:buFontTx/>
                <a:buNone/>
                <a:tabLst/>
                <a:defRPr/>
              </a:pPr>
              <a:endParaRPr kumimoji="0" lang="en-US" sz="17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266" name="Freeform: Shape 91">
              <a:extLst>
                <a:ext uri="{FF2B5EF4-FFF2-40B4-BE49-F238E27FC236}">
                  <a16:creationId xmlns:a16="http://schemas.microsoft.com/office/drawing/2014/main" id="{0014EEAC-11B1-B646-3094-949EE7ED73C1}"/>
                </a:ext>
              </a:extLst>
            </p:cNvPr>
            <p:cNvSpPr/>
            <p:nvPr/>
          </p:nvSpPr>
          <p:spPr>
            <a:xfrm>
              <a:off x="8333228" y="2234982"/>
              <a:ext cx="679265" cy="1187248"/>
            </a:xfrm>
            <a:custGeom>
              <a:avLst/>
              <a:gdLst>
                <a:gd name="connsiteX0" fmla="*/ 0 w 511016"/>
                <a:gd name="connsiteY0" fmla="*/ 865156 h 865155"/>
                <a:gd name="connsiteX1" fmla="*/ 511016 w 511016"/>
                <a:gd name="connsiteY1" fmla="*/ 0 h 865155"/>
              </a:gdLst>
              <a:ahLst/>
              <a:cxnLst>
                <a:cxn ang="0">
                  <a:pos x="connsiteX0" y="connsiteY0"/>
                </a:cxn>
                <a:cxn ang="0">
                  <a:pos x="connsiteX1" y="connsiteY1"/>
                </a:cxn>
              </a:cxnLst>
              <a:rect l="l" t="t" r="r" b="b"/>
              <a:pathLst>
                <a:path w="511016" h="865155">
                  <a:moveTo>
                    <a:pt x="0" y="865156"/>
                  </a:moveTo>
                  <a:lnTo>
                    <a:pt x="511016" y="0"/>
                  </a:lnTo>
                </a:path>
              </a:pathLst>
            </a:custGeom>
            <a:ln w="12700" cap="flat">
              <a:solidFill>
                <a:srgbClr val="FFFFFF"/>
              </a:solidFill>
              <a:prstDash val="solid"/>
              <a:miter/>
            </a:ln>
          </p:spPr>
          <p:txBody>
            <a:bodyPr rtlCol="0" anchor="ctr"/>
            <a:lstStyle/>
            <a:p>
              <a:pPr marL="0" marR="0" lvl="0" indent="0" algn="l" defTabSz="913578" rtl="0" eaLnBrk="1" fontAlgn="auto" latinLnBrk="0" hangingPunct="1">
                <a:lnSpc>
                  <a:spcPct val="100000"/>
                </a:lnSpc>
                <a:spcBef>
                  <a:spcPts val="0"/>
                </a:spcBef>
                <a:spcAft>
                  <a:spcPts val="0"/>
                </a:spcAft>
                <a:buClrTx/>
                <a:buSzTx/>
                <a:buFontTx/>
                <a:buNone/>
                <a:tabLst/>
                <a:defRPr/>
              </a:pPr>
              <a:endParaRPr kumimoji="0" lang="en-US" sz="17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grpSp>
          <p:nvGrpSpPr>
            <p:cNvPr id="267" name="Graphic 2">
              <a:extLst>
                <a:ext uri="{FF2B5EF4-FFF2-40B4-BE49-F238E27FC236}">
                  <a16:creationId xmlns:a16="http://schemas.microsoft.com/office/drawing/2014/main" id="{810905A3-BDF7-0372-1A39-7945100376D6}"/>
                </a:ext>
              </a:extLst>
            </p:cNvPr>
            <p:cNvGrpSpPr/>
            <p:nvPr/>
          </p:nvGrpSpPr>
          <p:grpSpPr>
            <a:xfrm>
              <a:off x="5787637" y="4989771"/>
              <a:ext cx="3596139" cy="251093"/>
              <a:chOff x="4745259" y="5054155"/>
              <a:chExt cx="2705386" cy="182975"/>
            </a:xfrm>
            <a:solidFill>
              <a:srgbClr val="FFFFFF"/>
            </a:solidFill>
          </p:grpSpPr>
          <p:sp>
            <p:nvSpPr>
              <p:cNvPr id="445" name="Freeform: Shape 270">
                <a:extLst>
                  <a:ext uri="{FF2B5EF4-FFF2-40B4-BE49-F238E27FC236}">
                    <a16:creationId xmlns:a16="http://schemas.microsoft.com/office/drawing/2014/main" id="{7FC5E936-7BC7-73D4-3450-F44A8D9E485C}"/>
                  </a:ext>
                </a:extLst>
              </p:cNvPr>
              <p:cNvSpPr/>
              <p:nvPr/>
            </p:nvSpPr>
            <p:spPr>
              <a:xfrm>
                <a:off x="4745259" y="5066347"/>
                <a:ext cx="107632" cy="131064"/>
              </a:xfrm>
              <a:custGeom>
                <a:avLst/>
                <a:gdLst>
                  <a:gd name="connsiteX0" fmla="*/ 0 w 107632"/>
                  <a:gd name="connsiteY0" fmla="*/ 0 h 131064"/>
                  <a:gd name="connsiteX1" fmla="*/ 55245 w 107632"/>
                  <a:gd name="connsiteY1" fmla="*/ 0 h 131064"/>
                  <a:gd name="connsiteX2" fmla="*/ 91345 w 107632"/>
                  <a:gd name="connsiteY2" fmla="*/ 8192 h 131064"/>
                  <a:gd name="connsiteX3" fmla="*/ 103822 w 107632"/>
                  <a:gd name="connsiteY3" fmla="*/ 32861 h 131064"/>
                  <a:gd name="connsiteX4" fmla="*/ 97536 w 107632"/>
                  <a:gd name="connsiteY4" fmla="*/ 51816 h 131064"/>
                  <a:gd name="connsiteX5" fmla="*/ 78867 w 107632"/>
                  <a:gd name="connsiteY5" fmla="*/ 62103 h 131064"/>
                  <a:gd name="connsiteX6" fmla="*/ 100203 w 107632"/>
                  <a:gd name="connsiteY6" fmla="*/ 72104 h 131064"/>
                  <a:gd name="connsiteX7" fmla="*/ 107632 w 107632"/>
                  <a:gd name="connsiteY7" fmla="*/ 93726 h 131064"/>
                  <a:gd name="connsiteX8" fmla="*/ 100965 w 107632"/>
                  <a:gd name="connsiteY8" fmla="*/ 114776 h 131064"/>
                  <a:gd name="connsiteX9" fmla="*/ 82868 w 107632"/>
                  <a:gd name="connsiteY9" fmla="*/ 127063 h 131064"/>
                  <a:gd name="connsiteX10" fmla="*/ 57055 w 107632"/>
                  <a:gd name="connsiteY10" fmla="*/ 131064 h 131064"/>
                  <a:gd name="connsiteX11" fmla="*/ 0 w 107632"/>
                  <a:gd name="connsiteY11" fmla="*/ 131064 h 131064"/>
                  <a:gd name="connsiteX12" fmla="*/ 0 w 107632"/>
                  <a:gd name="connsiteY12" fmla="*/ 0 h 131064"/>
                  <a:gd name="connsiteX13" fmla="*/ 52197 w 107632"/>
                  <a:gd name="connsiteY13" fmla="*/ 52006 h 131064"/>
                  <a:gd name="connsiteX14" fmla="*/ 70390 w 107632"/>
                  <a:gd name="connsiteY14" fmla="*/ 48196 h 131064"/>
                  <a:gd name="connsiteX15" fmla="*/ 76200 w 107632"/>
                  <a:gd name="connsiteY15" fmla="*/ 36576 h 131064"/>
                  <a:gd name="connsiteX16" fmla="*/ 70675 w 107632"/>
                  <a:gd name="connsiteY16" fmla="*/ 24955 h 131064"/>
                  <a:gd name="connsiteX17" fmla="*/ 53912 w 107632"/>
                  <a:gd name="connsiteY17" fmla="*/ 21431 h 131064"/>
                  <a:gd name="connsiteX18" fmla="*/ 27432 w 107632"/>
                  <a:gd name="connsiteY18" fmla="*/ 21431 h 131064"/>
                  <a:gd name="connsiteX19" fmla="*/ 27432 w 107632"/>
                  <a:gd name="connsiteY19" fmla="*/ 51911 h 131064"/>
                  <a:gd name="connsiteX20" fmla="*/ 52197 w 107632"/>
                  <a:gd name="connsiteY20" fmla="*/ 51911 h 131064"/>
                  <a:gd name="connsiteX21" fmla="*/ 54673 w 107632"/>
                  <a:gd name="connsiteY21" fmla="*/ 109442 h 131064"/>
                  <a:gd name="connsiteX22" fmla="*/ 73247 w 107632"/>
                  <a:gd name="connsiteY22" fmla="*/ 105442 h 131064"/>
                  <a:gd name="connsiteX23" fmla="*/ 79915 w 107632"/>
                  <a:gd name="connsiteY23" fmla="*/ 91535 h 131064"/>
                  <a:gd name="connsiteX24" fmla="*/ 73343 w 107632"/>
                  <a:gd name="connsiteY24" fmla="*/ 78105 h 131064"/>
                  <a:gd name="connsiteX25" fmla="*/ 55531 w 107632"/>
                  <a:gd name="connsiteY25" fmla="*/ 74104 h 131064"/>
                  <a:gd name="connsiteX26" fmla="*/ 27337 w 107632"/>
                  <a:gd name="connsiteY26" fmla="*/ 74104 h 131064"/>
                  <a:gd name="connsiteX27" fmla="*/ 27337 w 107632"/>
                  <a:gd name="connsiteY27" fmla="*/ 109538 h 131064"/>
                  <a:gd name="connsiteX28" fmla="*/ 54578 w 107632"/>
                  <a:gd name="connsiteY28" fmla="*/ 109538 h 131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7632" h="131064">
                    <a:moveTo>
                      <a:pt x="0" y="0"/>
                    </a:moveTo>
                    <a:lnTo>
                      <a:pt x="55245" y="0"/>
                    </a:lnTo>
                    <a:cubicBezTo>
                      <a:pt x="70961" y="0"/>
                      <a:pt x="83058" y="2762"/>
                      <a:pt x="91345" y="8192"/>
                    </a:cubicBezTo>
                    <a:cubicBezTo>
                      <a:pt x="99631" y="13621"/>
                      <a:pt x="103822" y="21908"/>
                      <a:pt x="103822" y="32861"/>
                    </a:cubicBezTo>
                    <a:cubicBezTo>
                      <a:pt x="103822" y="40386"/>
                      <a:pt x="101727" y="46768"/>
                      <a:pt x="97536" y="51816"/>
                    </a:cubicBezTo>
                    <a:cubicBezTo>
                      <a:pt x="93345" y="56864"/>
                      <a:pt x="87154" y="60293"/>
                      <a:pt x="78867" y="62103"/>
                    </a:cubicBezTo>
                    <a:cubicBezTo>
                      <a:pt x="88106" y="63341"/>
                      <a:pt x="95250" y="66675"/>
                      <a:pt x="100203" y="72104"/>
                    </a:cubicBezTo>
                    <a:cubicBezTo>
                      <a:pt x="105156" y="77534"/>
                      <a:pt x="107632" y="84772"/>
                      <a:pt x="107632" y="93726"/>
                    </a:cubicBezTo>
                    <a:cubicBezTo>
                      <a:pt x="107632" y="102203"/>
                      <a:pt x="105442" y="109252"/>
                      <a:pt x="100965" y="114776"/>
                    </a:cubicBezTo>
                    <a:cubicBezTo>
                      <a:pt x="96488" y="120301"/>
                      <a:pt x="90488" y="124396"/>
                      <a:pt x="82868" y="127063"/>
                    </a:cubicBezTo>
                    <a:cubicBezTo>
                      <a:pt x="75247" y="129730"/>
                      <a:pt x="66675" y="131064"/>
                      <a:pt x="57055" y="131064"/>
                    </a:cubicBezTo>
                    <a:lnTo>
                      <a:pt x="0" y="131064"/>
                    </a:lnTo>
                    <a:lnTo>
                      <a:pt x="0" y="0"/>
                    </a:lnTo>
                    <a:close/>
                    <a:moveTo>
                      <a:pt x="52197" y="52006"/>
                    </a:moveTo>
                    <a:cubicBezTo>
                      <a:pt x="60484" y="52006"/>
                      <a:pt x="66580" y="50768"/>
                      <a:pt x="70390" y="48196"/>
                    </a:cubicBezTo>
                    <a:cubicBezTo>
                      <a:pt x="74200" y="45625"/>
                      <a:pt x="76200" y="41815"/>
                      <a:pt x="76200" y="36576"/>
                    </a:cubicBezTo>
                    <a:cubicBezTo>
                      <a:pt x="76200" y="31337"/>
                      <a:pt x="74390" y="27337"/>
                      <a:pt x="70675" y="24955"/>
                    </a:cubicBezTo>
                    <a:cubicBezTo>
                      <a:pt x="66961" y="22574"/>
                      <a:pt x="61436" y="21431"/>
                      <a:pt x="53912" y="21431"/>
                    </a:cubicBezTo>
                    <a:lnTo>
                      <a:pt x="27432" y="21431"/>
                    </a:lnTo>
                    <a:lnTo>
                      <a:pt x="27432" y="51911"/>
                    </a:lnTo>
                    <a:lnTo>
                      <a:pt x="52197" y="51911"/>
                    </a:lnTo>
                    <a:close/>
                    <a:moveTo>
                      <a:pt x="54673" y="109442"/>
                    </a:moveTo>
                    <a:cubicBezTo>
                      <a:pt x="62579" y="109442"/>
                      <a:pt x="68771" y="108109"/>
                      <a:pt x="73247" y="105442"/>
                    </a:cubicBezTo>
                    <a:cubicBezTo>
                      <a:pt x="77724" y="102775"/>
                      <a:pt x="79915" y="98108"/>
                      <a:pt x="79915" y="91535"/>
                    </a:cubicBezTo>
                    <a:cubicBezTo>
                      <a:pt x="79915" y="85249"/>
                      <a:pt x="77724" y="80772"/>
                      <a:pt x="73343" y="78105"/>
                    </a:cubicBezTo>
                    <a:cubicBezTo>
                      <a:pt x="68961" y="75438"/>
                      <a:pt x="63055" y="74104"/>
                      <a:pt x="55531" y="74104"/>
                    </a:cubicBezTo>
                    <a:lnTo>
                      <a:pt x="27337" y="74104"/>
                    </a:lnTo>
                    <a:lnTo>
                      <a:pt x="27337" y="109538"/>
                    </a:lnTo>
                    <a:lnTo>
                      <a:pt x="54578" y="109538"/>
                    </a:lnTo>
                    <a:close/>
                  </a:path>
                </a:pathLst>
              </a:custGeom>
              <a:solidFill>
                <a:srgbClr val="FFFFFF"/>
              </a:solidFill>
              <a:ln w="9525" cap="flat">
                <a:noFill/>
                <a:prstDash val="solid"/>
                <a:miter/>
              </a:ln>
            </p:spPr>
            <p:txBody>
              <a:bodyPr rtlCol="0" anchor="ctr"/>
              <a:lstStyle/>
              <a:p>
                <a:pPr marL="0" marR="0" lvl="0" indent="0" algn="l" defTabSz="913578" rtl="0" eaLnBrk="1" fontAlgn="auto" latinLnBrk="0" hangingPunct="1">
                  <a:lnSpc>
                    <a:spcPct val="100000"/>
                  </a:lnSpc>
                  <a:spcBef>
                    <a:spcPts val="0"/>
                  </a:spcBef>
                  <a:spcAft>
                    <a:spcPts val="0"/>
                  </a:spcAft>
                  <a:buClrTx/>
                  <a:buSzTx/>
                  <a:buFontTx/>
                  <a:buNone/>
                  <a:tabLst/>
                  <a:defRPr/>
                </a:pPr>
                <a:endParaRPr kumimoji="0" lang="en-US" sz="17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446" name="Freeform: Shape 271">
                <a:extLst>
                  <a:ext uri="{FF2B5EF4-FFF2-40B4-BE49-F238E27FC236}">
                    <a16:creationId xmlns:a16="http://schemas.microsoft.com/office/drawing/2014/main" id="{8F5C9A01-0856-5443-4513-4878D7DDBA59}"/>
                  </a:ext>
                </a:extLst>
              </p:cNvPr>
              <p:cNvSpPr/>
              <p:nvPr/>
            </p:nvSpPr>
            <p:spPr>
              <a:xfrm>
                <a:off x="4873371" y="5096922"/>
                <a:ext cx="91820" cy="102393"/>
              </a:xfrm>
              <a:custGeom>
                <a:avLst/>
                <a:gdLst>
                  <a:gd name="connsiteX0" fmla="*/ 7906 w 91820"/>
                  <a:gd name="connsiteY0" fmla="*/ 91916 h 102393"/>
                  <a:gd name="connsiteX1" fmla="*/ 0 w 91820"/>
                  <a:gd name="connsiteY1" fmla="*/ 63818 h 102393"/>
                  <a:gd name="connsiteX2" fmla="*/ 0 w 91820"/>
                  <a:gd name="connsiteY2" fmla="*/ 0 h 102393"/>
                  <a:gd name="connsiteX3" fmla="*/ 26098 w 91820"/>
                  <a:gd name="connsiteY3" fmla="*/ 0 h 102393"/>
                  <a:gd name="connsiteX4" fmla="*/ 26098 w 91820"/>
                  <a:gd name="connsiteY4" fmla="*/ 56388 h 102393"/>
                  <a:gd name="connsiteX5" fmla="*/ 29908 w 91820"/>
                  <a:gd name="connsiteY5" fmla="*/ 73819 h 102393"/>
                  <a:gd name="connsiteX6" fmla="*/ 43053 w 91820"/>
                  <a:gd name="connsiteY6" fmla="*/ 80010 h 102393"/>
                  <a:gd name="connsiteX7" fmla="*/ 54292 w 91820"/>
                  <a:gd name="connsiteY7" fmla="*/ 76676 h 102393"/>
                  <a:gd name="connsiteX8" fmla="*/ 62198 w 91820"/>
                  <a:gd name="connsiteY8" fmla="*/ 67437 h 102393"/>
                  <a:gd name="connsiteX9" fmla="*/ 65056 w 91820"/>
                  <a:gd name="connsiteY9" fmla="*/ 53816 h 102393"/>
                  <a:gd name="connsiteX10" fmla="*/ 65056 w 91820"/>
                  <a:gd name="connsiteY10" fmla="*/ 0 h 102393"/>
                  <a:gd name="connsiteX11" fmla="*/ 91154 w 91820"/>
                  <a:gd name="connsiteY11" fmla="*/ 0 h 102393"/>
                  <a:gd name="connsiteX12" fmla="*/ 91154 w 91820"/>
                  <a:gd name="connsiteY12" fmla="*/ 78010 h 102393"/>
                  <a:gd name="connsiteX13" fmla="*/ 91345 w 91820"/>
                  <a:gd name="connsiteY13" fmla="*/ 91154 h 102393"/>
                  <a:gd name="connsiteX14" fmla="*/ 91821 w 91820"/>
                  <a:gd name="connsiteY14" fmla="*/ 100489 h 102393"/>
                  <a:gd name="connsiteX15" fmla="*/ 66865 w 91820"/>
                  <a:gd name="connsiteY15" fmla="*/ 100489 h 102393"/>
                  <a:gd name="connsiteX16" fmla="*/ 66199 w 91820"/>
                  <a:gd name="connsiteY16" fmla="*/ 92107 h 102393"/>
                  <a:gd name="connsiteX17" fmla="*/ 65817 w 91820"/>
                  <a:gd name="connsiteY17" fmla="*/ 82391 h 102393"/>
                  <a:gd name="connsiteX18" fmla="*/ 65341 w 91820"/>
                  <a:gd name="connsiteY18" fmla="*/ 82391 h 102393"/>
                  <a:gd name="connsiteX19" fmla="*/ 52197 w 91820"/>
                  <a:gd name="connsiteY19" fmla="*/ 97536 h 102393"/>
                  <a:gd name="connsiteX20" fmla="*/ 32956 w 91820"/>
                  <a:gd name="connsiteY20" fmla="*/ 102394 h 102393"/>
                  <a:gd name="connsiteX21" fmla="*/ 7810 w 91820"/>
                  <a:gd name="connsiteY21" fmla="*/ 91916 h 102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91820" h="102393">
                    <a:moveTo>
                      <a:pt x="7906" y="91916"/>
                    </a:moveTo>
                    <a:cubicBezTo>
                      <a:pt x="2572" y="84963"/>
                      <a:pt x="0" y="75533"/>
                      <a:pt x="0" y="63818"/>
                    </a:cubicBezTo>
                    <a:lnTo>
                      <a:pt x="0" y="0"/>
                    </a:lnTo>
                    <a:lnTo>
                      <a:pt x="26098" y="0"/>
                    </a:lnTo>
                    <a:lnTo>
                      <a:pt x="26098" y="56388"/>
                    </a:lnTo>
                    <a:cubicBezTo>
                      <a:pt x="26098" y="63913"/>
                      <a:pt x="27337" y="69723"/>
                      <a:pt x="29908" y="73819"/>
                    </a:cubicBezTo>
                    <a:cubicBezTo>
                      <a:pt x="32480" y="77915"/>
                      <a:pt x="36862" y="80010"/>
                      <a:pt x="43053" y="80010"/>
                    </a:cubicBezTo>
                    <a:cubicBezTo>
                      <a:pt x="47244" y="80010"/>
                      <a:pt x="50959" y="78867"/>
                      <a:pt x="54292" y="76676"/>
                    </a:cubicBezTo>
                    <a:cubicBezTo>
                      <a:pt x="57626" y="74486"/>
                      <a:pt x="60293" y="71342"/>
                      <a:pt x="62198" y="67437"/>
                    </a:cubicBezTo>
                    <a:cubicBezTo>
                      <a:pt x="64103" y="63437"/>
                      <a:pt x="65056" y="58960"/>
                      <a:pt x="65056" y="53816"/>
                    </a:cubicBezTo>
                    <a:lnTo>
                      <a:pt x="65056" y="0"/>
                    </a:lnTo>
                    <a:lnTo>
                      <a:pt x="91154" y="0"/>
                    </a:lnTo>
                    <a:lnTo>
                      <a:pt x="91154" y="78010"/>
                    </a:lnTo>
                    <a:cubicBezTo>
                      <a:pt x="91154" y="82201"/>
                      <a:pt x="91154" y="86583"/>
                      <a:pt x="91345" y="91154"/>
                    </a:cubicBezTo>
                    <a:cubicBezTo>
                      <a:pt x="91535" y="95726"/>
                      <a:pt x="91630" y="98870"/>
                      <a:pt x="91821" y="100489"/>
                    </a:cubicBezTo>
                    <a:lnTo>
                      <a:pt x="66865" y="100489"/>
                    </a:lnTo>
                    <a:cubicBezTo>
                      <a:pt x="66675" y="98965"/>
                      <a:pt x="66484" y="96203"/>
                      <a:pt x="66199" y="92107"/>
                    </a:cubicBezTo>
                    <a:cubicBezTo>
                      <a:pt x="65913" y="88011"/>
                      <a:pt x="65817" y="84773"/>
                      <a:pt x="65817" y="82391"/>
                    </a:cubicBezTo>
                    <a:lnTo>
                      <a:pt x="65341" y="82391"/>
                    </a:lnTo>
                    <a:cubicBezTo>
                      <a:pt x="61913" y="89249"/>
                      <a:pt x="57531" y="94298"/>
                      <a:pt x="52197" y="97536"/>
                    </a:cubicBezTo>
                    <a:cubicBezTo>
                      <a:pt x="46863" y="100775"/>
                      <a:pt x="40386" y="102394"/>
                      <a:pt x="32956" y="102394"/>
                    </a:cubicBezTo>
                    <a:cubicBezTo>
                      <a:pt x="21526" y="102394"/>
                      <a:pt x="13144" y="98870"/>
                      <a:pt x="7810" y="91916"/>
                    </a:cubicBezTo>
                    <a:close/>
                  </a:path>
                </a:pathLst>
              </a:custGeom>
              <a:solidFill>
                <a:srgbClr val="FFFFFF"/>
              </a:solidFill>
              <a:ln w="9525" cap="flat">
                <a:noFill/>
                <a:prstDash val="solid"/>
                <a:miter/>
              </a:ln>
            </p:spPr>
            <p:txBody>
              <a:bodyPr rtlCol="0" anchor="ctr"/>
              <a:lstStyle/>
              <a:p>
                <a:pPr marL="0" marR="0" lvl="0" indent="0" algn="l" defTabSz="913578" rtl="0" eaLnBrk="1" fontAlgn="auto" latinLnBrk="0" hangingPunct="1">
                  <a:lnSpc>
                    <a:spcPct val="100000"/>
                  </a:lnSpc>
                  <a:spcBef>
                    <a:spcPts val="0"/>
                  </a:spcBef>
                  <a:spcAft>
                    <a:spcPts val="0"/>
                  </a:spcAft>
                  <a:buClrTx/>
                  <a:buSzTx/>
                  <a:buFontTx/>
                  <a:buNone/>
                  <a:tabLst/>
                  <a:defRPr/>
                </a:pPr>
                <a:endParaRPr kumimoji="0" lang="en-US" sz="17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447" name="Freeform: Shape 272">
                <a:extLst>
                  <a:ext uri="{FF2B5EF4-FFF2-40B4-BE49-F238E27FC236}">
                    <a16:creationId xmlns:a16="http://schemas.microsoft.com/office/drawing/2014/main" id="{07CAD8E2-88F3-0389-B9C7-FA391F678056}"/>
                  </a:ext>
                </a:extLst>
              </p:cNvPr>
              <p:cNvSpPr/>
              <p:nvPr/>
            </p:nvSpPr>
            <p:spPr>
              <a:xfrm>
                <a:off x="4982336" y="5095017"/>
                <a:ext cx="84105" cy="104393"/>
              </a:xfrm>
              <a:custGeom>
                <a:avLst/>
                <a:gdLst>
                  <a:gd name="connsiteX0" fmla="*/ 19526 w 84105"/>
                  <a:gd name="connsiteY0" fmla="*/ 100870 h 104393"/>
                  <a:gd name="connsiteX1" fmla="*/ 0 w 84105"/>
                  <a:gd name="connsiteY1" fmla="*/ 89916 h 104393"/>
                  <a:gd name="connsiteX2" fmla="*/ 11811 w 84105"/>
                  <a:gd name="connsiteY2" fmla="*/ 72009 h 104393"/>
                  <a:gd name="connsiteX3" fmla="*/ 27337 w 84105"/>
                  <a:gd name="connsiteY3" fmla="*/ 81629 h 104393"/>
                  <a:gd name="connsiteX4" fmla="*/ 42672 w 84105"/>
                  <a:gd name="connsiteY4" fmla="*/ 84868 h 104393"/>
                  <a:gd name="connsiteX5" fmla="*/ 55531 w 84105"/>
                  <a:gd name="connsiteY5" fmla="*/ 82772 h 104393"/>
                  <a:gd name="connsiteX6" fmla="*/ 60103 w 84105"/>
                  <a:gd name="connsiteY6" fmla="*/ 75247 h 104393"/>
                  <a:gd name="connsiteX7" fmla="*/ 57722 w 84105"/>
                  <a:gd name="connsiteY7" fmla="*/ 69056 h 104393"/>
                  <a:gd name="connsiteX8" fmla="*/ 51530 w 84105"/>
                  <a:gd name="connsiteY8" fmla="*/ 65437 h 104393"/>
                  <a:gd name="connsiteX9" fmla="*/ 40862 w 84105"/>
                  <a:gd name="connsiteY9" fmla="*/ 62579 h 104393"/>
                  <a:gd name="connsiteX10" fmla="*/ 35909 w 84105"/>
                  <a:gd name="connsiteY10" fmla="*/ 61341 h 104393"/>
                  <a:gd name="connsiteX11" fmla="*/ 19050 w 84105"/>
                  <a:gd name="connsiteY11" fmla="*/ 55531 h 104393"/>
                  <a:gd name="connsiteX12" fmla="*/ 8001 w 84105"/>
                  <a:gd name="connsiteY12" fmla="*/ 46291 h 104393"/>
                  <a:gd name="connsiteX13" fmla="*/ 3715 w 84105"/>
                  <a:gd name="connsiteY13" fmla="*/ 30480 h 104393"/>
                  <a:gd name="connsiteX14" fmla="*/ 8287 w 84105"/>
                  <a:gd name="connsiteY14" fmla="*/ 14192 h 104393"/>
                  <a:gd name="connsiteX15" fmla="*/ 21717 w 84105"/>
                  <a:gd name="connsiteY15" fmla="*/ 3715 h 104393"/>
                  <a:gd name="connsiteX16" fmla="*/ 43053 w 84105"/>
                  <a:gd name="connsiteY16" fmla="*/ 0 h 104393"/>
                  <a:gd name="connsiteX17" fmla="*/ 64770 w 84105"/>
                  <a:gd name="connsiteY17" fmla="*/ 3620 h 104393"/>
                  <a:gd name="connsiteX18" fmla="*/ 81534 w 84105"/>
                  <a:gd name="connsiteY18" fmla="*/ 14478 h 104393"/>
                  <a:gd name="connsiteX19" fmla="*/ 68104 w 84105"/>
                  <a:gd name="connsiteY19" fmla="*/ 29908 h 104393"/>
                  <a:gd name="connsiteX20" fmla="*/ 43148 w 84105"/>
                  <a:gd name="connsiteY20" fmla="*/ 19431 h 104393"/>
                  <a:gd name="connsiteX21" fmla="*/ 27718 w 84105"/>
                  <a:gd name="connsiteY21" fmla="*/ 28385 h 104393"/>
                  <a:gd name="connsiteX22" fmla="*/ 29718 w 84105"/>
                  <a:gd name="connsiteY22" fmla="*/ 33814 h 104393"/>
                  <a:gd name="connsiteX23" fmla="*/ 34957 w 84105"/>
                  <a:gd name="connsiteY23" fmla="*/ 36957 h 104393"/>
                  <a:gd name="connsiteX24" fmla="*/ 44387 w 84105"/>
                  <a:gd name="connsiteY24" fmla="*/ 39433 h 104393"/>
                  <a:gd name="connsiteX25" fmla="*/ 49149 w 84105"/>
                  <a:gd name="connsiteY25" fmla="*/ 40577 h 104393"/>
                  <a:gd name="connsiteX26" fmla="*/ 67533 w 84105"/>
                  <a:gd name="connsiteY26" fmla="*/ 46577 h 104393"/>
                  <a:gd name="connsiteX27" fmla="*/ 79439 w 84105"/>
                  <a:gd name="connsiteY27" fmla="*/ 56197 h 104393"/>
                  <a:gd name="connsiteX28" fmla="*/ 84106 w 84105"/>
                  <a:gd name="connsiteY28" fmla="*/ 73247 h 104393"/>
                  <a:gd name="connsiteX29" fmla="*/ 79248 w 84105"/>
                  <a:gd name="connsiteY29" fmla="*/ 89821 h 104393"/>
                  <a:gd name="connsiteX30" fmla="*/ 65056 w 84105"/>
                  <a:gd name="connsiteY30" fmla="*/ 100584 h 104393"/>
                  <a:gd name="connsiteX31" fmla="*/ 42672 w 84105"/>
                  <a:gd name="connsiteY31" fmla="*/ 104394 h 104393"/>
                  <a:gd name="connsiteX32" fmla="*/ 19431 w 84105"/>
                  <a:gd name="connsiteY32" fmla="*/ 100965 h 104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84105" h="104393">
                    <a:moveTo>
                      <a:pt x="19526" y="100870"/>
                    </a:moveTo>
                    <a:cubicBezTo>
                      <a:pt x="12764" y="98584"/>
                      <a:pt x="6287" y="94964"/>
                      <a:pt x="0" y="89916"/>
                    </a:cubicBezTo>
                    <a:lnTo>
                      <a:pt x="11811" y="72009"/>
                    </a:lnTo>
                    <a:cubicBezTo>
                      <a:pt x="17431" y="76295"/>
                      <a:pt x="22574" y="79534"/>
                      <a:pt x="27337" y="81629"/>
                    </a:cubicBezTo>
                    <a:cubicBezTo>
                      <a:pt x="32099" y="83725"/>
                      <a:pt x="37243" y="84868"/>
                      <a:pt x="42672" y="84868"/>
                    </a:cubicBezTo>
                    <a:cubicBezTo>
                      <a:pt x="48101" y="84868"/>
                      <a:pt x="52483" y="84201"/>
                      <a:pt x="55531" y="82772"/>
                    </a:cubicBezTo>
                    <a:cubicBezTo>
                      <a:pt x="58579" y="81344"/>
                      <a:pt x="60103" y="78867"/>
                      <a:pt x="60103" y="75247"/>
                    </a:cubicBezTo>
                    <a:cubicBezTo>
                      <a:pt x="60103" y="72676"/>
                      <a:pt x="59341" y="70580"/>
                      <a:pt x="57722" y="69056"/>
                    </a:cubicBezTo>
                    <a:cubicBezTo>
                      <a:pt x="56102" y="67532"/>
                      <a:pt x="54007" y="66294"/>
                      <a:pt x="51530" y="65437"/>
                    </a:cubicBezTo>
                    <a:cubicBezTo>
                      <a:pt x="49054" y="64579"/>
                      <a:pt x="45434" y="63627"/>
                      <a:pt x="40862" y="62579"/>
                    </a:cubicBezTo>
                    <a:lnTo>
                      <a:pt x="35909" y="61341"/>
                    </a:lnTo>
                    <a:cubicBezTo>
                      <a:pt x="29147" y="59627"/>
                      <a:pt x="23527" y="57626"/>
                      <a:pt x="19050" y="55531"/>
                    </a:cubicBezTo>
                    <a:cubicBezTo>
                      <a:pt x="14573" y="53435"/>
                      <a:pt x="10859" y="50292"/>
                      <a:pt x="8001" y="46291"/>
                    </a:cubicBezTo>
                    <a:cubicBezTo>
                      <a:pt x="5144" y="42291"/>
                      <a:pt x="3715" y="36957"/>
                      <a:pt x="3715" y="30480"/>
                    </a:cubicBezTo>
                    <a:cubicBezTo>
                      <a:pt x="3715" y="24003"/>
                      <a:pt x="5239" y="18669"/>
                      <a:pt x="8287" y="14192"/>
                    </a:cubicBezTo>
                    <a:cubicBezTo>
                      <a:pt x="11335" y="9715"/>
                      <a:pt x="15812" y="6096"/>
                      <a:pt x="21717" y="3715"/>
                    </a:cubicBezTo>
                    <a:cubicBezTo>
                      <a:pt x="27623" y="1238"/>
                      <a:pt x="34671" y="0"/>
                      <a:pt x="43053" y="0"/>
                    </a:cubicBezTo>
                    <a:cubicBezTo>
                      <a:pt x="51435" y="0"/>
                      <a:pt x="58198" y="1238"/>
                      <a:pt x="64770" y="3620"/>
                    </a:cubicBezTo>
                    <a:cubicBezTo>
                      <a:pt x="71342" y="6001"/>
                      <a:pt x="76867" y="9620"/>
                      <a:pt x="81534" y="14478"/>
                    </a:cubicBezTo>
                    <a:lnTo>
                      <a:pt x="68104" y="29908"/>
                    </a:lnTo>
                    <a:cubicBezTo>
                      <a:pt x="60960" y="22860"/>
                      <a:pt x="52673" y="19431"/>
                      <a:pt x="43148" y="19431"/>
                    </a:cubicBezTo>
                    <a:cubicBezTo>
                      <a:pt x="32861" y="19431"/>
                      <a:pt x="27718" y="22384"/>
                      <a:pt x="27718" y="28385"/>
                    </a:cubicBezTo>
                    <a:cubicBezTo>
                      <a:pt x="27718" y="30671"/>
                      <a:pt x="28385" y="32480"/>
                      <a:pt x="29718" y="33814"/>
                    </a:cubicBezTo>
                    <a:cubicBezTo>
                      <a:pt x="31052" y="35147"/>
                      <a:pt x="32766" y="36195"/>
                      <a:pt x="34957" y="36957"/>
                    </a:cubicBezTo>
                    <a:cubicBezTo>
                      <a:pt x="37148" y="37719"/>
                      <a:pt x="40291" y="38576"/>
                      <a:pt x="44387" y="39433"/>
                    </a:cubicBezTo>
                    <a:lnTo>
                      <a:pt x="49149" y="40577"/>
                    </a:lnTo>
                    <a:cubicBezTo>
                      <a:pt x="56579" y="42481"/>
                      <a:pt x="62675" y="44482"/>
                      <a:pt x="67533" y="46577"/>
                    </a:cubicBezTo>
                    <a:cubicBezTo>
                      <a:pt x="72390" y="48673"/>
                      <a:pt x="76295" y="51911"/>
                      <a:pt x="79439" y="56197"/>
                    </a:cubicBezTo>
                    <a:cubicBezTo>
                      <a:pt x="82582" y="60484"/>
                      <a:pt x="84106" y="66104"/>
                      <a:pt x="84106" y="73247"/>
                    </a:cubicBezTo>
                    <a:cubicBezTo>
                      <a:pt x="84106" y="79629"/>
                      <a:pt x="82487" y="85154"/>
                      <a:pt x="79248" y="89821"/>
                    </a:cubicBezTo>
                    <a:cubicBezTo>
                      <a:pt x="76010" y="94488"/>
                      <a:pt x="71247" y="98107"/>
                      <a:pt x="65056" y="100584"/>
                    </a:cubicBezTo>
                    <a:cubicBezTo>
                      <a:pt x="58865" y="103061"/>
                      <a:pt x="51340" y="104394"/>
                      <a:pt x="42672" y="104394"/>
                    </a:cubicBezTo>
                    <a:cubicBezTo>
                      <a:pt x="34004" y="104394"/>
                      <a:pt x="26289" y="103251"/>
                      <a:pt x="19431" y="100965"/>
                    </a:cubicBezTo>
                    <a:close/>
                  </a:path>
                </a:pathLst>
              </a:custGeom>
              <a:solidFill>
                <a:srgbClr val="FFFFFF"/>
              </a:solidFill>
              <a:ln w="9525" cap="flat">
                <a:noFill/>
                <a:prstDash val="solid"/>
                <a:miter/>
              </a:ln>
            </p:spPr>
            <p:txBody>
              <a:bodyPr rtlCol="0" anchor="ctr"/>
              <a:lstStyle/>
              <a:p>
                <a:pPr marL="0" marR="0" lvl="0" indent="0" algn="l" defTabSz="913578" rtl="0" eaLnBrk="1" fontAlgn="auto" latinLnBrk="0" hangingPunct="1">
                  <a:lnSpc>
                    <a:spcPct val="100000"/>
                  </a:lnSpc>
                  <a:spcBef>
                    <a:spcPts val="0"/>
                  </a:spcBef>
                  <a:spcAft>
                    <a:spcPts val="0"/>
                  </a:spcAft>
                  <a:buClrTx/>
                  <a:buSzTx/>
                  <a:buFontTx/>
                  <a:buNone/>
                  <a:tabLst/>
                  <a:defRPr/>
                </a:pPr>
                <a:endParaRPr kumimoji="0" lang="en-US" sz="17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448" name="Freeform: Shape 273">
                <a:extLst>
                  <a:ext uri="{FF2B5EF4-FFF2-40B4-BE49-F238E27FC236}">
                    <a16:creationId xmlns:a16="http://schemas.microsoft.com/office/drawing/2014/main" id="{A419F390-3F55-5DEB-29EE-619B97E5A8B5}"/>
                  </a:ext>
                </a:extLst>
              </p:cNvPr>
              <p:cNvSpPr/>
              <p:nvPr/>
            </p:nvSpPr>
            <p:spPr>
              <a:xfrm>
                <a:off x="5084349" y="5054155"/>
                <a:ext cx="29051" cy="143351"/>
              </a:xfrm>
              <a:custGeom>
                <a:avLst/>
                <a:gdLst>
                  <a:gd name="connsiteX0" fmla="*/ 3905 w 29051"/>
                  <a:gd name="connsiteY0" fmla="*/ 25432 h 143351"/>
                  <a:gd name="connsiteX1" fmla="*/ 0 w 29051"/>
                  <a:gd name="connsiteY1" fmla="*/ 14764 h 143351"/>
                  <a:gd name="connsiteX2" fmla="*/ 3905 w 29051"/>
                  <a:gd name="connsiteY2" fmla="*/ 4001 h 143351"/>
                  <a:gd name="connsiteX3" fmla="*/ 14668 w 29051"/>
                  <a:gd name="connsiteY3" fmla="*/ 0 h 143351"/>
                  <a:gd name="connsiteX4" fmla="*/ 25146 w 29051"/>
                  <a:gd name="connsiteY4" fmla="*/ 4001 h 143351"/>
                  <a:gd name="connsiteX5" fmla="*/ 29051 w 29051"/>
                  <a:gd name="connsiteY5" fmla="*/ 14764 h 143351"/>
                  <a:gd name="connsiteX6" fmla="*/ 25051 w 29051"/>
                  <a:gd name="connsiteY6" fmla="*/ 25337 h 143351"/>
                  <a:gd name="connsiteX7" fmla="*/ 14573 w 29051"/>
                  <a:gd name="connsiteY7" fmla="*/ 29337 h 143351"/>
                  <a:gd name="connsiteX8" fmla="*/ 3810 w 29051"/>
                  <a:gd name="connsiteY8" fmla="*/ 25337 h 143351"/>
                  <a:gd name="connsiteX9" fmla="*/ 1524 w 29051"/>
                  <a:gd name="connsiteY9" fmla="*/ 42767 h 143351"/>
                  <a:gd name="connsiteX10" fmla="*/ 27622 w 29051"/>
                  <a:gd name="connsiteY10" fmla="*/ 42767 h 143351"/>
                  <a:gd name="connsiteX11" fmla="*/ 27622 w 29051"/>
                  <a:gd name="connsiteY11" fmla="*/ 143351 h 143351"/>
                  <a:gd name="connsiteX12" fmla="*/ 1524 w 29051"/>
                  <a:gd name="connsiteY12" fmla="*/ 143351 h 143351"/>
                  <a:gd name="connsiteX13" fmla="*/ 1524 w 29051"/>
                  <a:gd name="connsiteY13" fmla="*/ 42767 h 14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9051" h="143351">
                    <a:moveTo>
                      <a:pt x="3905" y="25432"/>
                    </a:moveTo>
                    <a:cubicBezTo>
                      <a:pt x="1333" y="22765"/>
                      <a:pt x="0" y="19241"/>
                      <a:pt x="0" y="14764"/>
                    </a:cubicBezTo>
                    <a:cubicBezTo>
                      <a:pt x="0" y="10287"/>
                      <a:pt x="1333" y="6668"/>
                      <a:pt x="3905" y="4001"/>
                    </a:cubicBezTo>
                    <a:cubicBezTo>
                      <a:pt x="6477" y="1334"/>
                      <a:pt x="10096" y="0"/>
                      <a:pt x="14668" y="0"/>
                    </a:cubicBezTo>
                    <a:cubicBezTo>
                      <a:pt x="19240" y="0"/>
                      <a:pt x="22574" y="1334"/>
                      <a:pt x="25146" y="4001"/>
                    </a:cubicBezTo>
                    <a:cubicBezTo>
                      <a:pt x="27718" y="6668"/>
                      <a:pt x="29051" y="10192"/>
                      <a:pt x="29051" y="14764"/>
                    </a:cubicBezTo>
                    <a:cubicBezTo>
                      <a:pt x="29051" y="19336"/>
                      <a:pt x="27718" y="22670"/>
                      <a:pt x="25051" y="25337"/>
                    </a:cubicBezTo>
                    <a:cubicBezTo>
                      <a:pt x="22384" y="28004"/>
                      <a:pt x="18955" y="29337"/>
                      <a:pt x="14573" y="29337"/>
                    </a:cubicBezTo>
                    <a:cubicBezTo>
                      <a:pt x="10001" y="29337"/>
                      <a:pt x="6382" y="28004"/>
                      <a:pt x="3810" y="25337"/>
                    </a:cubicBezTo>
                    <a:close/>
                    <a:moveTo>
                      <a:pt x="1524" y="42767"/>
                    </a:moveTo>
                    <a:lnTo>
                      <a:pt x="27622" y="42767"/>
                    </a:lnTo>
                    <a:lnTo>
                      <a:pt x="27622" y="143351"/>
                    </a:lnTo>
                    <a:lnTo>
                      <a:pt x="1524" y="143351"/>
                    </a:lnTo>
                    <a:lnTo>
                      <a:pt x="1524" y="42767"/>
                    </a:lnTo>
                    <a:close/>
                  </a:path>
                </a:pathLst>
              </a:custGeom>
              <a:solidFill>
                <a:srgbClr val="FFFFFF"/>
              </a:solidFill>
              <a:ln w="9525" cap="flat">
                <a:noFill/>
                <a:prstDash val="solid"/>
                <a:miter/>
              </a:ln>
            </p:spPr>
            <p:txBody>
              <a:bodyPr rtlCol="0" anchor="ctr"/>
              <a:lstStyle/>
              <a:p>
                <a:pPr marL="0" marR="0" lvl="0" indent="0" algn="l" defTabSz="913578" rtl="0" eaLnBrk="1" fontAlgn="auto" latinLnBrk="0" hangingPunct="1">
                  <a:lnSpc>
                    <a:spcPct val="100000"/>
                  </a:lnSpc>
                  <a:spcBef>
                    <a:spcPts val="0"/>
                  </a:spcBef>
                  <a:spcAft>
                    <a:spcPts val="0"/>
                  </a:spcAft>
                  <a:buClrTx/>
                  <a:buSzTx/>
                  <a:buFontTx/>
                  <a:buNone/>
                  <a:tabLst/>
                  <a:defRPr/>
                </a:pPr>
                <a:endParaRPr kumimoji="0" lang="en-US" sz="17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449" name="Freeform: Shape 274">
                <a:extLst>
                  <a:ext uri="{FF2B5EF4-FFF2-40B4-BE49-F238E27FC236}">
                    <a16:creationId xmlns:a16="http://schemas.microsoft.com/office/drawing/2014/main" id="{C15C2D12-14BC-D452-4773-281CA92D8DF5}"/>
                  </a:ext>
                </a:extLst>
              </p:cNvPr>
              <p:cNvSpPr/>
              <p:nvPr/>
            </p:nvSpPr>
            <p:spPr>
              <a:xfrm>
                <a:off x="5138070" y="5094636"/>
                <a:ext cx="91916" cy="102679"/>
              </a:xfrm>
              <a:custGeom>
                <a:avLst/>
                <a:gdLst>
                  <a:gd name="connsiteX0" fmla="*/ 667 w 91916"/>
                  <a:gd name="connsiteY0" fmla="*/ 24670 h 102679"/>
                  <a:gd name="connsiteX1" fmla="*/ 476 w 91916"/>
                  <a:gd name="connsiteY1" fmla="*/ 11430 h 102679"/>
                  <a:gd name="connsiteX2" fmla="*/ 0 w 91916"/>
                  <a:gd name="connsiteY2" fmla="*/ 2191 h 102679"/>
                  <a:gd name="connsiteX3" fmla="*/ 24955 w 91916"/>
                  <a:gd name="connsiteY3" fmla="*/ 2191 h 102679"/>
                  <a:gd name="connsiteX4" fmla="*/ 25718 w 91916"/>
                  <a:gd name="connsiteY4" fmla="*/ 10382 h 102679"/>
                  <a:gd name="connsiteX5" fmla="*/ 26099 w 91916"/>
                  <a:gd name="connsiteY5" fmla="*/ 20193 h 102679"/>
                  <a:gd name="connsiteX6" fmla="*/ 26479 w 91916"/>
                  <a:gd name="connsiteY6" fmla="*/ 20193 h 102679"/>
                  <a:gd name="connsiteX7" fmla="*/ 39814 w 91916"/>
                  <a:gd name="connsiteY7" fmla="*/ 4953 h 102679"/>
                  <a:gd name="connsiteX8" fmla="*/ 58864 w 91916"/>
                  <a:gd name="connsiteY8" fmla="*/ 0 h 102679"/>
                  <a:gd name="connsiteX9" fmla="*/ 84011 w 91916"/>
                  <a:gd name="connsiteY9" fmla="*/ 10573 h 102679"/>
                  <a:gd name="connsiteX10" fmla="*/ 91916 w 91916"/>
                  <a:gd name="connsiteY10" fmla="*/ 38862 h 102679"/>
                  <a:gd name="connsiteX11" fmla="*/ 91916 w 91916"/>
                  <a:gd name="connsiteY11" fmla="*/ 102679 h 102679"/>
                  <a:gd name="connsiteX12" fmla="*/ 65913 w 91916"/>
                  <a:gd name="connsiteY12" fmla="*/ 102679 h 102679"/>
                  <a:gd name="connsiteX13" fmla="*/ 65913 w 91916"/>
                  <a:gd name="connsiteY13" fmla="*/ 46292 h 102679"/>
                  <a:gd name="connsiteX14" fmla="*/ 62103 w 91916"/>
                  <a:gd name="connsiteY14" fmla="*/ 28670 h 102679"/>
                  <a:gd name="connsiteX15" fmla="*/ 48959 w 91916"/>
                  <a:gd name="connsiteY15" fmla="*/ 22479 h 102679"/>
                  <a:gd name="connsiteX16" fmla="*/ 37624 w 91916"/>
                  <a:gd name="connsiteY16" fmla="*/ 25813 h 102679"/>
                  <a:gd name="connsiteX17" fmla="*/ 29718 w 91916"/>
                  <a:gd name="connsiteY17" fmla="*/ 35147 h 102679"/>
                  <a:gd name="connsiteX18" fmla="*/ 26861 w 91916"/>
                  <a:gd name="connsiteY18" fmla="*/ 48768 h 102679"/>
                  <a:gd name="connsiteX19" fmla="*/ 26861 w 91916"/>
                  <a:gd name="connsiteY19" fmla="*/ 102679 h 102679"/>
                  <a:gd name="connsiteX20" fmla="*/ 762 w 91916"/>
                  <a:gd name="connsiteY20" fmla="*/ 102679 h 102679"/>
                  <a:gd name="connsiteX21" fmla="*/ 762 w 91916"/>
                  <a:gd name="connsiteY21" fmla="*/ 24575 h 102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91916" h="102679">
                    <a:moveTo>
                      <a:pt x="667" y="24670"/>
                    </a:moveTo>
                    <a:cubicBezTo>
                      <a:pt x="667" y="20384"/>
                      <a:pt x="667" y="16002"/>
                      <a:pt x="476" y="11430"/>
                    </a:cubicBezTo>
                    <a:cubicBezTo>
                      <a:pt x="286" y="6858"/>
                      <a:pt x="191" y="3810"/>
                      <a:pt x="0" y="2191"/>
                    </a:cubicBezTo>
                    <a:lnTo>
                      <a:pt x="24955" y="2191"/>
                    </a:lnTo>
                    <a:cubicBezTo>
                      <a:pt x="25241" y="3524"/>
                      <a:pt x="25432" y="6287"/>
                      <a:pt x="25718" y="10382"/>
                    </a:cubicBezTo>
                    <a:cubicBezTo>
                      <a:pt x="26003" y="14478"/>
                      <a:pt x="26099" y="17812"/>
                      <a:pt x="26099" y="20193"/>
                    </a:cubicBezTo>
                    <a:lnTo>
                      <a:pt x="26479" y="20193"/>
                    </a:lnTo>
                    <a:cubicBezTo>
                      <a:pt x="30004" y="13335"/>
                      <a:pt x="34480" y="8192"/>
                      <a:pt x="39814" y="4953"/>
                    </a:cubicBezTo>
                    <a:cubicBezTo>
                      <a:pt x="45149" y="1619"/>
                      <a:pt x="51530" y="0"/>
                      <a:pt x="58864" y="0"/>
                    </a:cubicBezTo>
                    <a:cubicBezTo>
                      <a:pt x="70295" y="0"/>
                      <a:pt x="78677" y="3524"/>
                      <a:pt x="84011" y="10573"/>
                    </a:cubicBezTo>
                    <a:cubicBezTo>
                      <a:pt x="89345" y="17621"/>
                      <a:pt x="91916" y="27051"/>
                      <a:pt x="91916" y="38862"/>
                    </a:cubicBezTo>
                    <a:lnTo>
                      <a:pt x="91916" y="102679"/>
                    </a:lnTo>
                    <a:lnTo>
                      <a:pt x="65913" y="102679"/>
                    </a:lnTo>
                    <a:lnTo>
                      <a:pt x="65913" y="46292"/>
                    </a:lnTo>
                    <a:cubicBezTo>
                      <a:pt x="65913" y="38767"/>
                      <a:pt x="64675" y="32861"/>
                      <a:pt x="62103" y="28670"/>
                    </a:cubicBezTo>
                    <a:cubicBezTo>
                      <a:pt x="59531" y="24479"/>
                      <a:pt x="55150" y="22479"/>
                      <a:pt x="48959" y="22479"/>
                    </a:cubicBezTo>
                    <a:cubicBezTo>
                      <a:pt x="44768" y="22479"/>
                      <a:pt x="40958" y="23622"/>
                      <a:pt x="37624" y="25813"/>
                    </a:cubicBezTo>
                    <a:cubicBezTo>
                      <a:pt x="34290" y="28004"/>
                      <a:pt x="31623" y="31147"/>
                      <a:pt x="29718" y="35147"/>
                    </a:cubicBezTo>
                    <a:cubicBezTo>
                      <a:pt x="27813" y="39148"/>
                      <a:pt x="26861" y="43720"/>
                      <a:pt x="26861" y="48768"/>
                    </a:cubicBezTo>
                    <a:lnTo>
                      <a:pt x="26861" y="102679"/>
                    </a:lnTo>
                    <a:lnTo>
                      <a:pt x="762" y="102679"/>
                    </a:lnTo>
                    <a:lnTo>
                      <a:pt x="762" y="24575"/>
                    </a:lnTo>
                    <a:close/>
                  </a:path>
                </a:pathLst>
              </a:custGeom>
              <a:solidFill>
                <a:srgbClr val="FFFFFF"/>
              </a:solidFill>
              <a:ln w="9525" cap="flat">
                <a:noFill/>
                <a:prstDash val="solid"/>
                <a:miter/>
              </a:ln>
            </p:spPr>
            <p:txBody>
              <a:bodyPr rtlCol="0" anchor="ctr"/>
              <a:lstStyle/>
              <a:p>
                <a:pPr marL="0" marR="0" lvl="0" indent="0" algn="l" defTabSz="913578" rtl="0" eaLnBrk="1" fontAlgn="auto" latinLnBrk="0" hangingPunct="1">
                  <a:lnSpc>
                    <a:spcPct val="100000"/>
                  </a:lnSpc>
                  <a:spcBef>
                    <a:spcPts val="0"/>
                  </a:spcBef>
                  <a:spcAft>
                    <a:spcPts val="0"/>
                  </a:spcAft>
                  <a:buClrTx/>
                  <a:buSzTx/>
                  <a:buFontTx/>
                  <a:buNone/>
                  <a:tabLst/>
                  <a:defRPr/>
                </a:pPr>
                <a:endParaRPr kumimoji="0" lang="en-US" sz="17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450" name="Freeform: Shape 275">
                <a:extLst>
                  <a:ext uri="{FF2B5EF4-FFF2-40B4-BE49-F238E27FC236}">
                    <a16:creationId xmlns:a16="http://schemas.microsoft.com/office/drawing/2014/main" id="{01485C30-3B2D-F82E-DB90-C3A2E7B755C8}"/>
                  </a:ext>
                </a:extLst>
              </p:cNvPr>
              <p:cNvSpPr/>
              <p:nvPr/>
            </p:nvSpPr>
            <p:spPr>
              <a:xfrm>
                <a:off x="5249322" y="5094922"/>
                <a:ext cx="91916" cy="104298"/>
              </a:xfrm>
              <a:custGeom>
                <a:avLst/>
                <a:gdLst>
                  <a:gd name="connsiteX0" fmla="*/ 12859 w 91916"/>
                  <a:gd name="connsiteY0" fmla="*/ 91250 h 104298"/>
                  <a:gd name="connsiteX1" fmla="*/ 0 w 91916"/>
                  <a:gd name="connsiteY1" fmla="*/ 52006 h 104298"/>
                  <a:gd name="connsiteX2" fmla="*/ 6382 w 91916"/>
                  <a:gd name="connsiteY2" fmla="*/ 22860 h 104298"/>
                  <a:gd name="connsiteX3" fmla="*/ 23527 w 91916"/>
                  <a:gd name="connsiteY3" fmla="*/ 5620 h 104298"/>
                  <a:gd name="connsiteX4" fmla="*/ 47435 w 91916"/>
                  <a:gd name="connsiteY4" fmla="*/ 0 h 104298"/>
                  <a:gd name="connsiteX5" fmla="*/ 72771 w 91916"/>
                  <a:gd name="connsiteY5" fmla="*/ 6572 h 104298"/>
                  <a:gd name="connsiteX6" fmla="*/ 87344 w 91916"/>
                  <a:gd name="connsiteY6" fmla="*/ 24098 h 104298"/>
                  <a:gd name="connsiteX7" fmla="*/ 91916 w 91916"/>
                  <a:gd name="connsiteY7" fmla="*/ 48482 h 104298"/>
                  <a:gd name="connsiteX8" fmla="*/ 91345 w 91916"/>
                  <a:gd name="connsiteY8" fmla="*/ 58960 h 104298"/>
                  <a:gd name="connsiteX9" fmla="*/ 27337 w 91916"/>
                  <a:gd name="connsiteY9" fmla="*/ 58960 h 104298"/>
                  <a:gd name="connsiteX10" fmla="*/ 32861 w 91916"/>
                  <a:gd name="connsiteY10" fmla="*/ 77534 h 104298"/>
                  <a:gd name="connsiteX11" fmla="*/ 50197 w 91916"/>
                  <a:gd name="connsiteY11" fmla="*/ 84392 h 104298"/>
                  <a:gd name="connsiteX12" fmla="*/ 59817 w 91916"/>
                  <a:gd name="connsiteY12" fmla="*/ 83249 h 104298"/>
                  <a:gd name="connsiteX13" fmla="*/ 68199 w 91916"/>
                  <a:gd name="connsiteY13" fmla="*/ 79820 h 104298"/>
                  <a:gd name="connsiteX14" fmla="*/ 78200 w 91916"/>
                  <a:gd name="connsiteY14" fmla="*/ 73438 h 104298"/>
                  <a:gd name="connsiteX15" fmla="*/ 88773 w 91916"/>
                  <a:gd name="connsiteY15" fmla="*/ 90392 h 104298"/>
                  <a:gd name="connsiteX16" fmla="*/ 70866 w 91916"/>
                  <a:gd name="connsiteY16" fmla="*/ 100679 h 104298"/>
                  <a:gd name="connsiteX17" fmla="*/ 48768 w 91916"/>
                  <a:gd name="connsiteY17" fmla="*/ 104299 h 104298"/>
                  <a:gd name="connsiteX18" fmla="*/ 12764 w 91916"/>
                  <a:gd name="connsiteY18" fmla="*/ 91154 h 104298"/>
                  <a:gd name="connsiteX19" fmla="*/ 66675 w 91916"/>
                  <a:gd name="connsiteY19" fmla="*/ 41243 h 104298"/>
                  <a:gd name="connsiteX20" fmla="*/ 61341 w 91916"/>
                  <a:gd name="connsiteY20" fmla="*/ 24479 h 104298"/>
                  <a:gd name="connsiteX21" fmla="*/ 47244 w 91916"/>
                  <a:gd name="connsiteY21" fmla="*/ 19050 h 104298"/>
                  <a:gd name="connsiteX22" fmla="*/ 33242 w 91916"/>
                  <a:gd name="connsiteY22" fmla="*/ 24479 h 104298"/>
                  <a:gd name="connsiteX23" fmla="*/ 27623 w 91916"/>
                  <a:gd name="connsiteY23" fmla="*/ 41148 h 104298"/>
                  <a:gd name="connsiteX24" fmla="*/ 66675 w 91916"/>
                  <a:gd name="connsiteY24" fmla="*/ 41148 h 104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91916" h="104298">
                    <a:moveTo>
                      <a:pt x="12859" y="91250"/>
                    </a:moveTo>
                    <a:cubicBezTo>
                      <a:pt x="4286" y="82487"/>
                      <a:pt x="0" y="69437"/>
                      <a:pt x="0" y="52006"/>
                    </a:cubicBezTo>
                    <a:cubicBezTo>
                      <a:pt x="0" y="40386"/>
                      <a:pt x="2096" y="30575"/>
                      <a:pt x="6382" y="22860"/>
                    </a:cubicBezTo>
                    <a:cubicBezTo>
                      <a:pt x="10668" y="15050"/>
                      <a:pt x="16288" y="9335"/>
                      <a:pt x="23527" y="5620"/>
                    </a:cubicBezTo>
                    <a:cubicBezTo>
                      <a:pt x="30766" y="1905"/>
                      <a:pt x="38672" y="0"/>
                      <a:pt x="47435" y="0"/>
                    </a:cubicBezTo>
                    <a:cubicBezTo>
                      <a:pt x="57626" y="0"/>
                      <a:pt x="66104" y="2191"/>
                      <a:pt x="72771" y="6572"/>
                    </a:cubicBezTo>
                    <a:cubicBezTo>
                      <a:pt x="79439" y="10954"/>
                      <a:pt x="84296" y="16859"/>
                      <a:pt x="87344" y="24098"/>
                    </a:cubicBezTo>
                    <a:cubicBezTo>
                      <a:pt x="90392" y="31337"/>
                      <a:pt x="91916" y="39529"/>
                      <a:pt x="91916" y="48482"/>
                    </a:cubicBezTo>
                    <a:cubicBezTo>
                      <a:pt x="91916" y="52006"/>
                      <a:pt x="91726" y="55531"/>
                      <a:pt x="91345" y="58960"/>
                    </a:cubicBezTo>
                    <a:lnTo>
                      <a:pt x="27337" y="58960"/>
                    </a:lnTo>
                    <a:cubicBezTo>
                      <a:pt x="27337" y="66770"/>
                      <a:pt x="29147" y="72962"/>
                      <a:pt x="32861" y="77534"/>
                    </a:cubicBezTo>
                    <a:cubicBezTo>
                      <a:pt x="36576" y="82105"/>
                      <a:pt x="42291" y="84392"/>
                      <a:pt x="50197" y="84392"/>
                    </a:cubicBezTo>
                    <a:cubicBezTo>
                      <a:pt x="53721" y="84392"/>
                      <a:pt x="56960" y="84011"/>
                      <a:pt x="59817" y="83249"/>
                    </a:cubicBezTo>
                    <a:cubicBezTo>
                      <a:pt x="62675" y="82487"/>
                      <a:pt x="65437" y="81344"/>
                      <a:pt x="68199" y="79820"/>
                    </a:cubicBezTo>
                    <a:cubicBezTo>
                      <a:pt x="70961" y="78296"/>
                      <a:pt x="74295" y="76200"/>
                      <a:pt x="78200" y="73438"/>
                    </a:cubicBezTo>
                    <a:lnTo>
                      <a:pt x="88773" y="90392"/>
                    </a:lnTo>
                    <a:cubicBezTo>
                      <a:pt x="82868" y="94869"/>
                      <a:pt x="76962" y="98298"/>
                      <a:pt x="70866" y="100679"/>
                    </a:cubicBezTo>
                    <a:cubicBezTo>
                      <a:pt x="64866" y="103061"/>
                      <a:pt x="57436" y="104299"/>
                      <a:pt x="48768" y="104299"/>
                    </a:cubicBezTo>
                    <a:cubicBezTo>
                      <a:pt x="33338" y="104299"/>
                      <a:pt x="21336" y="99917"/>
                      <a:pt x="12764" y="91154"/>
                    </a:cubicBezTo>
                    <a:close/>
                    <a:moveTo>
                      <a:pt x="66675" y="41243"/>
                    </a:moveTo>
                    <a:cubicBezTo>
                      <a:pt x="66389" y="33719"/>
                      <a:pt x="64675" y="28099"/>
                      <a:pt x="61341" y="24479"/>
                    </a:cubicBezTo>
                    <a:cubicBezTo>
                      <a:pt x="58103" y="20860"/>
                      <a:pt x="53340" y="19050"/>
                      <a:pt x="47244" y="19050"/>
                    </a:cubicBezTo>
                    <a:cubicBezTo>
                      <a:pt x="41148" y="19050"/>
                      <a:pt x="36767" y="20860"/>
                      <a:pt x="33242" y="24479"/>
                    </a:cubicBezTo>
                    <a:cubicBezTo>
                      <a:pt x="29718" y="28099"/>
                      <a:pt x="27908" y="33623"/>
                      <a:pt x="27623" y="41148"/>
                    </a:cubicBezTo>
                    <a:lnTo>
                      <a:pt x="66675" y="41148"/>
                    </a:lnTo>
                    <a:close/>
                  </a:path>
                </a:pathLst>
              </a:custGeom>
              <a:solidFill>
                <a:srgbClr val="FFFFFF"/>
              </a:solidFill>
              <a:ln w="9525" cap="flat">
                <a:noFill/>
                <a:prstDash val="solid"/>
                <a:miter/>
              </a:ln>
            </p:spPr>
            <p:txBody>
              <a:bodyPr rtlCol="0" anchor="ctr"/>
              <a:lstStyle/>
              <a:p>
                <a:pPr marL="0" marR="0" lvl="0" indent="0" algn="l" defTabSz="913578" rtl="0" eaLnBrk="1" fontAlgn="auto" latinLnBrk="0" hangingPunct="1">
                  <a:lnSpc>
                    <a:spcPct val="100000"/>
                  </a:lnSpc>
                  <a:spcBef>
                    <a:spcPts val="0"/>
                  </a:spcBef>
                  <a:spcAft>
                    <a:spcPts val="0"/>
                  </a:spcAft>
                  <a:buClrTx/>
                  <a:buSzTx/>
                  <a:buFontTx/>
                  <a:buNone/>
                  <a:tabLst/>
                  <a:defRPr/>
                </a:pPr>
                <a:endParaRPr kumimoji="0" lang="en-US" sz="17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451" name="Freeform: Shape 276">
                <a:extLst>
                  <a:ext uri="{FF2B5EF4-FFF2-40B4-BE49-F238E27FC236}">
                    <a16:creationId xmlns:a16="http://schemas.microsoft.com/office/drawing/2014/main" id="{5905BB56-ADB5-F51F-72D5-3B349106C3A8}"/>
                  </a:ext>
                </a:extLst>
              </p:cNvPr>
              <p:cNvSpPr/>
              <p:nvPr/>
            </p:nvSpPr>
            <p:spPr>
              <a:xfrm>
                <a:off x="5352288" y="5095017"/>
                <a:ext cx="84105" cy="104393"/>
              </a:xfrm>
              <a:custGeom>
                <a:avLst/>
                <a:gdLst>
                  <a:gd name="connsiteX0" fmla="*/ 19526 w 84105"/>
                  <a:gd name="connsiteY0" fmla="*/ 100870 h 104393"/>
                  <a:gd name="connsiteX1" fmla="*/ 0 w 84105"/>
                  <a:gd name="connsiteY1" fmla="*/ 89916 h 104393"/>
                  <a:gd name="connsiteX2" fmla="*/ 11811 w 84105"/>
                  <a:gd name="connsiteY2" fmla="*/ 72009 h 104393"/>
                  <a:gd name="connsiteX3" fmla="*/ 27337 w 84105"/>
                  <a:gd name="connsiteY3" fmla="*/ 81629 h 104393"/>
                  <a:gd name="connsiteX4" fmla="*/ 42672 w 84105"/>
                  <a:gd name="connsiteY4" fmla="*/ 84868 h 104393"/>
                  <a:gd name="connsiteX5" fmla="*/ 55531 w 84105"/>
                  <a:gd name="connsiteY5" fmla="*/ 82772 h 104393"/>
                  <a:gd name="connsiteX6" fmla="*/ 60103 w 84105"/>
                  <a:gd name="connsiteY6" fmla="*/ 75247 h 104393"/>
                  <a:gd name="connsiteX7" fmla="*/ 57721 w 84105"/>
                  <a:gd name="connsiteY7" fmla="*/ 69056 h 104393"/>
                  <a:gd name="connsiteX8" fmla="*/ 51530 w 84105"/>
                  <a:gd name="connsiteY8" fmla="*/ 65437 h 104393"/>
                  <a:gd name="connsiteX9" fmla="*/ 40862 w 84105"/>
                  <a:gd name="connsiteY9" fmla="*/ 62579 h 104393"/>
                  <a:gd name="connsiteX10" fmla="*/ 35909 w 84105"/>
                  <a:gd name="connsiteY10" fmla="*/ 61341 h 104393"/>
                  <a:gd name="connsiteX11" fmla="*/ 19050 w 84105"/>
                  <a:gd name="connsiteY11" fmla="*/ 55531 h 104393"/>
                  <a:gd name="connsiteX12" fmla="*/ 8001 w 84105"/>
                  <a:gd name="connsiteY12" fmla="*/ 46291 h 104393"/>
                  <a:gd name="connsiteX13" fmla="*/ 3715 w 84105"/>
                  <a:gd name="connsiteY13" fmla="*/ 30480 h 104393"/>
                  <a:gd name="connsiteX14" fmla="*/ 8287 w 84105"/>
                  <a:gd name="connsiteY14" fmla="*/ 14192 h 104393"/>
                  <a:gd name="connsiteX15" fmla="*/ 21717 w 84105"/>
                  <a:gd name="connsiteY15" fmla="*/ 3715 h 104393"/>
                  <a:gd name="connsiteX16" fmla="*/ 43053 w 84105"/>
                  <a:gd name="connsiteY16" fmla="*/ 0 h 104393"/>
                  <a:gd name="connsiteX17" fmla="*/ 64770 w 84105"/>
                  <a:gd name="connsiteY17" fmla="*/ 3620 h 104393"/>
                  <a:gd name="connsiteX18" fmla="*/ 81534 w 84105"/>
                  <a:gd name="connsiteY18" fmla="*/ 14478 h 104393"/>
                  <a:gd name="connsiteX19" fmla="*/ 68104 w 84105"/>
                  <a:gd name="connsiteY19" fmla="*/ 29908 h 104393"/>
                  <a:gd name="connsiteX20" fmla="*/ 43148 w 84105"/>
                  <a:gd name="connsiteY20" fmla="*/ 19431 h 104393"/>
                  <a:gd name="connsiteX21" fmla="*/ 27717 w 84105"/>
                  <a:gd name="connsiteY21" fmla="*/ 28385 h 104393"/>
                  <a:gd name="connsiteX22" fmla="*/ 29718 w 84105"/>
                  <a:gd name="connsiteY22" fmla="*/ 33814 h 104393"/>
                  <a:gd name="connsiteX23" fmla="*/ 34957 w 84105"/>
                  <a:gd name="connsiteY23" fmla="*/ 36957 h 104393"/>
                  <a:gd name="connsiteX24" fmla="*/ 44386 w 84105"/>
                  <a:gd name="connsiteY24" fmla="*/ 39433 h 104393"/>
                  <a:gd name="connsiteX25" fmla="*/ 49149 w 84105"/>
                  <a:gd name="connsiteY25" fmla="*/ 40577 h 104393"/>
                  <a:gd name="connsiteX26" fmla="*/ 67532 w 84105"/>
                  <a:gd name="connsiteY26" fmla="*/ 46577 h 104393"/>
                  <a:gd name="connsiteX27" fmla="*/ 79438 w 84105"/>
                  <a:gd name="connsiteY27" fmla="*/ 56197 h 104393"/>
                  <a:gd name="connsiteX28" fmla="*/ 84106 w 84105"/>
                  <a:gd name="connsiteY28" fmla="*/ 73247 h 104393"/>
                  <a:gd name="connsiteX29" fmla="*/ 79248 w 84105"/>
                  <a:gd name="connsiteY29" fmla="*/ 89821 h 104393"/>
                  <a:gd name="connsiteX30" fmla="*/ 65056 w 84105"/>
                  <a:gd name="connsiteY30" fmla="*/ 100584 h 104393"/>
                  <a:gd name="connsiteX31" fmla="*/ 42672 w 84105"/>
                  <a:gd name="connsiteY31" fmla="*/ 104394 h 104393"/>
                  <a:gd name="connsiteX32" fmla="*/ 19431 w 84105"/>
                  <a:gd name="connsiteY32" fmla="*/ 100965 h 104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84105" h="104393">
                    <a:moveTo>
                      <a:pt x="19526" y="100870"/>
                    </a:moveTo>
                    <a:cubicBezTo>
                      <a:pt x="12763" y="98584"/>
                      <a:pt x="6286" y="94964"/>
                      <a:pt x="0" y="89916"/>
                    </a:cubicBezTo>
                    <a:lnTo>
                      <a:pt x="11811" y="72009"/>
                    </a:lnTo>
                    <a:cubicBezTo>
                      <a:pt x="17431" y="76295"/>
                      <a:pt x="22574" y="79534"/>
                      <a:pt x="27337" y="81629"/>
                    </a:cubicBezTo>
                    <a:cubicBezTo>
                      <a:pt x="32099" y="83725"/>
                      <a:pt x="37242" y="84868"/>
                      <a:pt x="42672" y="84868"/>
                    </a:cubicBezTo>
                    <a:cubicBezTo>
                      <a:pt x="48101" y="84868"/>
                      <a:pt x="52483" y="84201"/>
                      <a:pt x="55531" y="82772"/>
                    </a:cubicBezTo>
                    <a:cubicBezTo>
                      <a:pt x="58579" y="81344"/>
                      <a:pt x="60103" y="78867"/>
                      <a:pt x="60103" y="75247"/>
                    </a:cubicBezTo>
                    <a:cubicBezTo>
                      <a:pt x="60103" y="72676"/>
                      <a:pt x="59341" y="70580"/>
                      <a:pt x="57721" y="69056"/>
                    </a:cubicBezTo>
                    <a:cubicBezTo>
                      <a:pt x="56102" y="67532"/>
                      <a:pt x="54007" y="66294"/>
                      <a:pt x="51530" y="65437"/>
                    </a:cubicBezTo>
                    <a:cubicBezTo>
                      <a:pt x="49054" y="64579"/>
                      <a:pt x="45434" y="63627"/>
                      <a:pt x="40862" y="62579"/>
                    </a:cubicBezTo>
                    <a:lnTo>
                      <a:pt x="35909" y="61341"/>
                    </a:lnTo>
                    <a:cubicBezTo>
                      <a:pt x="29146" y="59627"/>
                      <a:pt x="23527" y="57626"/>
                      <a:pt x="19050" y="55531"/>
                    </a:cubicBezTo>
                    <a:cubicBezTo>
                      <a:pt x="14573" y="53435"/>
                      <a:pt x="10858" y="50292"/>
                      <a:pt x="8001" y="46291"/>
                    </a:cubicBezTo>
                    <a:cubicBezTo>
                      <a:pt x="5143" y="42291"/>
                      <a:pt x="3715" y="36957"/>
                      <a:pt x="3715" y="30480"/>
                    </a:cubicBezTo>
                    <a:cubicBezTo>
                      <a:pt x="3715" y="24003"/>
                      <a:pt x="5239" y="18669"/>
                      <a:pt x="8287" y="14192"/>
                    </a:cubicBezTo>
                    <a:cubicBezTo>
                      <a:pt x="11334" y="9715"/>
                      <a:pt x="15811" y="6096"/>
                      <a:pt x="21717" y="3715"/>
                    </a:cubicBezTo>
                    <a:cubicBezTo>
                      <a:pt x="27622" y="1238"/>
                      <a:pt x="34671" y="0"/>
                      <a:pt x="43053" y="0"/>
                    </a:cubicBezTo>
                    <a:cubicBezTo>
                      <a:pt x="51435" y="0"/>
                      <a:pt x="58198" y="1238"/>
                      <a:pt x="64770" y="3620"/>
                    </a:cubicBezTo>
                    <a:cubicBezTo>
                      <a:pt x="71342" y="6001"/>
                      <a:pt x="76867" y="9620"/>
                      <a:pt x="81534" y="14478"/>
                    </a:cubicBezTo>
                    <a:lnTo>
                      <a:pt x="68104" y="29908"/>
                    </a:lnTo>
                    <a:cubicBezTo>
                      <a:pt x="60960" y="22860"/>
                      <a:pt x="52673" y="19431"/>
                      <a:pt x="43148" y="19431"/>
                    </a:cubicBezTo>
                    <a:cubicBezTo>
                      <a:pt x="32861" y="19431"/>
                      <a:pt x="27717" y="22384"/>
                      <a:pt x="27717" y="28385"/>
                    </a:cubicBezTo>
                    <a:cubicBezTo>
                      <a:pt x="27717" y="30671"/>
                      <a:pt x="28384" y="32480"/>
                      <a:pt x="29718" y="33814"/>
                    </a:cubicBezTo>
                    <a:cubicBezTo>
                      <a:pt x="31051" y="35147"/>
                      <a:pt x="32766" y="36195"/>
                      <a:pt x="34957" y="36957"/>
                    </a:cubicBezTo>
                    <a:cubicBezTo>
                      <a:pt x="37147" y="37719"/>
                      <a:pt x="40291" y="38576"/>
                      <a:pt x="44386" y="39433"/>
                    </a:cubicBezTo>
                    <a:lnTo>
                      <a:pt x="49149" y="40577"/>
                    </a:lnTo>
                    <a:cubicBezTo>
                      <a:pt x="56578" y="42481"/>
                      <a:pt x="62674" y="44482"/>
                      <a:pt x="67532" y="46577"/>
                    </a:cubicBezTo>
                    <a:cubicBezTo>
                      <a:pt x="72390" y="48673"/>
                      <a:pt x="76295" y="51911"/>
                      <a:pt x="79438" y="56197"/>
                    </a:cubicBezTo>
                    <a:cubicBezTo>
                      <a:pt x="82582" y="60484"/>
                      <a:pt x="84106" y="66104"/>
                      <a:pt x="84106" y="73247"/>
                    </a:cubicBezTo>
                    <a:cubicBezTo>
                      <a:pt x="84106" y="79629"/>
                      <a:pt x="82486" y="85154"/>
                      <a:pt x="79248" y="89821"/>
                    </a:cubicBezTo>
                    <a:cubicBezTo>
                      <a:pt x="76009" y="94488"/>
                      <a:pt x="71247" y="98107"/>
                      <a:pt x="65056" y="100584"/>
                    </a:cubicBezTo>
                    <a:cubicBezTo>
                      <a:pt x="58864" y="103061"/>
                      <a:pt x="51340" y="104394"/>
                      <a:pt x="42672" y="104394"/>
                    </a:cubicBezTo>
                    <a:cubicBezTo>
                      <a:pt x="34004" y="104394"/>
                      <a:pt x="26289" y="103251"/>
                      <a:pt x="19431" y="100965"/>
                    </a:cubicBezTo>
                    <a:close/>
                  </a:path>
                </a:pathLst>
              </a:custGeom>
              <a:solidFill>
                <a:srgbClr val="FFFFFF"/>
              </a:solidFill>
              <a:ln w="9525" cap="flat">
                <a:noFill/>
                <a:prstDash val="solid"/>
                <a:miter/>
              </a:ln>
            </p:spPr>
            <p:txBody>
              <a:bodyPr rtlCol="0" anchor="ctr"/>
              <a:lstStyle/>
              <a:p>
                <a:pPr marL="0" marR="0" lvl="0" indent="0" algn="l" defTabSz="913578" rtl="0" eaLnBrk="1" fontAlgn="auto" latinLnBrk="0" hangingPunct="1">
                  <a:lnSpc>
                    <a:spcPct val="100000"/>
                  </a:lnSpc>
                  <a:spcBef>
                    <a:spcPts val="0"/>
                  </a:spcBef>
                  <a:spcAft>
                    <a:spcPts val="0"/>
                  </a:spcAft>
                  <a:buClrTx/>
                  <a:buSzTx/>
                  <a:buFontTx/>
                  <a:buNone/>
                  <a:tabLst/>
                  <a:defRPr/>
                </a:pPr>
                <a:endParaRPr kumimoji="0" lang="en-US" sz="17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452" name="Freeform: Shape 277">
                <a:extLst>
                  <a:ext uri="{FF2B5EF4-FFF2-40B4-BE49-F238E27FC236}">
                    <a16:creationId xmlns:a16="http://schemas.microsoft.com/office/drawing/2014/main" id="{80A56FCA-C3CA-892E-85F2-92C4F6DDBAC4}"/>
                  </a:ext>
                </a:extLst>
              </p:cNvPr>
              <p:cNvSpPr/>
              <p:nvPr/>
            </p:nvSpPr>
            <p:spPr>
              <a:xfrm>
                <a:off x="5446966" y="5095017"/>
                <a:ext cx="84105" cy="104393"/>
              </a:xfrm>
              <a:custGeom>
                <a:avLst/>
                <a:gdLst>
                  <a:gd name="connsiteX0" fmla="*/ 19526 w 84105"/>
                  <a:gd name="connsiteY0" fmla="*/ 100870 h 104393"/>
                  <a:gd name="connsiteX1" fmla="*/ 0 w 84105"/>
                  <a:gd name="connsiteY1" fmla="*/ 89916 h 104393"/>
                  <a:gd name="connsiteX2" fmla="*/ 11811 w 84105"/>
                  <a:gd name="connsiteY2" fmla="*/ 72009 h 104393"/>
                  <a:gd name="connsiteX3" fmla="*/ 27337 w 84105"/>
                  <a:gd name="connsiteY3" fmla="*/ 81629 h 104393"/>
                  <a:gd name="connsiteX4" fmla="*/ 42672 w 84105"/>
                  <a:gd name="connsiteY4" fmla="*/ 84868 h 104393"/>
                  <a:gd name="connsiteX5" fmla="*/ 55531 w 84105"/>
                  <a:gd name="connsiteY5" fmla="*/ 82772 h 104393"/>
                  <a:gd name="connsiteX6" fmla="*/ 60103 w 84105"/>
                  <a:gd name="connsiteY6" fmla="*/ 75247 h 104393"/>
                  <a:gd name="connsiteX7" fmla="*/ 57722 w 84105"/>
                  <a:gd name="connsiteY7" fmla="*/ 69056 h 104393"/>
                  <a:gd name="connsiteX8" fmla="*/ 51530 w 84105"/>
                  <a:gd name="connsiteY8" fmla="*/ 65437 h 104393"/>
                  <a:gd name="connsiteX9" fmla="*/ 40862 w 84105"/>
                  <a:gd name="connsiteY9" fmla="*/ 62579 h 104393"/>
                  <a:gd name="connsiteX10" fmla="*/ 35909 w 84105"/>
                  <a:gd name="connsiteY10" fmla="*/ 61341 h 104393"/>
                  <a:gd name="connsiteX11" fmla="*/ 19050 w 84105"/>
                  <a:gd name="connsiteY11" fmla="*/ 55531 h 104393"/>
                  <a:gd name="connsiteX12" fmla="*/ 8001 w 84105"/>
                  <a:gd name="connsiteY12" fmla="*/ 46291 h 104393"/>
                  <a:gd name="connsiteX13" fmla="*/ 3715 w 84105"/>
                  <a:gd name="connsiteY13" fmla="*/ 30480 h 104393"/>
                  <a:gd name="connsiteX14" fmla="*/ 8287 w 84105"/>
                  <a:gd name="connsiteY14" fmla="*/ 14192 h 104393"/>
                  <a:gd name="connsiteX15" fmla="*/ 21717 w 84105"/>
                  <a:gd name="connsiteY15" fmla="*/ 3715 h 104393"/>
                  <a:gd name="connsiteX16" fmla="*/ 43053 w 84105"/>
                  <a:gd name="connsiteY16" fmla="*/ 0 h 104393"/>
                  <a:gd name="connsiteX17" fmla="*/ 64770 w 84105"/>
                  <a:gd name="connsiteY17" fmla="*/ 3620 h 104393"/>
                  <a:gd name="connsiteX18" fmla="*/ 81534 w 84105"/>
                  <a:gd name="connsiteY18" fmla="*/ 14478 h 104393"/>
                  <a:gd name="connsiteX19" fmla="*/ 68104 w 84105"/>
                  <a:gd name="connsiteY19" fmla="*/ 29908 h 104393"/>
                  <a:gd name="connsiteX20" fmla="*/ 43149 w 84105"/>
                  <a:gd name="connsiteY20" fmla="*/ 19431 h 104393"/>
                  <a:gd name="connsiteX21" fmla="*/ 27718 w 84105"/>
                  <a:gd name="connsiteY21" fmla="*/ 28385 h 104393"/>
                  <a:gd name="connsiteX22" fmla="*/ 29718 w 84105"/>
                  <a:gd name="connsiteY22" fmla="*/ 33814 h 104393"/>
                  <a:gd name="connsiteX23" fmla="*/ 34957 w 84105"/>
                  <a:gd name="connsiteY23" fmla="*/ 36957 h 104393"/>
                  <a:gd name="connsiteX24" fmla="*/ 44387 w 84105"/>
                  <a:gd name="connsiteY24" fmla="*/ 39433 h 104393"/>
                  <a:gd name="connsiteX25" fmla="*/ 49149 w 84105"/>
                  <a:gd name="connsiteY25" fmla="*/ 40577 h 104393"/>
                  <a:gd name="connsiteX26" fmla="*/ 67533 w 84105"/>
                  <a:gd name="connsiteY26" fmla="*/ 46577 h 104393"/>
                  <a:gd name="connsiteX27" fmla="*/ 79439 w 84105"/>
                  <a:gd name="connsiteY27" fmla="*/ 56197 h 104393"/>
                  <a:gd name="connsiteX28" fmla="*/ 84106 w 84105"/>
                  <a:gd name="connsiteY28" fmla="*/ 73247 h 104393"/>
                  <a:gd name="connsiteX29" fmla="*/ 79248 w 84105"/>
                  <a:gd name="connsiteY29" fmla="*/ 89821 h 104393"/>
                  <a:gd name="connsiteX30" fmla="*/ 65056 w 84105"/>
                  <a:gd name="connsiteY30" fmla="*/ 100584 h 104393"/>
                  <a:gd name="connsiteX31" fmla="*/ 42672 w 84105"/>
                  <a:gd name="connsiteY31" fmla="*/ 104394 h 104393"/>
                  <a:gd name="connsiteX32" fmla="*/ 19431 w 84105"/>
                  <a:gd name="connsiteY32" fmla="*/ 100965 h 104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84105" h="104393">
                    <a:moveTo>
                      <a:pt x="19526" y="100870"/>
                    </a:moveTo>
                    <a:cubicBezTo>
                      <a:pt x="12764" y="98584"/>
                      <a:pt x="6287" y="94964"/>
                      <a:pt x="0" y="89916"/>
                    </a:cubicBezTo>
                    <a:lnTo>
                      <a:pt x="11811" y="72009"/>
                    </a:lnTo>
                    <a:cubicBezTo>
                      <a:pt x="17431" y="76295"/>
                      <a:pt x="22574" y="79534"/>
                      <a:pt x="27337" y="81629"/>
                    </a:cubicBezTo>
                    <a:cubicBezTo>
                      <a:pt x="32099" y="83725"/>
                      <a:pt x="37243" y="84868"/>
                      <a:pt x="42672" y="84868"/>
                    </a:cubicBezTo>
                    <a:cubicBezTo>
                      <a:pt x="48101" y="84868"/>
                      <a:pt x="52483" y="84201"/>
                      <a:pt x="55531" y="82772"/>
                    </a:cubicBezTo>
                    <a:cubicBezTo>
                      <a:pt x="58579" y="81344"/>
                      <a:pt x="60103" y="78867"/>
                      <a:pt x="60103" y="75247"/>
                    </a:cubicBezTo>
                    <a:cubicBezTo>
                      <a:pt x="60103" y="72676"/>
                      <a:pt x="59341" y="70580"/>
                      <a:pt x="57722" y="69056"/>
                    </a:cubicBezTo>
                    <a:cubicBezTo>
                      <a:pt x="56102" y="67532"/>
                      <a:pt x="54007" y="66294"/>
                      <a:pt x="51530" y="65437"/>
                    </a:cubicBezTo>
                    <a:cubicBezTo>
                      <a:pt x="49054" y="64579"/>
                      <a:pt x="45434" y="63627"/>
                      <a:pt x="40862" y="62579"/>
                    </a:cubicBezTo>
                    <a:lnTo>
                      <a:pt x="35909" y="61341"/>
                    </a:lnTo>
                    <a:cubicBezTo>
                      <a:pt x="29147" y="59627"/>
                      <a:pt x="23527" y="57626"/>
                      <a:pt x="19050" y="55531"/>
                    </a:cubicBezTo>
                    <a:cubicBezTo>
                      <a:pt x="14574" y="53435"/>
                      <a:pt x="10859" y="50292"/>
                      <a:pt x="8001" y="46291"/>
                    </a:cubicBezTo>
                    <a:cubicBezTo>
                      <a:pt x="5144" y="42291"/>
                      <a:pt x="3715" y="36957"/>
                      <a:pt x="3715" y="30480"/>
                    </a:cubicBezTo>
                    <a:cubicBezTo>
                      <a:pt x="3715" y="24003"/>
                      <a:pt x="5239" y="18669"/>
                      <a:pt x="8287" y="14192"/>
                    </a:cubicBezTo>
                    <a:cubicBezTo>
                      <a:pt x="11335" y="9715"/>
                      <a:pt x="15812" y="6096"/>
                      <a:pt x="21717" y="3715"/>
                    </a:cubicBezTo>
                    <a:cubicBezTo>
                      <a:pt x="27623" y="1238"/>
                      <a:pt x="34671" y="0"/>
                      <a:pt x="43053" y="0"/>
                    </a:cubicBezTo>
                    <a:cubicBezTo>
                      <a:pt x="51435" y="0"/>
                      <a:pt x="58198" y="1238"/>
                      <a:pt x="64770" y="3620"/>
                    </a:cubicBezTo>
                    <a:cubicBezTo>
                      <a:pt x="71342" y="6001"/>
                      <a:pt x="76867" y="9620"/>
                      <a:pt x="81534" y="14478"/>
                    </a:cubicBezTo>
                    <a:lnTo>
                      <a:pt x="68104" y="29908"/>
                    </a:lnTo>
                    <a:cubicBezTo>
                      <a:pt x="60960" y="22860"/>
                      <a:pt x="52674" y="19431"/>
                      <a:pt x="43149" y="19431"/>
                    </a:cubicBezTo>
                    <a:cubicBezTo>
                      <a:pt x="32861" y="19431"/>
                      <a:pt x="27718" y="22384"/>
                      <a:pt x="27718" y="28385"/>
                    </a:cubicBezTo>
                    <a:cubicBezTo>
                      <a:pt x="27718" y="30671"/>
                      <a:pt x="28385" y="32480"/>
                      <a:pt x="29718" y="33814"/>
                    </a:cubicBezTo>
                    <a:cubicBezTo>
                      <a:pt x="31052" y="35147"/>
                      <a:pt x="32766" y="36195"/>
                      <a:pt x="34957" y="36957"/>
                    </a:cubicBezTo>
                    <a:cubicBezTo>
                      <a:pt x="37148" y="37719"/>
                      <a:pt x="40291" y="38576"/>
                      <a:pt x="44387" y="39433"/>
                    </a:cubicBezTo>
                    <a:lnTo>
                      <a:pt x="49149" y="40577"/>
                    </a:lnTo>
                    <a:cubicBezTo>
                      <a:pt x="56579" y="42481"/>
                      <a:pt x="62675" y="44482"/>
                      <a:pt x="67533" y="46577"/>
                    </a:cubicBezTo>
                    <a:cubicBezTo>
                      <a:pt x="72390" y="48673"/>
                      <a:pt x="76295" y="51911"/>
                      <a:pt x="79439" y="56197"/>
                    </a:cubicBezTo>
                    <a:cubicBezTo>
                      <a:pt x="82582" y="60484"/>
                      <a:pt x="84106" y="66104"/>
                      <a:pt x="84106" y="73247"/>
                    </a:cubicBezTo>
                    <a:cubicBezTo>
                      <a:pt x="84106" y="79629"/>
                      <a:pt x="82487" y="85154"/>
                      <a:pt x="79248" y="89821"/>
                    </a:cubicBezTo>
                    <a:cubicBezTo>
                      <a:pt x="76010" y="94488"/>
                      <a:pt x="71247" y="98107"/>
                      <a:pt x="65056" y="100584"/>
                    </a:cubicBezTo>
                    <a:cubicBezTo>
                      <a:pt x="58865" y="103061"/>
                      <a:pt x="51340" y="104394"/>
                      <a:pt x="42672" y="104394"/>
                    </a:cubicBezTo>
                    <a:cubicBezTo>
                      <a:pt x="34004" y="104394"/>
                      <a:pt x="26289" y="103251"/>
                      <a:pt x="19431" y="100965"/>
                    </a:cubicBezTo>
                    <a:close/>
                  </a:path>
                </a:pathLst>
              </a:custGeom>
              <a:solidFill>
                <a:srgbClr val="FFFFFF"/>
              </a:solidFill>
              <a:ln w="9525" cap="flat">
                <a:noFill/>
                <a:prstDash val="solid"/>
                <a:miter/>
              </a:ln>
            </p:spPr>
            <p:txBody>
              <a:bodyPr rtlCol="0" anchor="ctr"/>
              <a:lstStyle/>
              <a:p>
                <a:pPr marL="0" marR="0" lvl="0" indent="0" algn="l" defTabSz="913578" rtl="0" eaLnBrk="1" fontAlgn="auto" latinLnBrk="0" hangingPunct="1">
                  <a:lnSpc>
                    <a:spcPct val="100000"/>
                  </a:lnSpc>
                  <a:spcBef>
                    <a:spcPts val="0"/>
                  </a:spcBef>
                  <a:spcAft>
                    <a:spcPts val="0"/>
                  </a:spcAft>
                  <a:buClrTx/>
                  <a:buSzTx/>
                  <a:buFontTx/>
                  <a:buNone/>
                  <a:tabLst/>
                  <a:defRPr/>
                </a:pPr>
                <a:endParaRPr kumimoji="0" lang="en-US" sz="17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453" name="Freeform: Shape 278">
                <a:extLst>
                  <a:ext uri="{FF2B5EF4-FFF2-40B4-BE49-F238E27FC236}">
                    <a16:creationId xmlns:a16="http://schemas.microsoft.com/office/drawing/2014/main" id="{D01D755A-9D4B-46B7-BF56-58C8EFEC67C9}"/>
                  </a:ext>
                </a:extLst>
              </p:cNvPr>
              <p:cNvSpPr/>
              <p:nvPr/>
            </p:nvSpPr>
            <p:spPr>
              <a:xfrm>
                <a:off x="5592222" y="5066442"/>
                <a:ext cx="108394" cy="131064"/>
              </a:xfrm>
              <a:custGeom>
                <a:avLst/>
                <a:gdLst>
                  <a:gd name="connsiteX0" fmla="*/ 40386 w 108394"/>
                  <a:gd name="connsiteY0" fmla="*/ 23050 h 131064"/>
                  <a:gd name="connsiteX1" fmla="*/ 0 w 108394"/>
                  <a:gd name="connsiteY1" fmla="*/ 23050 h 131064"/>
                  <a:gd name="connsiteX2" fmla="*/ 0 w 108394"/>
                  <a:gd name="connsiteY2" fmla="*/ 0 h 131064"/>
                  <a:gd name="connsiteX3" fmla="*/ 108395 w 108394"/>
                  <a:gd name="connsiteY3" fmla="*/ 0 h 131064"/>
                  <a:gd name="connsiteX4" fmla="*/ 108395 w 108394"/>
                  <a:gd name="connsiteY4" fmla="*/ 23050 h 131064"/>
                  <a:gd name="connsiteX5" fmla="*/ 67818 w 108394"/>
                  <a:gd name="connsiteY5" fmla="*/ 23050 h 131064"/>
                  <a:gd name="connsiteX6" fmla="*/ 67818 w 108394"/>
                  <a:gd name="connsiteY6" fmla="*/ 131064 h 131064"/>
                  <a:gd name="connsiteX7" fmla="*/ 40386 w 108394"/>
                  <a:gd name="connsiteY7" fmla="*/ 131064 h 131064"/>
                  <a:gd name="connsiteX8" fmla="*/ 40386 w 108394"/>
                  <a:gd name="connsiteY8" fmla="*/ 23050 h 131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8394" h="131064">
                    <a:moveTo>
                      <a:pt x="40386" y="23050"/>
                    </a:moveTo>
                    <a:lnTo>
                      <a:pt x="0" y="23050"/>
                    </a:lnTo>
                    <a:lnTo>
                      <a:pt x="0" y="0"/>
                    </a:lnTo>
                    <a:lnTo>
                      <a:pt x="108395" y="0"/>
                    </a:lnTo>
                    <a:lnTo>
                      <a:pt x="108395" y="23050"/>
                    </a:lnTo>
                    <a:lnTo>
                      <a:pt x="67818" y="23050"/>
                    </a:lnTo>
                    <a:lnTo>
                      <a:pt x="67818" y="131064"/>
                    </a:lnTo>
                    <a:lnTo>
                      <a:pt x="40386" y="131064"/>
                    </a:lnTo>
                    <a:lnTo>
                      <a:pt x="40386" y="23050"/>
                    </a:lnTo>
                    <a:close/>
                  </a:path>
                </a:pathLst>
              </a:custGeom>
              <a:solidFill>
                <a:srgbClr val="FFFFFF"/>
              </a:solidFill>
              <a:ln w="9525" cap="flat">
                <a:noFill/>
                <a:prstDash val="solid"/>
                <a:miter/>
              </a:ln>
            </p:spPr>
            <p:txBody>
              <a:bodyPr rtlCol="0" anchor="ctr"/>
              <a:lstStyle/>
              <a:p>
                <a:pPr marL="0" marR="0" lvl="0" indent="0" algn="l" defTabSz="913578" rtl="0" eaLnBrk="1" fontAlgn="auto" latinLnBrk="0" hangingPunct="1">
                  <a:lnSpc>
                    <a:spcPct val="100000"/>
                  </a:lnSpc>
                  <a:spcBef>
                    <a:spcPts val="0"/>
                  </a:spcBef>
                  <a:spcAft>
                    <a:spcPts val="0"/>
                  </a:spcAft>
                  <a:buClrTx/>
                  <a:buSzTx/>
                  <a:buFontTx/>
                  <a:buNone/>
                  <a:tabLst/>
                  <a:defRPr/>
                </a:pPr>
                <a:endParaRPr kumimoji="0" lang="en-US" sz="17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454" name="Freeform: Shape 279">
                <a:extLst>
                  <a:ext uri="{FF2B5EF4-FFF2-40B4-BE49-F238E27FC236}">
                    <a16:creationId xmlns:a16="http://schemas.microsoft.com/office/drawing/2014/main" id="{70A1082B-B3D1-8BFB-5A22-C7235EF7D11F}"/>
                  </a:ext>
                </a:extLst>
              </p:cNvPr>
              <p:cNvSpPr/>
              <p:nvPr/>
            </p:nvSpPr>
            <p:spPr>
              <a:xfrm>
                <a:off x="5695950" y="5094922"/>
                <a:ext cx="91916" cy="104298"/>
              </a:xfrm>
              <a:custGeom>
                <a:avLst/>
                <a:gdLst>
                  <a:gd name="connsiteX0" fmla="*/ 12859 w 91916"/>
                  <a:gd name="connsiteY0" fmla="*/ 91250 h 104298"/>
                  <a:gd name="connsiteX1" fmla="*/ 0 w 91916"/>
                  <a:gd name="connsiteY1" fmla="*/ 52006 h 104298"/>
                  <a:gd name="connsiteX2" fmla="*/ 6382 w 91916"/>
                  <a:gd name="connsiteY2" fmla="*/ 22860 h 104298"/>
                  <a:gd name="connsiteX3" fmla="*/ 23527 w 91916"/>
                  <a:gd name="connsiteY3" fmla="*/ 5620 h 104298"/>
                  <a:gd name="connsiteX4" fmla="*/ 47435 w 91916"/>
                  <a:gd name="connsiteY4" fmla="*/ 0 h 104298"/>
                  <a:gd name="connsiteX5" fmla="*/ 72771 w 91916"/>
                  <a:gd name="connsiteY5" fmla="*/ 6572 h 104298"/>
                  <a:gd name="connsiteX6" fmla="*/ 87344 w 91916"/>
                  <a:gd name="connsiteY6" fmla="*/ 24098 h 104298"/>
                  <a:gd name="connsiteX7" fmla="*/ 91916 w 91916"/>
                  <a:gd name="connsiteY7" fmla="*/ 48482 h 104298"/>
                  <a:gd name="connsiteX8" fmla="*/ 91345 w 91916"/>
                  <a:gd name="connsiteY8" fmla="*/ 58960 h 104298"/>
                  <a:gd name="connsiteX9" fmla="*/ 27337 w 91916"/>
                  <a:gd name="connsiteY9" fmla="*/ 58960 h 104298"/>
                  <a:gd name="connsiteX10" fmla="*/ 32861 w 91916"/>
                  <a:gd name="connsiteY10" fmla="*/ 77534 h 104298"/>
                  <a:gd name="connsiteX11" fmla="*/ 50197 w 91916"/>
                  <a:gd name="connsiteY11" fmla="*/ 84392 h 104298"/>
                  <a:gd name="connsiteX12" fmla="*/ 59817 w 91916"/>
                  <a:gd name="connsiteY12" fmla="*/ 83249 h 104298"/>
                  <a:gd name="connsiteX13" fmla="*/ 68199 w 91916"/>
                  <a:gd name="connsiteY13" fmla="*/ 79820 h 104298"/>
                  <a:gd name="connsiteX14" fmla="*/ 78200 w 91916"/>
                  <a:gd name="connsiteY14" fmla="*/ 73438 h 104298"/>
                  <a:gd name="connsiteX15" fmla="*/ 88773 w 91916"/>
                  <a:gd name="connsiteY15" fmla="*/ 90392 h 104298"/>
                  <a:gd name="connsiteX16" fmla="*/ 70866 w 91916"/>
                  <a:gd name="connsiteY16" fmla="*/ 100679 h 104298"/>
                  <a:gd name="connsiteX17" fmla="*/ 48768 w 91916"/>
                  <a:gd name="connsiteY17" fmla="*/ 104299 h 104298"/>
                  <a:gd name="connsiteX18" fmla="*/ 12763 w 91916"/>
                  <a:gd name="connsiteY18" fmla="*/ 91154 h 104298"/>
                  <a:gd name="connsiteX19" fmla="*/ 66675 w 91916"/>
                  <a:gd name="connsiteY19" fmla="*/ 41243 h 104298"/>
                  <a:gd name="connsiteX20" fmla="*/ 61341 w 91916"/>
                  <a:gd name="connsiteY20" fmla="*/ 24479 h 104298"/>
                  <a:gd name="connsiteX21" fmla="*/ 47244 w 91916"/>
                  <a:gd name="connsiteY21" fmla="*/ 19050 h 104298"/>
                  <a:gd name="connsiteX22" fmla="*/ 33242 w 91916"/>
                  <a:gd name="connsiteY22" fmla="*/ 24479 h 104298"/>
                  <a:gd name="connsiteX23" fmla="*/ 27622 w 91916"/>
                  <a:gd name="connsiteY23" fmla="*/ 41148 h 104298"/>
                  <a:gd name="connsiteX24" fmla="*/ 66675 w 91916"/>
                  <a:gd name="connsiteY24" fmla="*/ 41148 h 104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91916" h="104298">
                    <a:moveTo>
                      <a:pt x="12859" y="91250"/>
                    </a:moveTo>
                    <a:cubicBezTo>
                      <a:pt x="4286" y="82487"/>
                      <a:pt x="0" y="69437"/>
                      <a:pt x="0" y="52006"/>
                    </a:cubicBezTo>
                    <a:cubicBezTo>
                      <a:pt x="0" y="40386"/>
                      <a:pt x="2096" y="30575"/>
                      <a:pt x="6382" y="22860"/>
                    </a:cubicBezTo>
                    <a:cubicBezTo>
                      <a:pt x="10668" y="15050"/>
                      <a:pt x="16288" y="9335"/>
                      <a:pt x="23527" y="5620"/>
                    </a:cubicBezTo>
                    <a:cubicBezTo>
                      <a:pt x="30766" y="1905"/>
                      <a:pt x="38671" y="0"/>
                      <a:pt x="47435" y="0"/>
                    </a:cubicBezTo>
                    <a:cubicBezTo>
                      <a:pt x="57626" y="0"/>
                      <a:pt x="66104" y="2191"/>
                      <a:pt x="72771" y="6572"/>
                    </a:cubicBezTo>
                    <a:cubicBezTo>
                      <a:pt x="79438" y="10954"/>
                      <a:pt x="84296" y="16859"/>
                      <a:pt x="87344" y="24098"/>
                    </a:cubicBezTo>
                    <a:cubicBezTo>
                      <a:pt x="90392" y="31337"/>
                      <a:pt x="91916" y="39529"/>
                      <a:pt x="91916" y="48482"/>
                    </a:cubicBezTo>
                    <a:cubicBezTo>
                      <a:pt x="91916" y="52006"/>
                      <a:pt x="91726" y="55531"/>
                      <a:pt x="91345" y="58960"/>
                    </a:cubicBezTo>
                    <a:lnTo>
                      <a:pt x="27337" y="58960"/>
                    </a:lnTo>
                    <a:cubicBezTo>
                      <a:pt x="27337" y="66770"/>
                      <a:pt x="29146" y="72962"/>
                      <a:pt x="32861" y="77534"/>
                    </a:cubicBezTo>
                    <a:cubicBezTo>
                      <a:pt x="36576" y="82105"/>
                      <a:pt x="42291" y="84392"/>
                      <a:pt x="50197" y="84392"/>
                    </a:cubicBezTo>
                    <a:cubicBezTo>
                      <a:pt x="53721" y="84392"/>
                      <a:pt x="56960" y="84011"/>
                      <a:pt x="59817" y="83249"/>
                    </a:cubicBezTo>
                    <a:cubicBezTo>
                      <a:pt x="62674" y="82487"/>
                      <a:pt x="65437" y="81344"/>
                      <a:pt x="68199" y="79820"/>
                    </a:cubicBezTo>
                    <a:cubicBezTo>
                      <a:pt x="70961" y="78296"/>
                      <a:pt x="74295" y="76200"/>
                      <a:pt x="78200" y="73438"/>
                    </a:cubicBezTo>
                    <a:lnTo>
                      <a:pt x="88773" y="90392"/>
                    </a:lnTo>
                    <a:cubicBezTo>
                      <a:pt x="82868" y="94869"/>
                      <a:pt x="76962" y="98298"/>
                      <a:pt x="70866" y="100679"/>
                    </a:cubicBezTo>
                    <a:cubicBezTo>
                      <a:pt x="64865" y="103061"/>
                      <a:pt x="57436" y="104299"/>
                      <a:pt x="48768" y="104299"/>
                    </a:cubicBezTo>
                    <a:cubicBezTo>
                      <a:pt x="33338" y="104299"/>
                      <a:pt x="21336" y="99917"/>
                      <a:pt x="12763" y="91154"/>
                    </a:cubicBezTo>
                    <a:close/>
                    <a:moveTo>
                      <a:pt x="66675" y="41243"/>
                    </a:moveTo>
                    <a:cubicBezTo>
                      <a:pt x="66389" y="33719"/>
                      <a:pt x="64675" y="28099"/>
                      <a:pt x="61341" y="24479"/>
                    </a:cubicBezTo>
                    <a:cubicBezTo>
                      <a:pt x="58103" y="20860"/>
                      <a:pt x="53340" y="19050"/>
                      <a:pt x="47244" y="19050"/>
                    </a:cubicBezTo>
                    <a:cubicBezTo>
                      <a:pt x="41148" y="19050"/>
                      <a:pt x="36766" y="20860"/>
                      <a:pt x="33242" y="24479"/>
                    </a:cubicBezTo>
                    <a:cubicBezTo>
                      <a:pt x="29718" y="28099"/>
                      <a:pt x="27908" y="33623"/>
                      <a:pt x="27622" y="41148"/>
                    </a:cubicBezTo>
                    <a:lnTo>
                      <a:pt x="66675" y="41148"/>
                    </a:lnTo>
                    <a:close/>
                  </a:path>
                </a:pathLst>
              </a:custGeom>
              <a:solidFill>
                <a:srgbClr val="FFFFFF"/>
              </a:solidFill>
              <a:ln w="9525" cap="flat">
                <a:noFill/>
                <a:prstDash val="solid"/>
                <a:miter/>
              </a:ln>
            </p:spPr>
            <p:txBody>
              <a:bodyPr rtlCol="0" anchor="ctr"/>
              <a:lstStyle/>
              <a:p>
                <a:pPr marL="0" marR="0" lvl="0" indent="0" algn="l" defTabSz="913578" rtl="0" eaLnBrk="1" fontAlgn="auto" latinLnBrk="0" hangingPunct="1">
                  <a:lnSpc>
                    <a:spcPct val="100000"/>
                  </a:lnSpc>
                  <a:spcBef>
                    <a:spcPts val="0"/>
                  </a:spcBef>
                  <a:spcAft>
                    <a:spcPts val="0"/>
                  </a:spcAft>
                  <a:buClrTx/>
                  <a:buSzTx/>
                  <a:buFontTx/>
                  <a:buNone/>
                  <a:tabLst/>
                  <a:defRPr/>
                </a:pPr>
                <a:endParaRPr kumimoji="0" lang="en-US" sz="17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455" name="Freeform: Shape 280">
                <a:extLst>
                  <a:ext uri="{FF2B5EF4-FFF2-40B4-BE49-F238E27FC236}">
                    <a16:creationId xmlns:a16="http://schemas.microsoft.com/office/drawing/2014/main" id="{5A1139A6-3F13-1DB1-925D-4AC0393143D1}"/>
                  </a:ext>
                </a:extLst>
              </p:cNvPr>
              <p:cNvSpPr/>
              <p:nvPr/>
            </p:nvSpPr>
            <p:spPr>
              <a:xfrm>
                <a:off x="5801963" y="5095113"/>
                <a:ext cx="90677" cy="104298"/>
              </a:xfrm>
              <a:custGeom>
                <a:avLst/>
                <a:gdLst>
                  <a:gd name="connsiteX0" fmla="*/ 22574 w 90677"/>
                  <a:gd name="connsiteY0" fmla="*/ 97822 h 104298"/>
                  <a:gd name="connsiteX1" fmla="*/ 5715 w 90677"/>
                  <a:gd name="connsiteY1" fmla="*/ 79819 h 104298"/>
                  <a:gd name="connsiteX2" fmla="*/ 0 w 90677"/>
                  <a:gd name="connsiteY2" fmla="*/ 52673 h 104298"/>
                  <a:gd name="connsiteX3" fmla="*/ 6096 w 90677"/>
                  <a:gd name="connsiteY3" fmla="*/ 24193 h 104298"/>
                  <a:gd name="connsiteX4" fmla="*/ 23622 w 90677"/>
                  <a:gd name="connsiteY4" fmla="*/ 6191 h 104298"/>
                  <a:gd name="connsiteX5" fmla="*/ 50482 w 90677"/>
                  <a:gd name="connsiteY5" fmla="*/ 0 h 104298"/>
                  <a:gd name="connsiteX6" fmla="*/ 89249 w 90677"/>
                  <a:gd name="connsiteY6" fmla="*/ 21241 h 104298"/>
                  <a:gd name="connsiteX7" fmla="*/ 71056 w 90677"/>
                  <a:gd name="connsiteY7" fmla="*/ 33623 h 104298"/>
                  <a:gd name="connsiteX8" fmla="*/ 62294 w 90677"/>
                  <a:gd name="connsiteY8" fmla="*/ 24098 h 104298"/>
                  <a:gd name="connsiteX9" fmla="*/ 50482 w 90677"/>
                  <a:gd name="connsiteY9" fmla="*/ 20764 h 104298"/>
                  <a:gd name="connsiteX10" fmla="*/ 33338 w 90677"/>
                  <a:gd name="connsiteY10" fmla="*/ 28765 h 104298"/>
                  <a:gd name="connsiteX11" fmla="*/ 27432 w 90677"/>
                  <a:gd name="connsiteY11" fmla="*/ 51625 h 104298"/>
                  <a:gd name="connsiteX12" fmla="*/ 33528 w 90677"/>
                  <a:gd name="connsiteY12" fmla="*/ 75342 h 104298"/>
                  <a:gd name="connsiteX13" fmla="*/ 50673 w 90677"/>
                  <a:gd name="connsiteY13" fmla="*/ 83439 h 104298"/>
                  <a:gd name="connsiteX14" fmla="*/ 63532 w 90677"/>
                  <a:gd name="connsiteY14" fmla="*/ 80010 h 104298"/>
                  <a:gd name="connsiteX15" fmla="*/ 75057 w 90677"/>
                  <a:gd name="connsiteY15" fmla="*/ 70294 h 104298"/>
                  <a:gd name="connsiteX16" fmla="*/ 90678 w 90677"/>
                  <a:gd name="connsiteY16" fmla="*/ 85344 h 104298"/>
                  <a:gd name="connsiteX17" fmla="*/ 73152 w 90677"/>
                  <a:gd name="connsiteY17" fmla="*/ 99250 h 104298"/>
                  <a:gd name="connsiteX18" fmla="*/ 49625 w 90677"/>
                  <a:gd name="connsiteY18" fmla="*/ 104299 h 104298"/>
                  <a:gd name="connsiteX19" fmla="*/ 22574 w 90677"/>
                  <a:gd name="connsiteY19" fmla="*/ 97917 h 104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90677" h="104298">
                    <a:moveTo>
                      <a:pt x="22574" y="97822"/>
                    </a:moveTo>
                    <a:cubicBezTo>
                      <a:pt x="15145" y="93535"/>
                      <a:pt x="9525" y="87534"/>
                      <a:pt x="5715" y="79819"/>
                    </a:cubicBezTo>
                    <a:cubicBezTo>
                      <a:pt x="1905" y="72104"/>
                      <a:pt x="0" y="63055"/>
                      <a:pt x="0" y="52673"/>
                    </a:cubicBezTo>
                    <a:cubicBezTo>
                      <a:pt x="0" y="41529"/>
                      <a:pt x="2000" y="32099"/>
                      <a:pt x="6096" y="24193"/>
                    </a:cubicBezTo>
                    <a:cubicBezTo>
                      <a:pt x="10192" y="16288"/>
                      <a:pt x="16002" y="10287"/>
                      <a:pt x="23622" y="6191"/>
                    </a:cubicBezTo>
                    <a:cubicBezTo>
                      <a:pt x="31147" y="2096"/>
                      <a:pt x="40196" y="0"/>
                      <a:pt x="50482" y="0"/>
                    </a:cubicBezTo>
                    <a:cubicBezTo>
                      <a:pt x="67628" y="0"/>
                      <a:pt x="80581" y="7048"/>
                      <a:pt x="89249" y="21241"/>
                    </a:cubicBezTo>
                    <a:lnTo>
                      <a:pt x="71056" y="33623"/>
                    </a:lnTo>
                    <a:cubicBezTo>
                      <a:pt x="68294" y="29527"/>
                      <a:pt x="65437" y="26384"/>
                      <a:pt x="62294" y="24098"/>
                    </a:cubicBezTo>
                    <a:cubicBezTo>
                      <a:pt x="59150" y="21812"/>
                      <a:pt x="55245" y="20764"/>
                      <a:pt x="50482" y="20764"/>
                    </a:cubicBezTo>
                    <a:cubicBezTo>
                      <a:pt x="42958" y="20764"/>
                      <a:pt x="37243" y="23431"/>
                      <a:pt x="33338" y="28765"/>
                    </a:cubicBezTo>
                    <a:cubicBezTo>
                      <a:pt x="29432" y="34099"/>
                      <a:pt x="27432" y="41719"/>
                      <a:pt x="27432" y="51625"/>
                    </a:cubicBezTo>
                    <a:cubicBezTo>
                      <a:pt x="27432" y="61531"/>
                      <a:pt x="29432" y="69913"/>
                      <a:pt x="33528" y="75342"/>
                    </a:cubicBezTo>
                    <a:cubicBezTo>
                      <a:pt x="37624" y="80772"/>
                      <a:pt x="43339" y="83439"/>
                      <a:pt x="50673" y="83439"/>
                    </a:cubicBezTo>
                    <a:cubicBezTo>
                      <a:pt x="55626" y="83439"/>
                      <a:pt x="59912" y="82296"/>
                      <a:pt x="63532" y="80010"/>
                    </a:cubicBezTo>
                    <a:cubicBezTo>
                      <a:pt x="67151" y="77724"/>
                      <a:pt x="70961" y="74485"/>
                      <a:pt x="75057" y="70294"/>
                    </a:cubicBezTo>
                    <a:lnTo>
                      <a:pt x="90678" y="85344"/>
                    </a:lnTo>
                    <a:cubicBezTo>
                      <a:pt x="85820" y="91249"/>
                      <a:pt x="80010" y="95917"/>
                      <a:pt x="73152" y="99250"/>
                    </a:cubicBezTo>
                    <a:cubicBezTo>
                      <a:pt x="66294" y="102584"/>
                      <a:pt x="58483" y="104299"/>
                      <a:pt x="49625" y="104299"/>
                    </a:cubicBezTo>
                    <a:cubicBezTo>
                      <a:pt x="39053" y="104299"/>
                      <a:pt x="30004" y="102203"/>
                      <a:pt x="22574" y="97917"/>
                    </a:cubicBezTo>
                    <a:close/>
                  </a:path>
                </a:pathLst>
              </a:custGeom>
              <a:solidFill>
                <a:srgbClr val="FFFFFF"/>
              </a:solidFill>
              <a:ln w="9525" cap="flat">
                <a:noFill/>
                <a:prstDash val="solid"/>
                <a:miter/>
              </a:ln>
            </p:spPr>
            <p:txBody>
              <a:bodyPr rtlCol="0" anchor="ctr"/>
              <a:lstStyle/>
              <a:p>
                <a:pPr marL="0" marR="0" lvl="0" indent="0" algn="l" defTabSz="913578" rtl="0" eaLnBrk="1" fontAlgn="auto" latinLnBrk="0" hangingPunct="1">
                  <a:lnSpc>
                    <a:spcPct val="100000"/>
                  </a:lnSpc>
                  <a:spcBef>
                    <a:spcPts val="0"/>
                  </a:spcBef>
                  <a:spcAft>
                    <a:spcPts val="0"/>
                  </a:spcAft>
                  <a:buClrTx/>
                  <a:buSzTx/>
                  <a:buFontTx/>
                  <a:buNone/>
                  <a:tabLst/>
                  <a:defRPr/>
                </a:pPr>
                <a:endParaRPr kumimoji="0" lang="en-US" sz="17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456" name="Freeform: Shape 281">
                <a:extLst>
                  <a:ext uri="{FF2B5EF4-FFF2-40B4-BE49-F238E27FC236}">
                    <a16:creationId xmlns:a16="http://schemas.microsoft.com/office/drawing/2014/main" id="{E439DFE2-A36F-BC6B-B1CF-556BF0EF2019}"/>
                  </a:ext>
                </a:extLst>
              </p:cNvPr>
              <p:cNvSpPr/>
              <p:nvPr/>
            </p:nvSpPr>
            <p:spPr>
              <a:xfrm>
                <a:off x="5907881" y="5059299"/>
                <a:ext cx="91154" cy="138112"/>
              </a:xfrm>
              <a:custGeom>
                <a:avLst/>
                <a:gdLst>
                  <a:gd name="connsiteX0" fmla="*/ 0 w 91154"/>
                  <a:gd name="connsiteY0" fmla="*/ 0 h 138112"/>
                  <a:gd name="connsiteX1" fmla="*/ 26098 w 91154"/>
                  <a:gd name="connsiteY1" fmla="*/ 0 h 138112"/>
                  <a:gd name="connsiteX2" fmla="*/ 26098 w 91154"/>
                  <a:gd name="connsiteY2" fmla="*/ 37719 h 138112"/>
                  <a:gd name="connsiteX3" fmla="*/ 25337 w 91154"/>
                  <a:gd name="connsiteY3" fmla="*/ 55626 h 138112"/>
                  <a:gd name="connsiteX4" fmla="*/ 25718 w 91154"/>
                  <a:gd name="connsiteY4" fmla="*/ 55626 h 138112"/>
                  <a:gd name="connsiteX5" fmla="*/ 38957 w 91154"/>
                  <a:gd name="connsiteY5" fmla="*/ 40481 h 138112"/>
                  <a:gd name="connsiteX6" fmla="*/ 58103 w 91154"/>
                  <a:gd name="connsiteY6" fmla="*/ 35623 h 138112"/>
                  <a:gd name="connsiteX7" fmla="*/ 83248 w 91154"/>
                  <a:gd name="connsiteY7" fmla="*/ 46101 h 138112"/>
                  <a:gd name="connsiteX8" fmla="*/ 91154 w 91154"/>
                  <a:gd name="connsiteY8" fmla="*/ 74295 h 138112"/>
                  <a:gd name="connsiteX9" fmla="*/ 91154 w 91154"/>
                  <a:gd name="connsiteY9" fmla="*/ 138113 h 138112"/>
                  <a:gd name="connsiteX10" fmla="*/ 65151 w 91154"/>
                  <a:gd name="connsiteY10" fmla="*/ 138113 h 138112"/>
                  <a:gd name="connsiteX11" fmla="*/ 65151 w 91154"/>
                  <a:gd name="connsiteY11" fmla="*/ 81724 h 138112"/>
                  <a:gd name="connsiteX12" fmla="*/ 61341 w 91154"/>
                  <a:gd name="connsiteY12" fmla="*/ 64198 h 138112"/>
                  <a:gd name="connsiteX13" fmla="*/ 48196 w 91154"/>
                  <a:gd name="connsiteY13" fmla="*/ 58103 h 138112"/>
                  <a:gd name="connsiteX14" fmla="*/ 36862 w 91154"/>
                  <a:gd name="connsiteY14" fmla="*/ 61436 h 138112"/>
                  <a:gd name="connsiteX15" fmla="*/ 28956 w 91154"/>
                  <a:gd name="connsiteY15" fmla="*/ 70675 h 138112"/>
                  <a:gd name="connsiteX16" fmla="*/ 26098 w 91154"/>
                  <a:gd name="connsiteY16" fmla="*/ 84201 h 138112"/>
                  <a:gd name="connsiteX17" fmla="*/ 26098 w 91154"/>
                  <a:gd name="connsiteY17" fmla="*/ 138113 h 138112"/>
                  <a:gd name="connsiteX18" fmla="*/ 0 w 91154"/>
                  <a:gd name="connsiteY18" fmla="*/ 138113 h 138112"/>
                  <a:gd name="connsiteX19" fmla="*/ 0 w 91154"/>
                  <a:gd name="connsiteY19" fmla="*/ 0 h 1381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91154" h="138112">
                    <a:moveTo>
                      <a:pt x="0" y="0"/>
                    </a:moveTo>
                    <a:lnTo>
                      <a:pt x="26098" y="0"/>
                    </a:lnTo>
                    <a:lnTo>
                      <a:pt x="26098" y="37719"/>
                    </a:lnTo>
                    <a:cubicBezTo>
                      <a:pt x="26098" y="41910"/>
                      <a:pt x="25813" y="47911"/>
                      <a:pt x="25337" y="55626"/>
                    </a:cubicBezTo>
                    <a:lnTo>
                      <a:pt x="25718" y="55626"/>
                    </a:lnTo>
                    <a:cubicBezTo>
                      <a:pt x="29146" y="48768"/>
                      <a:pt x="33623" y="43720"/>
                      <a:pt x="38957" y="40481"/>
                    </a:cubicBezTo>
                    <a:cubicBezTo>
                      <a:pt x="44291" y="37243"/>
                      <a:pt x="50673" y="35623"/>
                      <a:pt x="58103" y="35623"/>
                    </a:cubicBezTo>
                    <a:cubicBezTo>
                      <a:pt x="69532" y="35623"/>
                      <a:pt x="77914" y="39148"/>
                      <a:pt x="83248" y="46101"/>
                    </a:cubicBezTo>
                    <a:cubicBezTo>
                      <a:pt x="88582" y="53149"/>
                      <a:pt x="91154" y="62484"/>
                      <a:pt x="91154" y="74295"/>
                    </a:cubicBezTo>
                    <a:lnTo>
                      <a:pt x="91154" y="138113"/>
                    </a:lnTo>
                    <a:lnTo>
                      <a:pt x="65151" y="138113"/>
                    </a:lnTo>
                    <a:lnTo>
                      <a:pt x="65151" y="81724"/>
                    </a:lnTo>
                    <a:cubicBezTo>
                      <a:pt x="65151" y="74200"/>
                      <a:pt x="63913" y="68294"/>
                      <a:pt x="61341" y="64198"/>
                    </a:cubicBezTo>
                    <a:cubicBezTo>
                      <a:pt x="58769" y="60103"/>
                      <a:pt x="54388" y="58103"/>
                      <a:pt x="48196" y="58103"/>
                    </a:cubicBezTo>
                    <a:cubicBezTo>
                      <a:pt x="44005" y="58103"/>
                      <a:pt x="40291" y="59246"/>
                      <a:pt x="36862" y="61436"/>
                    </a:cubicBezTo>
                    <a:cubicBezTo>
                      <a:pt x="33528" y="63627"/>
                      <a:pt x="30861" y="66675"/>
                      <a:pt x="28956" y="70675"/>
                    </a:cubicBezTo>
                    <a:cubicBezTo>
                      <a:pt x="27051" y="74676"/>
                      <a:pt x="26098" y="79153"/>
                      <a:pt x="26098" y="84201"/>
                    </a:cubicBezTo>
                    <a:lnTo>
                      <a:pt x="26098" y="138113"/>
                    </a:lnTo>
                    <a:lnTo>
                      <a:pt x="0" y="138113"/>
                    </a:lnTo>
                    <a:lnTo>
                      <a:pt x="0" y="0"/>
                    </a:lnTo>
                    <a:close/>
                  </a:path>
                </a:pathLst>
              </a:custGeom>
              <a:solidFill>
                <a:srgbClr val="FFFFFF"/>
              </a:solidFill>
              <a:ln w="9525" cap="flat">
                <a:noFill/>
                <a:prstDash val="solid"/>
                <a:miter/>
              </a:ln>
            </p:spPr>
            <p:txBody>
              <a:bodyPr rtlCol="0" anchor="ctr"/>
              <a:lstStyle/>
              <a:p>
                <a:pPr marL="0" marR="0" lvl="0" indent="0" algn="l" defTabSz="913578" rtl="0" eaLnBrk="1" fontAlgn="auto" latinLnBrk="0" hangingPunct="1">
                  <a:lnSpc>
                    <a:spcPct val="100000"/>
                  </a:lnSpc>
                  <a:spcBef>
                    <a:spcPts val="0"/>
                  </a:spcBef>
                  <a:spcAft>
                    <a:spcPts val="0"/>
                  </a:spcAft>
                  <a:buClrTx/>
                  <a:buSzTx/>
                  <a:buFontTx/>
                  <a:buNone/>
                  <a:tabLst/>
                  <a:defRPr/>
                </a:pPr>
                <a:endParaRPr kumimoji="0" lang="en-US" sz="17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457" name="Freeform: Shape 282">
                <a:extLst>
                  <a:ext uri="{FF2B5EF4-FFF2-40B4-BE49-F238E27FC236}">
                    <a16:creationId xmlns:a16="http://schemas.microsoft.com/office/drawing/2014/main" id="{46E0E790-6C2D-9ADD-E33D-39E291331506}"/>
                  </a:ext>
                </a:extLst>
              </p:cNvPr>
              <p:cNvSpPr/>
              <p:nvPr/>
            </p:nvSpPr>
            <p:spPr>
              <a:xfrm>
                <a:off x="6023609" y="5094636"/>
                <a:ext cx="91916" cy="102679"/>
              </a:xfrm>
              <a:custGeom>
                <a:avLst/>
                <a:gdLst>
                  <a:gd name="connsiteX0" fmla="*/ 667 w 91916"/>
                  <a:gd name="connsiteY0" fmla="*/ 24670 h 102679"/>
                  <a:gd name="connsiteX1" fmla="*/ 476 w 91916"/>
                  <a:gd name="connsiteY1" fmla="*/ 11430 h 102679"/>
                  <a:gd name="connsiteX2" fmla="*/ 0 w 91916"/>
                  <a:gd name="connsiteY2" fmla="*/ 2191 h 102679"/>
                  <a:gd name="connsiteX3" fmla="*/ 24955 w 91916"/>
                  <a:gd name="connsiteY3" fmla="*/ 2191 h 102679"/>
                  <a:gd name="connsiteX4" fmla="*/ 25718 w 91916"/>
                  <a:gd name="connsiteY4" fmla="*/ 10382 h 102679"/>
                  <a:gd name="connsiteX5" fmla="*/ 26099 w 91916"/>
                  <a:gd name="connsiteY5" fmla="*/ 20193 h 102679"/>
                  <a:gd name="connsiteX6" fmla="*/ 26479 w 91916"/>
                  <a:gd name="connsiteY6" fmla="*/ 20193 h 102679"/>
                  <a:gd name="connsiteX7" fmla="*/ 39814 w 91916"/>
                  <a:gd name="connsiteY7" fmla="*/ 4953 h 102679"/>
                  <a:gd name="connsiteX8" fmla="*/ 58864 w 91916"/>
                  <a:gd name="connsiteY8" fmla="*/ 0 h 102679"/>
                  <a:gd name="connsiteX9" fmla="*/ 84011 w 91916"/>
                  <a:gd name="connsiteY9" fmla="*/ 10573 h 102679"/>
                  <a:gd name="connsiteX10" fmla="*/ 91916 w 91916"/>
                  <a:gd name="connsiteY10" fmla="*/ 38862 h 102679"/>
                  <a:gd name="connsiteX11" fmla="*/ 91916 w 91916"/>
                  <a:gd name="connsiteY11" fmla="*/ 102679 h 102679"/>
                  <a:gd name="connsiteX12" fmla="*/ 65913 w 91916"/>
                  <a:gd name="connsiteY12" fmla="*/ 102679 h 102679"/>
                  <a:gd name="connsiteX13" fmla="*/ 65913 w 91916"/>
                  <a:gd name="connsiteY13" fmla="*/ 46292 h 102679"/>
                  <a:gd name="connsiteX14" fmla="*/ 62103 w 91916"/>
                  <a:gd name="connsiteY14" fmla="*/ 28670 h 102679"/>
                  <a:gd name="connsiteX15" fmla="*/ 48959 w 91916"/>
                  <a:gd name="connsiteY15" fmla="*/ 22479 h 102679"/>
                  <a:gd name="connsiteX16" fmla="*/ 37624 w 91916"/>
                  <a:gd name="connsiteY16" fmla="*/ 25813 h 102679"/>
                  <a:gd name="connsiteX17" fmla="*/ 29718 w 91916"/>
                  <a:gd name="connsiteY17" fmla="*/ 35147 h 102679"/>
                  <a:gd name="connsiteX18" fmla="*/ 26861 w 91916"/>
                  <a:gd name="connsiteY18" fmla="*/ 48768 h 102679"/>
                  <a:gd name="connsiteX19" fmla="*/ 26861 w 91916"/>
                  <a:gd name="connsiteY19" fmla="*/ 102679 h 102679"/>
                  <a:gd name="connsiteX20" fmla="*/ 762 w 91916"/>
                  <a:gd name="connsiteY20" fmla="*/ 102679 h 102679"/>
                  <a:gd name="connsiteX21" fmla="*/ 762 w 91916"/>
                  <a:gd name="connsiteY21" fmla="*/ 24575 h 102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91916" h="102679">
                    <a:moveTo>
                      <a:pt x="667" y="24670"/>
                    </a:moveTo>
                    <a:cubicBezTo>
                      <a:pt x="667" y="20384"/>
                      <a:pt x="667" y="16002"/>
                      <a:pt x="476" y="11430"/>
                    </a:cubicBezTo>
                    <a:cubicBezTo>
                      <a:pt x="286" y="6858"/>
                      <a:pt x="191" y="3810"/>
                      <a:pt x="0" y="2191"/>
                    </a:cubicBezTo>
                    <a:lnTo>
                      <a:pt x="24955" y="2191"/>
                    </a:lnTo>
                    <a:cubicBezTo>
                      <a:pt x="25241" y="3524"/>
                      <a:pt x="25432" y="6287"/>
                      <a:pt x="25718" y="10382"/>
                    </a:cubicBezTo>
                    <a:cubicBezTo>
                      <a:pt x="26003" y="14478"/>
                      <a:pt x="26099" y="17812"/>
                      <a:pt x="26099" y="20193"/>
                    </a:cubicBezTo>
                    <a:lnTo>
                      <a:pt x="26479" y="20193"/>
                    </a:lnTo>
                    <a:cubicBezTo>
                      <a:pt x="30004" y="13335"/>
                      <a:pt x="34480" y="8192"/>
                      <a:pt x="39814" y="4953"/>
                    </a:cubicBezTo>
                    <a:cubicBezTo>
                      <a:pt x="45149" y="1619"/>
                      <a:pt x="51530" y="0"/>
                      <a:pt x="58864" y="0"/>
                    </a:cubicBezTo>
                    <a:cubicBezTo>
                      <a:pt x="70295" y="0"/>
                      <a:pt x="78677" y="3524"/>
                      <a:pt x="84011" y="10573"/>
                    </a:cubicBezTo>
                    <a:cubicBezTo>
                      <a:pt x="89345" y="17621"/>
                      <a:pt x="91916" y="27051"/>
                      <a:pt x="91916" y="38862"/>
                    </a:cubicBezTo>
                    <a:lnTo>
                      <a:pt x="91916" y="102679"/>
                    </a:lnTo>
                    <a:lnTo>
                      <a:pt x="65913" y="102679"/>
                    </a:lnTo>
                    <a:lnTo>
                      <a:pt x="65913" y="46292"/>
                    </a:lnTo>
                    <a:cubicBezTo>
                      <a:pt x="65913" y="38767"/>
                      <a:pt x="64675" y="32861"/>
                      <a:pt x="62103" y="28670"/>
                    </a:cubicBezTo>
                    <a:cubicBezTo>
                      <a:pt x="59531" y="24479"/>
                      <a:pt x="55150" y="22479"/>
                      <a:pt x="48959" y="22479"/>
                    </a:cubicBezTo>
                    <a:cubicBezTo>
                      <a:pt x="44768" y="22479"/>
                      <a:pt x="40958" y="23622"/>
                      <a:pt x="37624" y="25813"/>
                    </a:cubicBezTo>
                    <a:cubicBezTo>
                      <a:pt x="34290" y="28004"/>
                      <a:pt x="31623" y="31147"/>
                      <a:pt x="29718" y="35147"/>
                    </a:cubicBezTo>
                    <a:cubicBezTo>
                      <a:pt x="27813" y="39148"/>
                      <a:pt x="26861" y="43720"/>
                      <a:pt x="26861" y="48768"/>
                    </a:cubicBezTo>
                    <a:lnTo>
                      <a:pt x="26861" y="102679"/>
                    </a:lnTo>
                    <a:lnTo>
                      <a:pt x="762" y="102679"/>
                    </a:lnTo>
                    <a:lnTo>
                      <a:pt x="762" y="24575"/>
                    </a:lnTo>
                    <a:close/>
                  </a:path>
                </a:pathLst>
              </a:custGeom>
              <a:solidFill>
                <a:srgbClr val="FFFFFF"/>
              </a:solidFill>
              <a:ln w="9525" cap="flat">
                <a:noFill/>
                <a:prstDash val="solid"/>
                <a:miter/>
              </a:ln>
            </p:spPr>
            <p:txBody>
              <a:bodyPr rtlCol="0" anchor="ctr"/>
              <a:lstStyle/>
              <a:p>
                <a:pPr marL="0" marR="0" lvl="0" indent="0" algn="l" defTabSz="913578" rtl="0" eaLnBrk="1" fontAlgn="auto" latinLnBrk="0" hangingPunct="1">
                  <a:lnSpc>
                    <a:spcPct val="100000"/>
                  </a:lnSpc>
                  <a:spcBef>
                    <a:spcPts val="0"/>
                  </a:spcBef>
                  <a:spcAft>
                    <a:spcPts val="0"/>
                  </a:spcAft>
                  <a:buClrTx/>
                  <a:buSzTx/>
                  <a:buFontTx/>
                  <a:buNone/>
                  <a:tabLst/>
                  <a:defRPr/>
                </a:pPr>
                <a:endParaRPr kumimoji="0" lang="en-US" sz="17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458" name="Freeform: Shape 283">
                <a:extLst>
                  <a:ext uri="{FF2B5EF4-FFF2-40B4-BE49-F238E27FC236}">
                    <a16:creationId xmlns:a16="http://schemas.microsoft.com/office/drawing/2014/main" id="{87D6A632-C20B-DBBD-ADA4-7576B90FD4A0}"/>
                  </a:ext>
                </a:extLst>
              </p:cNvPr>
              <p:cNvSpPr/>
              <p:nvPr/>
            </p:nvSpPr>
            <p:spPr>
              <a:xfrm>
                <a:off x="6134766" y="5095113"/>
                <a:ext cx="101441" cy="104393"/>
              </a:xfrm>
              <a:custGeom>
                <a:avLst/>
                <a:gdLst>
                  <a:gd name="connsiteX0" fmla="*/ 23146 w 101441"/>
                  <a:gd name="connsiteY0" fmla="*/ 97346 h 104393"/>
                  <a:gd name="connsiteX1" fmla="*/ 5905 w 101441"/>
                  <a:gd name="connsiteY1" fmla="*/ 78581 h 104393"/>
                  <a:gd name="connsiteX2" fmla="*/ 0 w 101441"/>
                  <a:gd name="connsiteY2" fmla="*/ 51911 h 104393"/>
                  <a:gd name="connsiteX3" fmla="*/ 5715 w 101441"/>
                  <a:gd name="connsiteY3" fmla="*/ 25717 h 104393"/>
                  <a:gd name="connsiteX4" fmla="*/ 22860 w 101441"/>
                  <a:gd name="connsiteY4" fmla="*/ 6953 h 104393"/>
                  <a:gd name="connsiteX5" fmla="*/ 50863 w 101441"/>
                  <a:gd name="connsiteY5" fmla="*/ 0 h 104393"/>
                  <a:gd name="connsiteX6" fmla="*/ 79534 w 101441"/>
                  <a:gd name="connsiteY6" fmla="*/ 6953 h 104393"/>
                  <a:gd name="connsiteX7" fmla="*/ 96107 w 101441"/>
                  <a:gd name="connsiteY7" fmla="*/ 25527 h 104393"/>
                  <a:gd name="connsiteX8" fmla="*/ 101441 w 101441"/>
                  <a:gd name="connsiteY8" fmla="*/ 52006 h 104393"/>
                  <a:gd name="connsiteX9" fmla="*/ 95631 w 101441"/>
                  <a:gd name="connsiteY9" fmla="*/ 78676 h 104393"/>
                  <a:gd name="connsiteX10" fmla="*/ 78296 w 101441"/>
                  <a:gd name="connsiteY10" fmla="*/ 97441 h 104393"/>
                  <a:gd name="connsiteX11" fmla="*/ 50292 w 101441"/>
                  <a:gd name="connsiteY11" fmla="*/ 104394 h 104393"/>
                  <a:gd name="connsiteX12" fmla="*/ 23050 w 101441"/>
                  <a:gd name="connsiteY12" fmla="*/ 97536 h 104393"/>
                  <a:gd name="connsiteX13" fmla="*/ 67913 w 101441"/>
                  <a:gd name="connsiteY13" fmla="*/ 75342 h 104393"/>
                  <a:gd name="connsiteX14" fmla="*/ 74104 w 101441"/>
                  <a:gd name="connsiteY14" fmla="*/ 51911 h 104393"/>
                  <a:gd name="connsiteX15" fmla="*/ 68199 w 101441"/>
                  <a:gd name="connsiteY15" fmla="*/ 28765 h 104393"/>
                  <a:gd name="connsiteX16" fmla="*/ 51149 w 101441"/>
                  <a:gd name="connsiteY16" fmla="*/ 20669 h 104393"/>
                  <a:gd name="connsiteX17" fmla="*/ 33433 w 101441"/>
                  <a:gd name="connsiteY17" fmla="*/ 28765 h 104393"/>
                  <a:gd name="connsiteX18" fmla="*/ 27337 w 101441"/>
                  <a:gd name="connsiteY18" fmla="*/ 51911 h 104393"/>
                  <a:gd name="connsiteX19" fmla="*/ 30194 w 101441"/>
                  <a:gd name="connsiteY19" fmla="*/ 68961 h 104393"/>
                  <a:gd name="connsiteX20" fmla="*/ 38100 w 101441"/>
                  <a:gd name="connsiteY20" fmla="*/ 79819 h 104393"/>
                  <a:gd name="connsiteX21" fmla="*/ 50006 w 101441"/>
                  <a:gd name="connsiteY21" fmla="*/ 83534 h 104393"/>
                  <a:gd name="connsiteX22" fmla="*/ 67913 w 101441"/>
                  <a:gd name="connsiteY22" fmla="*/ 75342 h 104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01441" h="104393">
                    <a:moveTo>
                      <a:pt x="23146" y="97346"/>
                    </a:moveTo>
                    <a:cubicBezTo>
                      <a:pt x="15526" y="92773"/>
                      <a:pt x="9811" y="86487"/>
                      <a:pt x="5905" y="78581"/>
                    </a:cubicBezTo>
                    <a:cubicBezTo>
                      <a:pt x="2000" y="70675"/>
                      <a:pt x="0" y="61722"/>
                      <a:pt x="0" y="51911"/>
                    </a:cubicBezTo>
                    <a:cubicBezTo>
                      <a:pt x="0" y="42100"/>
                      <a:pt x="1905" y="33528"/>
                      <a:pt x="5715" y="25717"/>
                    </a:cubicBezTo>
                    <a:cubicBezTo>
                      <a:pt x="9525" y="17812"/>
                      <a:pt x="15240" y="11621"/>
                      <a:pt x="22860" y="6953"/>
                    </a:cubicBezTo>
                    <a:cubicBezTo>
                      <a:pt x="30480" y="2286"/>
                      <a:pt x="39814" y="0"/>
                      <a:pt x="50863" y="0"/>
                    </a:cubicBezTo>
                    <a:cubicBezTo>
                      <a:pt x="62484" y="0"/>
                      <a:pt x="72009" y="2286"/>
                      <a:pt x="79534" y="6953"/>
                    </a:cubicBezTo>
                    <a:cubicBezTo>
                      <a:pt x="87058" y="11525"/>
                      <a:pt x="92583" y="17812"/>
                      <a:pt x="96107" y="25527"/>
                    </a:cubicBezTo>
                    <a:cubicBezTo>
                      <a:pt x="99631" y="33338"/>
                      <a:pt x="101441" y="42100"/>
                      <a:pt x="101441" y="52006"/>
                    </a:cubicBezTo>
                    <a:cubicBezTo>
                      <a:pt x="101441" y="61913"/>
                      <a:pt x="99536" y="70771"/>
                      <a:pt x="95631" y="78676"/>
                    </a:cubicBezTo>
                    <a:cubicBezTo>
                      <a:pt x="91726" y="86582"/>
                      <a:pt x="86011" y="92869"/>
                      <a:pt x="78296" y="97441"/>
                    </a:cubicBezTo>
                    <a:cubicBezTo>
                      <a:pt x="70580" y="102013"/>
                      <a:pt x="61246" y="104394"/>
                      <a:pt x="50292" y="104394"/>
                    </a:cubicBezTo>
                    <a:cubicBezTo>
                      <a:pt x="39338" y="104394"/>
                      <a:pt x="30671" y="102108"/>
                      <a:pt x="23050" y="97536"/>
                    </a:cubicBezTo>
                    <a:close/>
                    <a:moveTo>
                      <a:pt x="67913" y="75342"/>
                    </a:moveTo>
                    <a:cubicBezTo>
                      <a:pt x="72104" y="69913"/>
                      <a:pt x="74104" y="62103"/>
                      <a:pt x="74104" y="51911"/>
                    </a:cubicBezTo>
                    <a:cubicBezTo>
                      <a:pt x="74104" y="41719"/>
                      <a:pt x="72104" y="34099"/>
                      <a:pt x="68199" y="28765"/>
                    </a:cubicBezTo>
                    <a:cubicBezTo>
                      <a:pt x="64294" y="23431"/>
                      <a:pt x="58579" y="20669"/>
                      <a:pt x="51149" y="20669"/>
                    </a:cubicBezTo>
                    <a:cubicBezTo>
                      <a:pt x="43720" y="20669"/>
                      <a:pt x="37529" y="23336"/>
                      <a:pt x="33433" y="28765"/>
                    </a:cubicBezTo>
                    <a:cubicBezTo>
                      <a:pt x="29337" y="34195"/>
                      <a:pt x="27337" y="41910"/>
                      <a:pt x="27337" y="51911"/>
                    </a:cubicBezTo>
                    <a:cubicBezTo>
                      <a:pt x="27337" y="58579"/>
                      <a:pt x="28289" y="64198"/>
                      <a:pt x="30194" y="68961"/>
                    </a:cubicBezTo>
                    <a:cubicBezTo>
                      <a:pt x="32099" y="73723"/>
                      <a:pt x="34766" y="77343"/>
                      <a:pt x="38100" y="79819"/>
                    </a:cubicBezTo>
                    <a:cubicBezTo>
                      <a:pt x="41434" y="82296"/>
                      <a:pt x="45434" y="83534"/>
                      <a:pt x="50006" y="83534"/>
                    </a:cubicBezTo>
                    <a:cubicBezTo>
                      <a:pt x="57721" y="83534"/>
                      <a:pt x="63722" y="80772"/>
                      <a:pt x="67913" y="75342"/>
                    </a:cubicBezTo>
                    <a:close/>
                  </a:path>
                </a:pathLst>
              </a:custGeom>
              <a:solidFill>
                <a:srgbClr val="FFFFFF"/>
              </a:solidFill>
              <a:ln w="9525" cap="flat">
                <a:noFill/>
                <a:prstDash val="solid"/>
                <a:miter/>
              </a:ln>
            </p:spPr>
            <p:txBody>
              <a:bodyPr rtlCol="0" anchor="ctr"/>
              <a:lstStyle/>
              <a:p>
                <a:pPr marL="0" marR="0" lvl="0" indent="0" algn="l" defTabSz="913578" rtl="0" eaLnBrk="1" fontAlgn="auto" latinLnBrk="0" hangingPunct="1">
                  <a:lnSpc>
                    <a:spcPct val="100000"/>
                  </a:lnSpc>
                  <a:spcBef>
                    <a:spcPts val="0"/>
                  </a:spcBef>
                  <a:spcAft>
                    <a:spcPts val="0"/>
                  </a:spcAft>
                  <a:buClrTx/>
                  <a:buSzTx/>
                  <a:buFontTx/>
                  <a:buNone/>
                  <a:tabLst/>
                  <a:defRPr/>
                </a:pPr>
                <a:endParaRPr kumimoji="0" lang="en-US" sz="17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459" name="Freeform: Shape 284">
                <a:extLst>
                  <a:ext uri="{FF2B5EF4-FFF2-40B4-BE49-F238E27FC236}">
                    <a16:creationId xmlns:a16="http://schemas.microsoft.com/office/drawing/2014/main" id="{BC0E7B54-2CE5-9FCD-CF2E-F7AEAF88BD81}"/>
                  </a:ext>
                </a:extLst>
              </p:cNvPr>
              <p:cNvSpPr/>
              <p:nvPr/>
            </p:nvSpPr>
            <p:spPr>
              <a:xfrm>
                <a:off x="6256115" y="5059394"/>
                <a:ext cx="40671" cy="139445"/>
              </a:xfrm>
              <a:custGeom>
                <a:avLst/>
                <a:gdLst>
                  <a:gd name="connsiteX0" fmla="*/ 6572 w 40671"/>
                  <a:gd name="connsiteY0" fmla="*/ 132397 h 139445"/>
                  <a:gd name="connsiteX1" fmla="*/ 0 w 40671"/>
                  <a:gd name="connsiteY1" fmla="*/ 113728 h 139445"/>
                  <a:gd name="connsiteX2" fmla="*/ 0 w 40671"/>
                  <a:gd name="connsiteY2" fmla="*/ 0 h 139445"/>
                  <a:gd name="connsiteX3" fmla="*/ 26098 w 40671"/>
                  <a:gd name="connsiteY3" fmla="*/ 0 h 139445"/>
                  <a:gd name="connsiteX4" fmla="*/ 26098 w 40671"/>
                  <a:gd name="connsiteY4" fmla="*/ 107251 h 139445"/>
                  <a:gd name="connsiteX5" fmla="*/ 26765 w 40671"/>
                  <a:gd name="connsiteY5" fmla="*/ 114014 h 139445"/>
                  <a:gd name="connsiteX6" fmla="*/ 29337 w 40671"/>
                  <a:gd name="connsiteY6" fmla="*/ 117443 h 139445"/>
                  <a:gd name="connsiteX7" fmla="*/ 34957 w 40671"/>
                  <a:gd name="connsiteY7" fmla="*/ 118491 h 139445"/>
                  <a:gd name="connsiteX8" fmla="*/ 39719 w 40671"/>
                  <a:gd name="connsiteY8" fmla="*/ 117919 h 139445"/>
                  <a:gd name="connsiteX9" fmla="*/ 40672 w 40671"/>
                  <a:gd name="connsiteY9" fmla="*/ 138113 h 139445"/>
                  <a:gd name="connsiteX10" fmla="*/ 26765 w 40671"/>
                  <a:gd name="connsiteY10" fmla="*/ 139446 h 139445"/>
                  <a:gd name="connsiteX11" fmla="*/ 6477 w 40671"/>
                  <a:gd name="connsiteY11" fmla="*/ 132493 h 139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671" h="139445">
                    <a:moveTo>
                      <a:pt x="6572" y="132397"/>
                    </a:moveTo>
                    <a:cubicBezTo>
                      <a:pt x="2191" y="127730"/>
                      <a:pt x="0" y="121539"/>
                      <a:pt x="0" y="113728"/>
                    </a:cubicBezTo>
                    <a:lnTo>
                      <a:pt x="0" y="0"/>
                    </a:lnTo>
                    <a:lnTo>
                      <a:pt x="26098" y="0"/>
                    </a:lnTo>
                    <a:lnTo>
                      <a:pt x="26098" y="107251"/>
                    </a:lnTo>
                    <a:cubicBezTo>
                      <a:pt x="26098" y="110204"/>
                      <a:pt x="26289" y="112395"/>
                      <a:pt x="26765" y="114014"/>
                    </a:cubicBezTo>
                    <a:cubicBezTo>
                      <a:pt x="27242" y="115633"/>
                      <a:pt x="28099" y="116776"/>
                      <a:pt x="29337" y="117443"/>
                    </a:cubicBezTo>
                    <a:cubicBezTo>
                      <a:pt x="30575" y="118110"/>
                      <a:pt x="32480" y="118491"/>
                      <a:pt x="34957" y="118491"/>
                    </a:cubicBezTo>
                    <a:cubicBezTo>
                      <a:pt x="36481" y="118491"/>
                      <a:pt x="38005" y="118300"/>
                      <a:pt x="39719" y="117919"/>
                    </a:cubicBezTo>
                    <a:lnTo>
                      <a:pt x="40672" y="138113"/>
                    </a:lnTo>
                    <a:cubicBezTo>
                      <a:pt x="36195" y="138970"/>
                      <a:pt x="31623" y="139446"/>
                      <a:pt x="26765" y="139446"/>
                    </a:cubicBezTo>
                    <a:cubicBezTo>
                      <a:pt x="17621" y="139446"/>
                      <a:pt x="10859" y="137160"/>
                      <a:pt x="6477" y="132493"/>
                    </a:cubicBezTo>
                    <a:close/>
                  </a:path>
                </a:pathLst>
              </a:custGeom>
              <a:solidFill>
                <a:srgbClr val="FFFFFF"/>
              </a:solidFill>
              <a:ln w="9525" cap="flat">
                <a:noFill/>
                <a:prstDash val="solid"/>
                <a:miter/>
              </a:ln>
            </p:spPr>
            <p:txBody>
              <a:bodyPr rtlCol="0" anchor="ctr"/>
              <a:lstStyle/>
              <a:p>
                <a:pPr marL="0" marR="0" lvl="0" indent="0" algn="l" defTabSz="913578" rtl="0" eaLnBrk="1" fontAlgn="auto" latinLnBrk="0" hangingPunct="1">
                  <a:lnSpc>
                    <a:spcPct val="100000"/>
                  </a:lnSpc>
                  <a:spcBef>
                    <a:spcPts val="0"/>
                  </a:spcBef>
                  <a:spcAft>
                    <a:spcPts val="0"/>
                  </a:spcAft>
                  <a:buClrTx/>
                  <a:buSzTx/>
                  <a:buFontTx/>
                  <a:buNone/>
                  <a:tabLst/>
                  <a:defRPr/>
                </a:pPr>
                <a:endParaRPr kumimoji="0" lang="en-US" sz="17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460" name="Freeform: Shape 285">
                <a:extLst>
                  <a:ext uri="{FF2B5EF4-FFF2-40B4-BE49-F238E27FC236}">
                    <a16:creationId xmlns:a16="http://schemas.microsoft.com/office/drawing/2014/main" id="{AED65B42-4662-1E25-4196-FCC9BE6086A8}"/>
                  </a:ext>
                </a:extLst>
              </p:cNvPr>
              <p:cNvSpPr/>
              <p:nvPr/>
            </p:nvSpPr>
            <p:spPr>
              <a:xfrm>
                <a:off x="6307169" y="5095113"/>
                <a:ext cx="101441" cy="104393"/>
              </a:xfrm>
              <a:custGeom>
                <a:avLst/>
                <a:gdLst>
                  <a:gd name="connsiteX0" fmla="*/ 23146 w 101441"/>
                  <a:gd name="connsiteY0" fmla="*/ 97346 h 104393"/>
                  <a:gd name="connsiteX1" fmla="*/ 5905 w 101441"/>
                  <a:gd name="connsiteY1" fmla="*/ 78581 h 104393"/>
                  <a:gd name="connsiteX2" fmla="*/ 0 w 101441"/>
                  <a:gd name="connsiteY2" fmla="*/ 51911 h 104393"/>
                  <a:gd name="connsiteX3" fmla="*/ 5715 w 101441"/>
                  <a:gd name="connsiteY3" fmla="*/ 25717 h 104393"/>
                  <a:gd name="connsiteX4" fmla="*/ 22860 w 101441"/>
                  <a:gd name="connsiteY4" fmla="*/ 6953 h 104393"/>
                  <a:gd name="connsiteX5" fmla="*/ 50863 w 101441"/>
                  <a:gd name="connsiteY5" fmla="*/ 0 h 104393"/>
                  <a:gd name="connsiteX6" fmla="*/ 79534 w 101441"/>
                  <a:gd name="connsiteY6" fmla="*/ 6953 h 104393"/>
                  <a:gd name="connsiteX7" fmla="*/ 96107 w 101441"/>
                  <a:gd name="connsiteY7" fmla="*/ 25527 h 104393"/>
                  <a:gd name="connsiteX8" fmla="*/ 101441 w 101441"/>
                  <a:gd name="connsiteY8" fmla="*/ 52006 h 104393"/>
                  <a:gd name="connsiteX9" fmla="*/ 95631 w 101441"/>
                  <a:gd name="connsiteY9" fmla="*/ 78676 h 104393"/>
                  <a:gd name="connsiteX10" fmla="*/ 78296 w 101441"/>
                  <a:gd name="connsiteY10" fmla="*/ 97441 h 104393"/>
                  <a:gd name="connsiteX11" fmla="*/ 50292 w 101441"/>
                  <a:gd name="connsiteY11" fmla="*/ 104394 h 104393"/>
                  <a:gd name="connsiteX12" fmla="*/ 23050 w 101441"/>
                  <a:gd name="connsiteY12" fmla="*/ 97536 h 104393"/>
                  <a:gd name="connsiteX13" fmla="*/ 67913 w 101441"/>
                  <a:gd name="connsiteY13" fmla="*/ 75342 h 104393"/>
                  <a:gd name="connsiteX14" fmla="*/ 74104 w 101441"/>
                  <a:gd name="connsiteY14" fmla="*/ 51911 h 104393"/>
                  <a:gd name="connsiteX15" fmla="*/ 68199 w 101441"/>
                  <a:gd name="connsiteY15" fmla="*/ 28765 h 104393"/>
                  <a:gd name="connsiteX16" fmla="*/ 51149 w 101441"/>
                  <a:gd name="connsiteY16" fmla="*/ 20669 h 104393"/>
                  <a:gd name="connsiteX17" fmla="*/ 33433 w 101441"/>
                  <a:gd name="connsiteY17" fmla="*/ 28765 h 104393"/>
                  <a:gd name="connsiteX18" fmla="*/ 27337 w 101441"/>
                  <a:gd name="connsiteY18" fmla="*/ 51911 h 104393"/>
                  <a:gd name="connsiteX19" fmla="*/ 30194 w 101441"/>
                  <a:gd name="connsiteY19" fmla="*/ 68961 h 104393"/>
                  <a:gd name="connsiteX20" fmla="*/ 38100 w 101441"/>
                  <a:gd name="connsiteY20" fmla="*/ 79819 h 104393"/>
                  <a:gd name="connsiteX21" fmla="*/ 50006 w 101441"/>
                  <a:gd name="connsiteY21" fmla="*/ 83534 h 104393"/>
                  <a:gd name="connsiteX22" fmla="*/ 67913 w 101441"/>
                  <a:gd name="connsiteY22" fmla="*/ 75342 h 104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01441" h="104393">
                    <a:moveTo>
                      <a:pt x="23146" y="97346"/>
                    </a:moveTo>
                    <a:cubicBezTo>
                      <a:pt x="15526" y="92773"/>
                      <a:pt x="9811" y="86487"/>
                      <a:pt x="5905" y="78581"/>
                    </a:cubicBezTo>
                    <a:cubicBezTo>
                      <a:pt x="2000" y="70675"/>
                      <a:pt x="0" y="61722"/>
                      <a:pt x="0" y="51911"/>
                    </a:cubicBezTo>
                    <a:cubicBezTo>
                      <a:pt x="0" y="42100"/>
                      <a:pt x="1905" y="33528"/>
                      <a:pt x="5715" y="25717"/>
                    </a:cubicBezTo>
                    <a:cubicBezTo>
                      <a:pt x="9525" y="17812"/>
                      <a:pt x="15240" y="11621"/>
                      <a:pt x="22860" y="6953"/>
                    </a:cubicBezTo>
                    <a:cubicBezTo>
                      <a:pt x="30480" y="2286"/>
                      <a:pt x="39814" y="0"/>
                      <a:pt x="50863" y="0"/>
                    </a:cubicBezTo>
                    <a:cubicBezTo>
                      <a:pt x="62484" y="0"/>
                      <a:pt x="72009" y="2286"/>
                      <a:pt x="79534" y="6953"/>
                    </a:cubicBezTo>
                    <a:cubicBezTo>
                      <a:pt x="87058" y="11525"/>
                      <a:pt x="92583" y="17812"/>
                      <a:pt x="96107" y="25527"/>
                    </a:cubicBezTo>
                    <a:cubicBezTo>
                      <a:pt x="99631" y="33338"/>
                      <a:pt x="101441" y="42100"/>
                      <a:pt x="101441" y="52006"/>
                    </a:cubicBezTo>
                    <a:cubicBezTo>
                      <a:pt x="101441" y="61913"/>
                      <a:pt x="99536" y="70771"/>
                      <a:pt x="95631" y="78676"/>
                    </a:cubicBezTo>
                    <a:cubicBezTo>
                      <a:pt x="91726" y="86582"/>
                      <a:pt x="86011" y="92869"/>
                      <a:pt x="78296" y="97441"/>
                    </a:cubicBezTo>
                    <a:cubicBezTo>
                      <a:pt x="70580" y="102013"/>
                      <a:pt x="61246" y="104394"/>
                      <a:pt x="50292" y="104394"/>
                    </a:cubicBezTo>
                    <a:cubicBezTo>
                      <a:pt x="39338" y="104394"/>
                      <a:pt x="30671" y="102108"/>
                      <a:pt x="23050" y="97536"/>
                    </a:cubicBezTo>
                    <a:close/>
                    <a:moveTo>
                      <a:pt x="67913" y="75342"/>
                    </a:moveTo>
                    <a:cubicBezTo>
                      <a:pt x="72104" y="69913"/>
                      <a:pt x="74104" y="62103"/>
                      <a:pt x="74104" y="51911"/>
                    </a:cubicBezTo>
                    <a:cubicBezTo>
                      <a:pt x="74104" y="41719"/>
                      <a:pt x="72104" y="34099"/>
                      <a:pt x="68199" y="28765"/>
                    </a:cubicBezTo>
                    <a:cubicBezTo>
                      <a:pt x="64294" y="23431"/>
                      <a:pt x="58579" y="20669"/>
                      <a:pt x="51149" y="20669"/>
                    </a:cubicBezTo>
                    <a:cubicBezTo>
                      <a:pt x="43720" y="20669"/>
                      <a:pt x="37528" y="23336"/>
                      <a:pt x="33433" y="28765"/>
                    </a:cubicBezTo>
                    <a:cubicBezTo>
                      <a:pt x="29337" y="34195"/>
                      <a:pt x="27337" y="41910"/>
                      <a:pt x="27337" y="51911"/>
                    </a:cubicBezTo>
                    <a:cubicBezTo>
                      <a:pt x="27337" y="58579"/>
                      <a:pt x="28289" y="64198"/>
                      <a:pt x="30194" y="68961"/>
                    </a:cubicBezTo>
                    <a:cubicBezTo>
                      <a:pt x="32099" y="73723"/>
                      <a:pt x="34766" y="77343"/>
                      <a:pt x="38100" y="79819"/>
                    </a:cubicBezTo>
                    <a:cubicBezTo>
                      <a:pt x="41434" y="82296"/>
                      <a:pt x="45434" y="83534"/>
                      <a:pt x="50006" y="83534"/>
                    </a:cubicBezTo>
                    <a:cubicBezTo>
                      <a:pt x="57721" y="83534"/>
                      <a:pt x="63722" y="80772"/>
                      <a:pt x="67913" y="75342"/>
                    </a:cubicBezTo>
                    <a:close/>
                  </a:path>
                </a:pathLst>
              </a:custGeom>
              <a:solidFill>
                <a:srgbClr val="FFFFFF"/>
              </a:solidFill>
              <a:ln w="9525" cap="flat">
                <a:noFill/>
                <a:prstDash val="solid"/>
                <a:miter/>
              </a:ln>
            </p:spPr>
            <p:txBody>
              <a:bodyPr rtlCol="0" anchor="ctr"/>
              <a:lstStyle/>
              <a:p>
                <a:pPr marL="0" marR="0" lvl="0" indent="0" algn="l" defTabSz="913578" rtl="0" eaLnBrk="1" fontAlgn="auto" latinLnBrk="0" hangingPunct="1">
                  <a:lnSpc>
                    <a:spcPct val="100000"/>
                  </a:lnSpc>
                  <a:spcBef>
                    <a:spcPts val="0"/>
                  </a:spcBef>
                  <a:spcAft>
                    <a:spcPts val="0"/>
                  </a:spcAft>
                  <a:buClrTx/>
                  <a:buSzTx/>
                  <a:buFontTx/>
                  <a:buNone/>
                  <a:tabLst/>
                  <a:defRPr/>
                </a:pPr>
                <a:endParaRPr kumimoji="0" lang="en-US" sz="17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461" name="Freeform: Shape 286">
                <a:extLst>
                  <a:ext uri="{FF2B5EF4-FFF2-40B4-BE49-F238E27FC236}">
                    <a16:creationId xmlns:a16="http://schemas.microsoft.com/office/drawing/2014/main" id="{BD5B8D68-49A2-7E3F-3892-3A5E796C0E01}"/>
                  </a:ext>
                </a:extLst>
              </p:cNvPr>
              <p:cNvSpPr/>
              <p:nvPr/>
            </p:nvSpPr>
            <p:spPr>
              <a:xfrm>
                <a:off x="6421755" y="5087588"/>
                <a:ext cx="101440" cy="149542"/>
              </a:xfrm>
              <a:custGeom>
                <a:avLst/>
                <a:gdLst>
                  <a:gd name="connsiteX0" fmla="*/ 80486 w 101440"/>
                  <a:gd name="connsiteY0" fmla="*/ 90392 h 149542"/>
                  <a:gd name="connsiteX1" fmla="*/ 95535 w 101440"/>
                  <a:gd name="connsiteY1" fmla="*/ 98584 h 149542"/>
                  <a:gd name="connsiteX2" fmla="*/ 101441 w 101440"/>
                  <a:gd name="connsiteY2" fmla="*/ 118015 h 149542"/>
                  <a:gd name="connsiteX3" fmla="*/ 88678 w 101440"/>
                  <a:gd name="connsiteY3" fmla="*/ 141732 h 149542"/>
                  <a:gd name="connsiteX4" fmla="*/ 48292 w 101440"/>
                  <a:gd name="connsiteY4" fmla="*/ 149542 h 149542"/>
                  <a:gd name="connsiteX5" fmla="*/ 20288 w 101440"/>
                  <a:gd name="connsiteY5" fmla="*/ 147161 h 149542"/>
                  <a:gd name="connsiteX6" fmla="*/ 4858 w 101440"/>
                  <a:gd name="connsiteY6" fmla="*/ 139351 h 149542"/>
                  <a:gd name="connsiteX7" fmla="*/ 0 w 101440"/>
                  <a:gd name="connsiteY7" fmla="*/ 124778 h 149542"/>
                  <a:gd name="connsiteX8" fmla="*/ 3334 w 101440"/>
                  <a:gd name="connsiteY8" fmla="*/ 113252 h 149542"/>
                  <a:gd name="connsiteX9" fmla="*/ 13240 w 101440"/>
                  <a:gd name="connsiteY9" fmla="*/ 103537 h 149542"/>
                  <a:gd name="connsiteX10" fmla="*/ 7048 w 101440"/>
                  <a:gd name="connsiteY10" fmla="*/ 89345 h 149542"/>
                  <a:gd name="connsiteX11" fmla="*/ 10192 w 101440"/>
                  <a:gd name="connsiteY11" fmla="*/ 77914 h 149542"/>
                  <a:gd name="connsiteX12" fmla="*/ 19335 w 101440"/>
                  <a:gd name="connsiteY12" fmla="*/ 68199 h 149542"/>
                  <a:gd name="connsiteX13" fmla="*/ 8572 w 101440"/>
                  <a:gd name="connsiteY13" fmla="*/ 57055 h 149542"/>
                  <a:gd name="connsiteX14" fmla="*/ 4858 w 101440"/>
                  <a:gd name="connsiteY14" fmla="*/ 41338 h 149542"/>
                  <a:gd name="connsiteX15" fmla="*/ 9144 w 101440"/>
                  <a:gd name="connsiteY15" fmla="*/ 24003 h 149542"/>
                  <a:gd name="connsiteX16" fmla="*/ 22955 w 101440"/>
                  <a:gd name="connsiteY16" fmla="*/ 11906 h 149542"/>
                  <a:gd name="connsiteX17" fmla="*/ 47054 w 101440"/>
                  <a:gd name="connsiteY17" fmla="*/ 7429 h 149542"/>
                  <a:gd name="connsiteX18" fmla="*/ 72771 w 101440"/>
                  <a:gd name="connsiteY18" fmla="*/ 13049 h 149542"/>
                  <a:gd name="connsiteX19" fmla="*/ 83439 w 101440"/>
                  <a:gd name="connsiteY19" fmla="*/ 3238 h 149542"/>
                  <a:gd name="connsiteX20" fmla="*/ 97250 w 101440"/>
                  <a:gd name="connsiteY20" fmla="*/ 0 h 149542"/>
                  <a:gd name="connsiteX21" fmla="*/ 97631 w 101440"/>
                  <a:gd name="connsiteY21" fmla="*/ 0 h 149542"/>
                  <a:gd name="connsiteX22" fmla="*/ 98584 w 101440"/>
                  <a:gd name="connsiteY22" fmla="*/ 21241 h 149542"/>
                  <a:gd name="connsiteX23" fmla="*/ 98203 w 101440"/>
                  <a:gd name="connsiteY23" fmla="*/ 21241 h 149542"/>
                  <a:gd name="connsiteX24" fmla="*/ 84201 w 101440"/>
                  <a:gd name="connsiteY24" fmla="*/ 23241 h 149542"/>
                  <a:gd name="connsiteX25" fmla="*/ 89154 w 101440"/>
                  <a:gd name="connsiteY25" fmla="*/ 41338 h 149542"/>
                  <a:gd name="connsiteX26" fmla="*/ 84677 w 101440"/>
                  <a:gd name="connsiteY26" fmla="*/ 58293 h 149542"/>
                  <a:gd name="connsiteX27" fmla="*/ 70675 w 101440"/>
                  <a:gd name="connsiteY27" fmla="*/ 70199 h 149542"/>
                  <a:gd name="connsiteX28" fmla="*/ 46672 w 101440"/>
                  <a:gd name="connsiteY28" fmla="*/ 74581 h 149542"/>
                  <a:gd name="connsiteX29" fmla="*/ 34004 w 101440"/>
                  <a:gd name="connsiteY29" fmla="*/ 73438 h 149542"/>
                  <a:gd name="connsiteX30" fmla="*/ 31052 w 101440"/>
                  <a:gd name="connsiteY30" fmla="*/ 76962 h 149542"/>
                  <a:gd name="connsiteX31" fmla="*/ 30099 w 101440"/>
                  <a:gd name="connsiteY31" fmla="*/ 80486 h 149542"/>
                  <a:gd name="connsiteX32" fmla="*/ 32099 w 101440"/>
                  <a:gd name="connsiteY32" fmla="*/ 84296 h 149542"/>
                  <a:gd name="connsiteX33" fmla="*/ 37719 w 101440"/>
                  <a:gd name="connsiteY33" fmla="*/ 86011 h 149542"/>
                  <a:gd name="connsiteX34" fmla="*/ 49339 w 101440"/>
                  <a:gd name="connsiteY34" fmla="*/ 86963 h 149542"/>
                  <a:gd name="connsiteX35" fmla="*/ 54007 w 101440"/>
                  <a:gd name="connsiteY35" fmla="*/ 87249 h 149542"/>
                  <a:gd name="connsiteX36" fmla="*/ 80772 w 101440"/>
                  <a:gd name="connsiteY36" fmla="*/ 90297 h 149542"/>
                  <a:gd name="connsiteX37" fmla="*/ 69818 w 101440"/>
                  <a:gd name="connsiteY37" fmla="*/ 128683 h 149542"/>
                  <a:gd name="connsiteX38" fmla="*/ 76390 w 101440"/>
                  <a:gd name="connsiteY38" fmla="*/ 121253 h 149542"/>
                  <a:gd name="connsiteX39" fmla="*/ 73723 w 101440"/>
                  <a:gd name="connsiteY39" fmla="*/ 115729 h 149542"/>
                  <a:gd name="connsiteX40" fmla="*/ 65817 w 101440"/>
                  <a:gd name="connsiteY40" fmla="*/ 113157 h 149542"/>
                  <a:gd name="connsiteX41" fmla="*/ 49244 w 101440"/>
                  <a:gd name="connsiteY41" fmla="*/ 111538 h 149542"/>
                  <a:gd name="connsiteX42" fmla="*/ 45529 w 101440"/>
                  <a:gd name="connsiteY42" fmla="*/ 111252 h 149542"/>
                  <a:gd name="connsiteX43" fmla="*/ 38767 w 101440"/>
                  <a:gd name="connsiteY43" fmla="*/ 110776 h 149542"/>
                  <a:gd name="connsiteX44" fmla="*/ 28099 w 101440"/>
                  <a:gd name="connsiteY44" fmla="*/ 109442 h 149542"/>
                  <a:gd name="connsiteX45" fmla="*/ 24765 w 101440"/>
                  <a:gd name="connsiteY45" fmla="*/ 114967 h 149542"/>
                  <a:gd name="connsiteX46" fmla="*/ 23717 w 101440"/>
                  <a:gd name="connsiteY46" fmla="*/ 120967 h 149542"/>
                  <a:gd name="connsiteX47" fmla="*/ 26384 w 101440"/>
                  <a:gd name="connsiteY47" fmla="*/ 127254 h 149542"/>
                  <a:gd name="connsiteX48" fmla="*/ 34385 w 101440"/>
                  <a:gd name="connsiteY48" fmla="*/ 130112 h 149542"/>
                  <a:gd name="connsiteX49" fmla="*/ 49339 w 101440"/>
                  <a:gd name="connsiteY49" fmla="*/ 130778 h 149542"/>
                  <a:gd name="connsiteX50" fmla="*/ 70009 w 101440"/>
                  <a:gd name="connsiteY50" fmla="*/ 128683 h 149542"/>
                  <a:gd name="connsiteX51" fmla="*/ 33909 w 101440"/>
                  <a:gd name="connsiteY51" fmla="*/ 29432 h 149542"/>
                  <a:gd name="connsiteX52" fmla="*/ 29623 w 101440"/>
                  <a:gd name="connsiteY52" fmla="*/ 41338 h 149542"/>
                  <a:gd name="connsiteX53" fmla="*/ 33909 w 101440"/>
                  <a:gd name="connsiteY53" fmla="*/ 52864 h 149542"/>
                  <a:gd name="connsiteX54" fmla="*/ 46291 w 101440"/>
                  <a:gd name="connsiteY54" fmla="*/ 56959 h 149542"/>
                  <a:gd name="connsiteX55" fmla="*/ 60103 w 101440"/>
                  <a:gd name="connsiteY55" fmla="*/ 52864 h 149542"/>
                  <a:gd name="connsiteX56" fmla="*/ 64198 w 101440"/>
                  <a:gd name="connsiteY56" fmla="*/ 41338 h 149542"/>
                  <a:gd name="connsiteX57" fmla="*/ 60007 w 101440"/>
                  <a:gd name="connsiteY57" fmla="*/ 29432 h 149542"/>
                  <a:gd name="connsiteX58" fmla="*/ 46863 w 101440"/>
                  <a:gd name="connsiteY58" fmla="*/ 25146 h 149542"/>
                  <a:gd name="connsiteX59" fmla="*/ 33909 w 101440"/>
                  <a:gd name="connsiteY59" fmla="*/ 29432 h 149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101440" h="149542">
                    <a:moveTo>
                      <a:pt x="80486" y="90392"/>
                    </a:moveTo>
                    <a:cubicBezTo>
                      <a:pt x="86582" y="91630"/>
                      <a:pt x="91630" y="94393"/>
                      <a:pt x="95535" y="98584"/>
                    </a:cubicBezTo>
                    <a:cubicBezTo>
                      <a:pt x="99441" y="102775"/>
                      <a:pt x="101441" y="109252"/>
                      <a:pt x="101441" y="118015"/>
                    </a:cubicBezTo>
                    <a:cubicBezTo>
                      <a:pt x="101441" y="128588"/>
                      <a:pt x="97155" y="136493"/>
                      <a:pt x="88678" y="141732"/>
                    </a:cubicBezTo>
                    <a:cubicBezTo>
                      <a:pt x="80200" y="146875"/>
                      <a:pt x="66770" y="149542"/>
                      <a:pt x="48292" y="149542"/>
                    </a:cubicBezTo>
                    <a:cubicBezTo>
                      <a:pt x="36671" y="149542"/>
                      <a:pt x="27337" y="148780"/>
                      <a:pt x="20288" y="147161"/>
                    </a:cubicBezTo>
                    <a:cubicBezTo>
                      <a:pt x="13240" y="145542"/>
                      <a:pt x="8191" y="142970"/>
                      <a:pt x="4858" y="139351"/>
                    </a:cubicBezTo>
                    <a:cubicBezTo>
                      <a:pt x="1619" y="135731"/>
                      <a:pt x="0" y="130873"/>
                      <a:pt x="0" y="124778"/>
                    </a:cubicBezTo>
                    <a:cubicBezTo>
                      <a:pt x="0" y="120491"/>
                      <a:pt x="1143" y="116681"/>
                      <a:pt x="3334" y="113252"/>
                    </a:cubicBezTo>
                    <a:cubicBezTo>
                      <a:pt x="5525" y="109823"/>
                      <a:pt x="8858" y="106585"/>
                      <a:pt x="13240" y="103537"/>
                    </a:cubicBezTo>
                    <a:cubicBezTo>
                      <a:pt x="9049" y="100203"/>
                      <a:pt x="7048" y="95536"/>
                      <a:pt x="7048" y="89345"/>
                    </a:cubicBezTo>
                    <a:cubicBezTo>
                      <a:pt x="7048" y="85154"/>
                      <a:pt x="8096" y="81344"/>
                      <a:pt x="10192" y="77914"/>
                    </a:cubicBezTo>
                    <a:cubicBezTo>
                      <a:pt x="12287" y="74486"/>
                      <a:pt x="15335" y="71247"/>
                      <a:pt x="19335" y="68199"/>
                    </a:cubicBezTo>
                    <a:cubicBezTo>
                      <a:pt x="14573" y="65341"/>
                      <a:pt x="11049" y="61627"/>
                      <a:pt x="8572" y="57055"/>
                    </a:cubicBezTo>
                    <a:cubicBezTo>
                      <a:pt x="6096" y="52483"/>
                      <a:pt x="4858" y="47244"/>
                      <a:pt x="4858" y="41338"/>
                    </a:cubicBezTo>
                    <a:cubicBezTo>
                      <a:pt x="4858" y="34862"/>
                      <a:pt x="6286" y="29146"/>
                      <a:pt x="9144" y="24003"/>
                    </a:cubicBezTo>
                    <a:cubicBezTo>
                      <a:pt x="12002" y="18955"/>
                      <a:pt x="16573" y="14859"/>
                      <a:pt x="22955" y="11906"/>
                    </a:cubicBezTo>
                    <a:cubicBezTo>
                      <a:pt x="29242" y="8858"/>
                      <a:pt x="37338" y="7429"/>
                      <a:pt x="47054" y="7429"/>
                    </a:cubicBezTo>
                    <a:cubicBezTo>
                      <a:pt x="57435" y="7429"/>
                      <a:pt x="66008" y="9334"/>
                      <a:pt x="72771" y="13049"/>
                    </a:cubicBezTo>
                    <a:cubicBezTo>
                      <a:pt x="76009" y="8668"/>
                      <a:pt x="79534" y="5429"/>
                      <a:pt x="83439" y="3238"/>
                    </a:cubicBezTo>
                    <a:cubicBezTo>
                      <a:pt x="87344" y="1048"/>
                      <a:pt x="91916" y="0"/>
                      <a:pt x="97250" y="0"/>
                    </a:cubicBezTo>
                    <a:lnTo>
                      <a:pt x="97631" y="0"/>
                    </a:lnTo>
                    <a:lnTo>
                      <a:pt x="98584" y="21241"/>
                    </a:lnTo>
                    <a:lnTo>
                      <a:pt x="98203" y="21241"/>
                    </a:lnTo>
                    <a:cubicBezTo>
                      <a:pt x="92773" y="21241"/>
                      <a:pt x="88106" y="21907"/>
                      <a:pt x="84201" y="23241"/>
                    </a:cubicBezTo>
                    <a:cubicBezTo>
                      <a:pt x="87439" y="28480"/>
                      <a:pt x="89154" y="34480"/>
                      <a:pt x="89154" y="41338"/>
                    </a:cubicBezTo>
                    <a:cubicBezTo>
                      <a:pt x="89154" y="47625"/>
                      <a:pt x="87630" y="53245"/>
                      <a:pt x="84677" y="58293"/>
                    </a:cubicBezTo>
                    <a:cubicBezTo>
                      <a:pt x="81725" y="63341"/>
                      <a:pt x="77057" y="67342"/>
                      <a:pt x="70675" y="70199"/>
                    </a:cubicBezTo>
                    <a:cubicBezTo>
                      <a:pt x="64294" y="73152"/>
                      <a:pt x="56292" y="74581"/>
                      <a:pt x="46672" y="74581"/>
                    </a:cubicBezTo>
                    <a:cubicBezTo>
                      <a:pt x="42100" y="74581"/>
                      <a:pt x="37909" y="74200"/>
                      <a:pt x="34004" y="73438"/>
                    </a:cubicBezTo>
                    <a:cubicBezTo>
                      <a:pt x="32671" y="74771"/>
                      <a:pt x="31718" y="75914"/>
                      <a:pt x="31052" y="76962"/>
                    </a:cubicBezTo>
                    <a:cubicBezTo>
                      <a:pt x="30385" y="78010"/>
                      <a:pt x="30099" y="79153"/>
                      <a:pt x="30099" y="80486"/>
                    </a:cubicBezTo>
                    <a:cubicBezTo>
                      <a:pt x="30099" y="82201"/>
                      <a:pt x="30766" y="83534"/>
                      <a:pt x="32099" y="84296"/>
                    </a:cubicBezTo>
                    <a:cubicBezTo>
                      <a:pt x="33433" y="85058"/>
                      <a:pt x="35243" y="85630"/>
                      <a:pt x="37719" y="86011"/>
                    </a:cubicBezTo>
                    <a:cubicBezTo>
                      <a:pt x="40100" y="86392"/>
                      <a:pt x="44005" y="86678"/>
                      <a:pt x="49339" y="86963"/>
                    </a:cubicBezTo>
                    <a:lnTo>
                      <a:pt x="54007" y="87249"/>
                    </a:lnTo>
                    <a:cubicBezTo>
                      <a:pt x="65722" y="88011"/>
                      <a:pt x="74676" y="88963"/>
                      <a:pt x="80772" y="90297"/>
                    </a:cubicBezTo>
                    <a:close/>
                    <a:moveTo>
                      <a:pt x="69818" y="128683"/>
                    </a:moveTo>
                    <a:cubicBezTo>
                      <a:pt x="74200" y="127254"/>
                      <a:pt x="76390" y="124778"/>
                      <a:pt x="76390" y="121253"/>
                    </a:cubicBezTo>
                    <a:cubicBezTo>
                      <a:pt x="76390" y="118777"/>
                      <a:pt x="75533" y="116967"/>
                      <a:pt x="73723" y="115729"/>
                    </a:cubicBezTo>
                    <a:cubicBezTo>
                      <a:pt x="71914" y="114490"/>
                      <a:pt x="69246" y="113633"/>
                      <a:pt x="65817" y="113157"/>
                    </a:cubicBezTo>
                    <a:cubicBezTo>
                      <a:pt x="62293" y="112586"/>
                      <a:pt x="56769" y="112109"/>
                      <a:pt x="49244" y="111538"/>
                    </a:cubicBezTo>
                    <a:lnTo>
                      <a:pt x="45529" y="111252"/>
                    </a:lnTo>
                    <a:cubicBezTo>
                      <a:pt x="44862" y="111252"/>
                      <a:pt x="42672" y="111062"/>
                      <a:pt x="38767" y="110776"/>
                    </a:cubicBezTo>
                    <a:cubicBezTo>
                      <a:pt x="34861" y="110490"/>
                      <a:pt x="31337" y="110014"/>
                      <a:pt x="28099" y="109442"/>
                    </a:cubicBezTo>
                    <a:cubicBezTo>
                      <a:pt x="26575" y="111347"/>
                      <a:pt x="25527" y="113157"/>
                      <a:pt x="24765" y="114967"/>
                    </a:cubicBezTo>
                    <a:cubicBezTo>
                      <a:pt x="24003" y="116777"/>
                      <a:pt x="23717" y="118777"/>
                      <a:pt x="23717" y="120967"/>
                    </a:cubicBezTo>
                    <a:cubicBezTo>
                      <a:pt x="23717" y="123730"/>
                      <a:pt x="24575" y="125825"/>
                      <a:pt x="26384" y="127254"/>
                    </a:cubicBezTo>
                    <a:cubicBezTo>
                      <a:pt x="28194" y="128683"/>
                      <a:pt x="30861" y="129635"/>
                      <a:pt x="34385" y="130112"/>
                    </a:cubicBezTo>
                    <a:cubicBezTo>
                      <a:pt x="37909" y="130588"/>
                      <a:pt x="42958" y="130778"/>
                      <a:pt x="49339" y="130778"/>
                    </a:cubicBezTo>
                    <a:cubicBezTo>
                      <a:pt x="58674" y="130778"/>
                      <a:pt x="65627" y="130112"/>
                      <a:pt x="70009" y="128683"/>
                    </a:cubicBezTo>
                    <a:close/>
                    <a:moveTo>
                      <a:pt x="33909" y="29432"/>
                    </a:moveTo>
                    <a:cubicBezTo>
                      <a:pt x="31052" y="32290"/>
                      <a:pt x="29623" y="36290"/>
                      <a:pt x="29623" y="41338"/>
                    </a:cubicBezTo>
                    <a:cubicBezTo>
                      <a:pt x="29623" y="46387"/>
                      <a:pt x="31052" y="50102"/>
                      <a:pt x="33909" y="52864"/>
                    </a:cubicBezTo>
                    <a:cubicBezTo>
                      <a:pt x="36766" y="55626"/>
                      <a:pt x="40957" y="56959"/>
                      <a:pt x="46291" y="56959"/>
                    </a:cubicBezTo>
                    <a:cubicBezTo>
                      <a:pt x="52768" y="56959"/>
                      <a:pt x="57340" y="55626"/>
                      <a:pt x="60103" y="52864"/>
                    </a:cubicBezTo>
                    <a:cubicBezTo>
                      <a:pt x="62865" y="50102"/>
                      <a:pt x="64198" y="46291"/>
                      <a:pt x="64198" y="41338"/>
                    </a:cubicBezTo>
                    <a:cubicBezTo>
                      <a:pt x="64198" y="36386"/>
                      <a:pt x="62769" y="32385"/>
                      <a:pt x="60007" y="29432"/>
                    </a:cubicBezTo>
                    <a:cubicBezTo>
                      <a:pt x="57245" y="26479"/>
                      <a:pt x="52768" y="25146"/>
                      <a:pt x="46863" y="25146"/>
                    </a:cubicBezTo>
                    <a:cubicBezTo>
                      <a:pt x="40957" y="25146"/>
                      <a:pt x="36766" y="26575"/>
                      <a:pt x="33909" y="29432"/>
                    </a:cubicBezTo>
                    <a:close/>
                  </a:path>
                </a:pathLst>
              </a:custGeom>
              <a:solidFill>
                <a:srgbClr val="FFFFFF"/>
              </a:solidFill>
              <a:ln w="9525" cap="flat">
                <a:noFill/>
                <a:prstDash val="solid"/>
                <a:miter/>
              </a:ln>
            </p:spPr>
            <p:txBody>
              <a:bodyPr rtlCol="0" anchor="ctr"/>
              <a:lstStyle/>
              <a:p>
                <a:pPr marL="0" marR="0" lvl="0" indent="0" algn="l" defTabSz="913578" rtl="0" eaLnBrk="1" fontAlgn="auto" latinLnBrk="0" hangingPunct="1">
                  <a:lnSpc>
                    <a:spcPct val="100000"/>
                  </a:lnSpc>
                  <a:spcBef>
                    <a:spcPts val="0"/>
                  </a:spcBef>
                  <a:spcAft>
                    <a:spcPts val="0"/>
                  </a:spcAft>
                  <a:buClrTx/>
                  <a:buSzTx/>
                  <a:buFontTx/>
                  <a:buNone/>
                  <a:tabLst/>
                  <a:defRPr/>
                </a:pPr>
                <a:endParaRPr kumimoji="0" lang="en-US" sz="17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462" name="Freeform: Shape 287">
                <a:extLst>
                  <a:ext uri="{FF2B5EF4-FFF2-40B4-BE49-F238E27FC236}">
                    <a16:creationId xmlns:a16="http://schemas.microsoft.com/office/drawing/2014/main" id="{0DBE9B16-C745-F189-32AD-88FACAFF7E85}"/>
                  </a:ext>
                </a:extLst>
              </p:cNvPr>
              <p:cNvSpPr/>
              <p:nvPr/>
            </p:nvSpPr>
            <p:spPr>
              <a:xfrm>
                <a:off x="6525672" y="5096827"/>
                <a:ext cx="103441" cy="140208"/>
              </a:xfrm>
              <a:custGeom>
                <a:avLst/>
                <a:gdLst>
                  <a:gd name="connsiteX0" fmla="*/ 8287 w 103441"/>
                  <a:gd name="connsiteY0" fmla="*/ 138779 h 140208"/>
                  <a:gd name="connsiteX1" fmla="*/ 10287 w 103441"/>
                  <a:gd name="connsiteY1" fmla="*/ 118300 h 140208"/>
                  <a:gd name="connsiteX2" fmla="*/ 17336 w 103441"/>
                  <a:gd name="connsiteY2" fmla="*/ 119158 h 140208"/>
                  <a:gd name="connsiteX3" fmla="*/ 26098 w 103441"/>
                  <a:gd name="connsiteY3" fmla="*/ 117729 h 140208"/>
                  <a:gd name="connsiteX4" fmla="*/ 32576 w 103441"/>
                  <a:gd name="connsiteY4" fmla="*/ 113062 h 140208"/>
                  <a:gd name="connsiteX5" fmla="*/ 38100 w 103441"/>
                  <a:gd name="connsiteY5" fmla="*/ 104013 h 140208"/>
                  <a:gd name="connsiteX6" fmla="*/ 39814 w 103441"/>
                  <a:gd name="connsiteY6" fmla="*/ 99631 h 140208"/>
                  <a:gd name="connsiteX7" fmla="*/ 0 w 103441"/>
                  <a:gd name="connsiteY7" fmla="*/ 0 h 140208"/>
                  <a:gd name="connsiteX8" fmla="*/ 27813 w 103441"/>
                  <a:gd name="connsiteY8" fmla="*/ 0 h 140208"/>
                  <a:gd name="connsiteX9" fmla="*/ 43625 w 103441"/>
                  <a:gd name="connsiteY9" fmla="*/ 46577 h 140208"/>
                  <a:gd name="connsiteX10" fmla="*/ 48863 w 103441"/>
                  <a:gd name="connsiteY10" fmla="*/ 62960 h 140208"/>
                  <a:gd name="connsiteX11" fmla="*/ 52864 w 103441"/>
                  <a:gd name="connsiteY11" fmla="*/ 76200 h 140208"/>
                  <a:gd name="connsiteX12" fmla="*/ 56769 w 103441"/>
                  <a:gd name="connsiteY12" fmla="*/ 61531 h 140208"/>
                  <a:gd name="connsiteX13" fmla="*/ 61056 w 103441"/>
                  <a:gd name="connsiteY13" fmla="*/ 47054 h 140208"/>
                  <a:gd name="connsiteX14" fmla="*/ 75819 w 103441"/>
                  <a:gd name="connsiteY14" fmla="*/ 0 h 140208"/>
                  <a:gd name="connsiteX15" fmla="*/ 103441 w 103441"/>
                  <a:gd name="connsiteY15" fmla="*/ 0 h 140208"/>
                  <a:gd name="connsiteX16" fmla="*/ 63627 w 103441"/>
                  <a:gd name="connsiteY16" fmla="*/ 105823 h 140208"/>
                  <a:gd name="connsiteX17" fmla="*/ 53530 w 103441"/>
                  <a:gd name="connsiteY17" fmla="*/ 125539 h 140208"/>
                  <a:gd name="connsiteX18" fmla="*/ 41529 w 103441"/>
                  <a:gd name="connsiteY18" fmla="*/ 136588 h 140208"/>
                  <a:gd name="connsiteX19" fmla="*/ 24860 w 103441"/>
                  <a:gd name="connsiteY19" fmla="*/ 140208 h 140208"/>
                  <a:gd name="connsiteX20" fmla="*/ 8382 w 103441"/>
                  <a:gd name="connsiteY20" fmla="*/ 138684 h 140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03441" h="140208">
                    <a:moveTo>
                      <a:pt x="8287" y="138779"/>
                    </a:moveTo>
                    <a:lnTo>
                      <a:pt x="10287" y="118300"/>
                    </a:lnTo>
                    <a:cubicBezTo>
                      <a:pt x="13335" y="118872"/>
                      <a:pt x="15716" y="119158"/>
                      <a:pt x="17336" y="119158"/>
                    </a:cubicBezTo>
                    <a:cubicBezTo>
                      <a:pt x="20764" y="119158"/>
                      <a:pt x="23622" y="118681"/>
                      <a:pt x="26098" y="117729"/>
                    </a:cubicBezTo>
                    <a:cubicBezTo>
                      <a:pt x="28575" y="116776"/>
                      <a:pt x="30671" y="115253"/>
                      <a:pt x="32576" y="113062"/>
                    </a:cubicBezTo>
                    <a:cubicBezTo>
                      <a:pt x="34480" y="110871"/>
                      <a:pt x="36290" y="107918"/>
                      <a:pt x="38100" y="104013"/>
                    </a:cubicBezTo>
                    <a:lnTo>
                      <a:pt x="39814" y="99631"/>
                    </a:lnTo>
                    <a:lnTo>
                      <a:pt x="0" y="0"/>
                    </a:lnTo>
                    <a:lnTo>
                      <a:pt x="27813" y="0"/>
                    </a:lnTo>
                    <a:lnTo>
                      <a:pt x="43625" y="46577"/>
                    </a:lnTo>
                    <a:cubicBezTo>
                      <a:pt x="44863" y="50482"/>
                      <a:pt x="46577" y="55912"/>
                      <a:pt x="48863" y="62960"/>
                    </a:cubicBezTo>
                    <a:cubicBezTo>
                      <a:pt x="51054" y="70009"/>
                      <a:pt x="52388" y="74390"/>
                      <a:pt x="52864" y="76200"/>
                    </a:cubicBezTo>
                    <a:cubicBezTo>
                      <a:pt x="53340" y="74009"/>
                      <a:pt x="54673" y="69056"/>
                      <a:pt x="56769" y="61531"/>
                    </a:cubicBezTo>
                    <a:cubicBezTo>
                      <a:pt x="58864" y="54007"/>
                      <a:pt x="60293" y="49149"/>
                      <a:pt x="61056" y="47054"/>
                    </a:cubicBezTo>
                    <a:lnTo>
                      <a:pt x="75819" y="0"/>
                    </a:lnTo>
                    <a:lnTo>
                      <a:pt x="103441" y="0"/>
                    </a:lnTo>
                    <a:lnTo>
                      <a:pt x="63627" y="105823"/>
                    </a:lnTo>
                    <a:cubicBezTo>
                      <a:pt x="60293" y="114014"/>
                      <a:pt x="56865" y="120587"/>
                      <a:pt x="53530" y="125539"/>
                    </a:cubicBezTo>
                    <a:cubicBezTo>
                      <a:pt x="50197" y="130492"/>
                      <a:pt x="46101" y="134112"/>
                      <a:pt x="41529" y="136588"/>
                    </a:cubicBezTo>
                    <a:cubicBezTo>
                      <a:pt x="36957" y="139065"/>
                      <a:pt x="31432" y="140208"/>
                      <a:pt x="24860" y="140208"/>
                    </a:cubicBezTo>
                    <a:cubicBezTo>
                      <a:pt x="18288" y="140208"/>
                      <a:pt x="12859" y="139732"/>
                      <a:pt x="8382" y="138684"/>
                    </a:cubicBezTo>
                    <a:close/>
                  </a:path>
                </a:pathLst>
              </a:custGeom>
              <a:solidFill>
                <a:srgbClr val="FFFFFF"/>
              </a:solidFill>
              <a:ln w="9525" cap="flat">
                <a:noFill/>
                <a:prstDash val="solid"/>
                <a:miter/>
              </a:ln>
            </p:spPr>
            <p:txBody>
              <a:bodyPr rtlCol="0" anchor="ctr"/>
              <a:lstStyle/>
              <a:p>
                <a:pPr marL="0" marR="0" lvl="0" indent="0" algn="l" defTabSz="913578" rtl="0" eaLnBrk="1" fontAlgn="auto" latinLnBrk="0" hangingPunct="1">
                  <a:lnSpc>
                    <a:spcPct val="100000"/>
                  </a:lnSpc>
                  <a:spcBef>
                    <a:spcPts val="0"/>
                  </a:spcBef>
                  <a:spcAft>
                    <a:spcPts val="0"/>
                  </a:spcAft>
                  <a:buClrTx/>
                  <a:buSzTx/>
                  <a:buFontTx/>
                  <a:buNone/>
                  <a:tabLst/>
                  <a:defRPr/>
                </a:pPr>
                <a:endParaRPr kumimoji="0" lang="en-US" sz="17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463" name="Freeform: Shape 288">
                <a:extLst>
                  <a:ext uri="{FF2B5EF4-FFF2-40B4-BE49-F238E27FC236}">
                    <a16:creationId xmlns:a16="http://schemas.microsoft.com/office/drawing/2014/main" id="{7A1AB5D1-CF49-413F-F3F7-86351570E63A}"/>
                  </a:ext>
                </a:extLst>
              </p:cNvPr>
              <p:cNvSpPr/>
              <p:nvPr/>
            </p:nvSpPr>
            <p:spPr>
              <a:xfrm>
                <a:off x="6695694" y="5066252"/>
                <a:ext cx="107823" cy="131063"/>
              </a:xfrm>
              <a:custGeom>
                <a:avLst/>
                <a:gdLst>
                  <a:gd name="connsiteX0" fmla="*/ 0 w 107823"/>
                  <a:gd name="connsiteY0" fmla="*/ 95 h 131063"/>
                  <a:gd name="connsiteX1" fmla="*/ 58864 w 107823"/>
                  <a:gd name="connsiteY1" fmla="*/ 95 h 131063"/>
                  <a:gd name="connsiteX2" fmla="*/ 86201 w 107823"/>
                  <a:gd name="connsiteY2" fmla="*/ 5429 h 131063"/>
                  <a:gd name="connsiteX3" fmla="*/ 102489 w 107823"/>
                  <a:gd name="connsiteY3" fmla="*/ 20288 h 131063"/>
                  <a:gd name="connsiteX4" fmla="*/ 107823 w 107823"/>
                  <a:gd name="connsiteY4" fmla="*/ 42767 h 131063"/>
                  <a:gd name="connsiteX5" fmla="*/ 102584 w 107823"/>
                  <a:gd name="connsiteY5" fmla="*/ 64770 h 131063"/>
                  <a:gd name="connsiteX6" fmla="*/ 86582 w 107823"/>
                  <a:gd name="connsiteY6" fmla="*/ 80867 h 131063"/>
                  <a:gd name="connsiteX7" fmla="*/ 60007 w 107823"/>
                  <a:gd name="connsiteY7" fmla="*/ 86868 h 131063"/>
                  <a:gd name="connsiteX8" fmla="*/ 27432 w 107823"/>
                  <a:gd name="connsiteY8" fmla="*/ 86868 h 131063"/>
                  <a:gd name="connsiteX9" fmla="*/ 27432 w 107823"/>
                  <a:gd name="connsiteY9" fmla="*/ 131064 h 131063"/>
                  <a:gd name="connsiteX10" fmla="*/ 0 w 107823"/>
                  <a:gd name="connsiteY10" fmla="*/ 131064 h 131063"/>
                  <a:gd name="connsiteX11" fmla="*/ 0 w 107823"/>
                  <a:gd name="connsiteY11" fmla="*/ 0 h 131063"/>
                  <a:gd name="connsiteX12" fmla="*/ 56579 w 107823"/>
                  <a:gd name="connsiteY12" fmla="*/ 63913 h 131063"/>
                  <a:gd name="connsiteX13" fmla="*/ 74295 w 107823"/>
                  <a:gd name="connsiteY13" fmla="*/ 58388 h 131063"/>
                  <a:gd name="connsiteX14" fmla="*/ 80200 w 107823"/>
                  <a:gd name="connsiteY14" fmla="*/ 43148 h 131063"/>
                  <a:gd name="connsiteX15" fmla="*/ 74104 w 107823"/>
                  <a:gd name="connsiteY15" fmla="*/ 28384 h 131063"/>
                  <a:gd name="connsiteX16" fmla="*/ 55912 w 107823"/>
                  <a:gd name="connsiteY16" fmla="*/ 23336 h 131063"/>
                  <a:gd name="connsiteX17" fmla="*/ 27527 w 107823"/>
                  <a:gd name="connsiteY17" fmla="*/ 23336 h 131063"/>
                  <a:gd name="connsiteX18" fmla="*/ 27527 w 107823"/>
                  <a:gd name="connsiteY18" fmla="*/ 63913 h 131063"/>
                  <a:gd name="connsiteX19" fmla="*/ 56673 w 107823"/>
                  <a:gd name="connsiteY19" fmla="*/ 63913 h 1310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07823" h="131063">
                    <a:moveTo>
                      <a:pt x="0" y="95"/>
                    </a:moveTo>
                    <a:lnTo>
                      <a:pt x="58864" y="95"/>
                    </a:lnTo>
                    <a:cubicBezTo>
                      <a:pt x="69818" y="95"/>
                      <a:pt x="78867" y="1905"/>
                      <a:pt x="86201" y="5429"/>
                    </a:cubicBezTo>
                    <a:cubicBezTo>
                      <a:pt x="93536" y="8953"/>
                      <a:pt x="98870" y="13906"/>
                      <a:pt x="102489" y="20288"/>
                    </a:cubicBezTo>
                    <a:cubicBezTo>
                      <a:pt x="106013" y="26670"/>
                      <a:pt x="107823" y="34195"/>
                      <a:pt x="107823" y="42767"/>
                    </a:cubicBezTo>
                    <a:cubicBezTo>
                      <a:pt x="107823" y="50768"/>
                      <a:pt x="106108" y="58102"/>
                      <a:pt x="102584" y="64770"/>
                    </a:cubicBezTo>
                    <a:cubicBezTo>
                      <a:pt x="99060" y="71438"/>
                      <a:pt x="93726" y="76867"/>
                      <a:pt x="86582" y="80867"/>
                    </a:cubicBezTo>
                    <a:cubicBezTo>
                      <a:pt x="79438" y="84867"/>
                      <a:pt x="70580" y="86868"/>
                      <a:pt x="60007" y="86868"/>
                    </a:cubicBezTo>
                    <a:lnTo>
                      <a:pt x="27432" y="86868"/>
                    </a:lnTo>
                    <a:lnTo>
                      <a:pt x="27432" y="131064"/>
                    </a:lnTo>
                    <a:lnTo>
                      <a:pt x="0" y="131064"/>
                    </a:lnTo>
                    <a:lnTo>
                      <a:pt x="0" y="0"/>
                    </a:lnTo>
                    <a:close/>
                    <a:moveTo>
                      <a:pt x="56579" y="63913"/>
                    </a:moveTo>
                    <a:cubicBezTo>
                      <a:pt x="64484" y="63913"/>
                      <a:pt x="70389" y="62103"/>
                      <a:pt x="74295" y="58388"/>
                    </a:cubicBezTo>
                    <a:cubicBezTo>
                      <a:pt x="78200" y="54673"/>
                      <a:pt x="80200" y="49625"/>
                      <a:pt x="80200" y="43148"/>
                    </a:cubicBezTo>
                    <a:cubicBezTo>
                      <a:pt x="80200" y="36671"/>
                      <a:pt x="78200" y="31718"/>
                      <a:pt x="74104" y="28384"/>
                    </a:cubicBezTo>
                    <a:cubicBezTo>
                      <a:pt x="70009" y="25051"/>
                      <a:pt x="63912" y="23336"/>
                      <a:pt x="55912" y="23336"/>
                    </a:cubicBezTo>
                    <a:lnTo>
                      <a:pt x="27527" y="23336"/>
                    </a:lnTo>
                    <a:lnTo>
                      <a:pt x="27527" y="63913"/>
                    </a:lnTo>
                    <a:lnTo>
                      <a:pt x="56673" y="63913"/>
                    </a:lnTo>
                    <a:close/>
                  </a:path>
                </a:pathLst>
              </a:custGeom>
              <a:solidFill>
                <a:srgbClr val="FFFFFF"/>
              </a:solidFill>
              <a:ln w="9525" cap="flat">
                <a:noFill/>
                <a:prstDash val="solid"/>
                <a:miter/>
              </a:ln>
            </p:spPr>
            <p:txBody>
              <a:bodyPr rtlCol="0" anchor="ctr"/>
              <a:lstStyle/>
              <a:p>
                <a:pPr marL="0" marR="0" lvl="0" indent="0" algn="l" defTabSz="913578" rtl="0" eaLnBrk="1" fontAlgn="auto" latinLnBrk="0" hangingPunct="1">
                  <a:lnSpc>
                    <a:spcPct val="100000"/>
                  </a:lnSpc>
                  <a:spcBef>
                    <a:spcPts val="0"/>
                  </a:spcBef>
                  <a:spcAft>
                    <a:spcPts val="0"/>
                  </a:spcAft>
                  <a:buClrTx/>
                  <a:buSzTx/>
                  <a:buFontTx/>
                  <a:buNone/>
                  <a:tabLst/>
                  <a:defRPr/>
                </a:pPr>
                <a:endParaRPr kumimoji="0" lang="en-US" sz="17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464" name="Freeform: Shape 289">
                <a:extLst>
                  <a:ext uri="{FF2B5EF4-FFF2-40B4-BE49-F238E27FC236}">
                    <a16:creationId xmlns:a16="http://schemas.microsoft.com/office/drawing/2014/main" id="{DB291AD6-7392-F049-A5FC-CA33636612FE}"/>
                  </a:ext>
                </a:extLst>
              </p:cNvPr>
              <p:cNvSpPr/>
              <p:nvPr/>
            </p:nvSpPr>
            <p:spPr>
              <a:xfrm>
                <a:off x="6822376" y="5059394"/>
                <a:ext cx="40671" cy="139445"/>
              </a:xfrm>
              <a:custGeom>
                <a:avLst/>
                <a:gdLst>
                  <a:gd name="connsiteX0" fmla="*/ 6572 w 40671"/>
                  <a:gd name="connsiteY0" fmla="*/ 132397 h 139445"/>
                  <a:gd name="connsiteX1" fmla="*/ 0 w 40671"/>
                  <a:gd name="connsiteY1" fmla="*/ 113728 h 139445"/>
                  <a:gd name="connsiteX2" fmla="*/ 0 w 40671"/>
                  <a:gd name="connsiteY2" fmla="*/ 0 h 139445"/>
                  <a:gd name="connsiteX3" fmla="*/ 26098 w 40671"/>
                  <a:gd name="connsiteY3" fmla="*/ 0 h 139445"/>
                  <a:gd name="connsiteX4" fmla="*/ 26098 w 40671"/>
                  <a:gd name="connsiteY4" fmla="*/ 107251 h 139445"/>
                  <a:gd name="connsiteX5" fmla="*/ 26765 w 40671"/>
                  <a:gd name="connsiteY5" fmla="*/ 114014 h 139445"/>
                  <a:gd name="connsiteX6" fmla="*/ 29337 w 40671"/>
                  <a:gd name="connsiteY6" fmla="*/ 117443 h 139445"/>
                  <a:gd name="connsiteX7" fmla="*/ 34957 w 40671"/>
                  <a:gd name="connsiteY7" fmla="*/ 118491 h 139445"/>
                  <a:gd name="connsiteX8" fmla="*/ 39719 w 40671"/>
                  <a:gd name="connsiteY8" fmla="*/ 117919 h 139445"/>
                  <a:gd name="connsiteX9" fmla="*/ 40672 w 40671"/>
                  <a:gd name="connsiteY9" fmla="*/ 138113 h 139445"/>
                  <a:gd name="connsiteX10" fmla="*/ 26765 w 40671"/>
                  <a:gd name="connsiteY10" fmla="*/ 139446 h 139445"/>
                  <a:gd name="connsiteX11" fmla="*/ 6477 w 40671"/>
                  <a:gd name="connsiteY11" fmla="*/ 132493 h 139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671" h="139445">
                    <a:moveTo>
                      <a:pt x="6572" y="132397"/>
                    </a:moveTo>
                    <a:cubicBezTo>
                      <a:pt x="2191" y="127730"/>
                      <a:pt x="0" y="121539"/>
                      <a:pt x="0" y="113728"/>
                    </a:cubicBezTo>
                    <a:lnTo>
                      <a:pt x="0" y="0"/>
                    </a:lnTo>
                    <a:lnTo>
                      <a:pt x="26098" y="0"/>
                    </a:lnTo>
                    <a:lnTo>
                      <a:pt x="26098" y="107251"/>
                    </a:lnTo>
                    <a:cubicBezTo>
                      <a:pt x="26098" y="110204"/>
                      <a:pt x="26289" y="112395"/>
                      <a:pt x="26765" y="114014"/>
                    </a:cubicBezTo>
                    <a:cubicBezTo>
                      <a:pt x="27241" y="115633"/>
                      <a:pt x="28099" y="116776"/>
                      <a:pt x="29337" y="117443"/>
                    </a:cubicBezTo>
                    <a:cubicBezTo>
                      <a:pt x="30575" y="118110"/>
                      <a:pt x="32480" y="118491"/>
                      <a:pt x="34957" y="118491"/>
                    </a:cubicBezTo>
                    <a:cubicBezTo>
                      <a:pt x="36481" y="118491"/>
                      <a:pt x="38005" y="118300"/>
                      <a:pt x="39719" y="117919"/>
                    </a:cubicBezTo>
                    <a:lnTo>
                      <a:pt x="40672" y="138113"/>
                    </a:lnTo>
                    <a:cubicBezTo>
                      <a:pt x="36195" y="138970"/>
                      <a:pt x="31623" y="139446"/>
                      <a:pt x="26765" y="139446"/>
                    </a:cubicBezTo>
                    <a:cubicBezTo>
                      <a:pt x="17621" y="139446"/>
                      <a:pt x="10859" y="137160"/>
                      <a:pt x="6477" y="132493"/>
                    </a:cubicBezTo>
                    <a:close/>
                  </a:path>
                </a:pathLst>
              </a:custGeom>
              <a:solidFill>
                <a:srgbClr val="FFFFFF"/>
              </a:solidFill>
              <a:ln w="9525" cap="flat">
                <a:noFill/>
                <a:prstDash val="solid"/>
                <a:miter/>
              </a:ln>
            </p:spPr>
            <p:txBody>
              <a:bodyPr rtlCol="0" anchor="ctr"/>
              <a:lstStyle/>
              <a:p>
                <a:pPr marL="0" marR="0" lvl="0" indent="0" algn="l" defTabSz="913578" rtl="0" eaLnBrk="1" fontAlgn="auto" latinLnBrk="0" hangingPunct="1">
                  <a:lnSpc>
                    <a:spcPct val="100000"/>
                  </a:lnSpc>
                  <a:spcBef>
                    <a:spcPts val="0"/>
                  </a:spcBef>
                  <a:spcAft>
                    <a:spcPts val="0"/>
                  </a:spcAft>
                  <a:buClrTx/>
                  <a:buSzTx/>
                  <a:buFontTx/>
                  <a:buNone/>
                  <a:tabLst/>
                  <a:defRPr/>
                </a:pPr>
                <a:endParaRPr kumimoji="0" lang="en-US" sz="17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465" name="Freeform: Shape 290">
                <a:extLst>
                  <a:ext uri="{FF2B5EF4-FFF2-40B4-BE49-F238E27FC236}">
                    <a16:creationId xmlns:a16="http://schemas.microsoft.com/office/drawing/2014/main" id="{D92D666B-A245-26B6-C04D-8DF18971E4C9}"/>
                  </a:ext>
                </a:extLst>
              </p:cNvPr>
              <p:cNvSpPr/>
              <p:nvPr/>
            </p:nvSpPr>
            <p:spPr>
              <a:xfrm>
                <a:off x="6874001" y="5094922"/>
                <a:ext cx="88487" cy="104489"/>
              </a:xfrm>
              <a:custGeom>
                <a:avLst/>
                <a:gdLst>
                  <a:gd name="connsiteX0" fmla="*/ 14859 w 88487"/>
                  <a:gd name="connsiteY0" fmla="*/ 100870 h 104489"/>
                  <a:gd name="connsiteX1" fmla="*/ 3906 w 88487"/>
                  <a:gd name="connsiteY1" fmla="*/ 90488 h 104489"/>
                  <a:gd name="connsiteX2" fmla="*/ 0 w 88487"/>
                  <a:gd name="connsiteY2" fmla="*/ 74200 h 104489"/>
                  <a:gd name="connsiteX3" fmla="*/ 10859 w 88487"/>
                  <a:gd name="connsiteY3" fmla="*/ 49911 h 104489"/>
                  <a:gd name="connsiteX4" fmla="*/ 39814 w 88487"/>
                  <a:gd name="connsiteY4" fmla="*/ 42005 h 104489"/>
                  <a:gd name="connsiteX5" fmla="*/ 61532 w 88487"/>
                  <a:gd name="connsiteY5" fmla="*/ 41624 h 104489"/>
                  <a:gd name="connsiteX6" fmla="*/ 61532 w 88487"/>
                  <a:gd name="connsiteY6" fmla="*/ 36767 h 104489"/>
                  <a:gd name="connsiteX7" fmla="*/ 57150 w 88487"/>
                  <a:gd name="connsiteY7" fmla="*/ 23908 h 104489"/>
                  <a:gd name="connsiteX8" fmla="*/ 45053 w 88487"/>
                  <a:gd name="connsiteY8" fmla="*/ 20193 h 104489"/>
                  <a:gd name="connsiteX9" fmla="*/ 18002 w 88487"/>
                  <a:gd name="connsiteY9" fmla="*/ 32385 h 104489"/>
                  <a:gd name="connsiteX10" fmla="*/ 5620 w 88487"/>
                  <a:gd name="connsiteY10" fmla="*/ 16002 h 104489"/>
                  <a:gd name="connsiteX11" fmla="*/ 46577 w 88487"/>
                  <a:gd name="connsiteY11" fmla="*/ 0 h 104489"/>
                  <a:gd name="connsiteX12" fmla="*/ 76962 w 88487"/>
                  <a:gd name="connsiteY12" fmla="*/ 9335 h 104489"/>
                  <a:gd name="connsiteX13" fmla="*/ 87725 w 88487"/>
                  <a:gd name="connsiteY13" fmla="*/ 36004 h 104489"/>
                  <a:gd name="connsiteX14" fmla="*/ 87725 w 88487"/>
                  <a:gd name="connsiteY14" fmla="*/ 72866 h 104489"/>
                  <a:gd name="connsiteX15" fmla="*/ 88487 w 88487"/>
                  <a:gd name="connsiteY15" fmla="*/ 102584 h 104489"/>
                  <a:gd name="connsiteX16" fmla="*/ 63722 w 88487"/>
                  <a:gd name="connsiteY16" fmla="*/ 102584 h 104489"/>
                  <a:gd name="connsiteX17" fmla="*/ 63055 w 88487"/>
                  <a:gd name="connsiteY17" fmla="*/ 88487 h 104489"/>
                  <a:gd name="connsiteX18" fmla="*/ 62484 w 88487"/>
                  <a:gd name="connsiteY18" fmla="*/ 88487 h 104489"/>
                  <a:gd name="connsiteX19" fmla="*/ 49721 w 88487"/>
                  <a:gd name="connsiteY19" fmla="*/ 100394 h 104489"/>
                  <a:gd name="connsiteX20" fmla="*/ 31242 w 88487"/>
                  <a:gd name="connsiteY20" fmla="*/ 104489 h 104489"/>
                  <a:gd name="connsiteX21" fmla="*/ 14954 w 88487"/>
                  <a:gd name="connsiteY21" fmla="*/ 100965 h 104489"/>
                  <a:gd name="connsiteX22" fmla="*/ 50864 w 88487"/>
                  <a:gd name="connsiteY22" fmla="*/ 81534 h 104489"/>
                  <a:gd name="connsiteX23" fmla="*/ 58769 w 88487"/>
                  <a:gd name="connsiteY23" fmla="*/ 73533 h 104489"/>
                  <a:gd name="connsiteX24" fmla="*/ 61532 w 88487"/>
                  <a:gd name="connsiteY24" fmla="*/ 62960 h 104489"/>
                  <a:gd name="connsiteX25" fmla="*/ 61532 w 88487"/>
                  <a:gd name="connsiteY25" fmla="*/ 57817 h 104489"/>
                  <a:gd name="connsiteX26" fmla="*/ 48006 w 88487"/>
                  <a:gd name="connsiteY26" fmla="*/ 58007 h 104489"/>
                  <a:gd name="connsiteX27" fmla="*/ 36862 w 88487"/>
                  <a:gd name="connsiteY27" fmla="*/ 59341 h 104489"/>
                  <a:gd name="connsiteX28" fmla="*/ 29909 w 88487"/>
                  <a:gd name="connsiteY28" fmla="*/ 63246 h 104489"/>
                  <a:gd name="connsiteX29" fmla="*/ 27241 w 88487"/>
                  <a:gd name="connsiteY29" fmla="*/ 72009 h 104489"/>
                  <a:gd name="connsiteX30" fmla="*/ 30575 w 88487"/>
                  <a:gd name="connsiteY30" fmla="*/ 81344 h 104489"/>
                  <a:gd name="connsiteX31" fmla="*/ 39434 w 88487"/>
                  <a:gd name="connsiteY31" fmla="*/ 84582 h 104489"/>
                  <a:gd name="connsiteX32" fmla="*/ 50959 w 88487"/>
                  <a:gd name="connsiteY32" fmla="*/ 81534 h 1044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88487" h="104489">
                    <a:moveTo>
                      <a:pt x="14859" y="100870"/>
                    </a:moveTo>
                    <a:cubicBezTo>
                      <a:pt x="10192" y="98488"/>
                      <a:pt x="6572" y="95060"/>
                      <a:pt x="3906" y="90488"/>
                    </a:cubicBezTo>
                    <a:cubicBezTo>
                      <a:pt x="1238" y="85916"/>
                      <a:pt x="0" y="80486"/>
                      <a:pt x="0" y="74200"/>
                    </a:cubicBezTo>
                    <a:cubicBezTo>
                      <a:pt x="0" y="63055"/>
                      <a:pt x="3620" y="54959"/>
                      <a:pt x="10859" y="49911"/>
                    </a:cubicBezTo>
                    <a:cubicBezTo>
                      <a:pt x="18098" y="44863"/>
                      <a:pt x="27718" y="42196"/>
                      <a:pt x="39814" y="42005"/>
                    </a:cubicBezTo>
                    <a:lnTo>
                      <a:pt x="61532" y="41624"/>
                    </a:lnTo>
                    <a:lnTo>
                      <a:pt x="61532" y="36767"/>
                    </a:lnTo>
                    <a:cubicBezTo>
                      <a:pt x="61532" y="30671"/>
                      <a:pt x="60103" y="26289"/>
                      <a:pt x="57150" y="23908"/>
                    </a:cubicBezTo>
                    <a:cubicBezTo>
                      <a:pt x="54197" y="21431"/>
                      <a:pt x="50197" y="20193"/>
                      <a:pt x="45053" y="20193"/>
                    </a:cubicBezTo>
                    <a:cubicBezTo>
                      <a:pt x="36195" y="20193"/>
                      <a:pt x="27147" y="24289"/>
                      <a:pt x="18002" y="32385"/>
                    </a:cubicBezTo>
                    <a:lnTo>
                      <a:pt x="5620" y="16002"/>
                    </a:lnTo>
                    <a:cubicBezTo>
                      <a:pt x="17622" y="5334"/>
                      <a:pt x="31337" y="0"/>
                      <a:pt x="46577" y="0"/>
                    </a:cubicBezTo>
                    <a:cubicBezTo>
                      <a:pt x="59627" y="0"/>
                      <a:pt x="69818" y="3143"/>
                      <a:pt x="76962" y="9335"/>
                    </a:cubicBezTo>
                    <a:cubicBezTo>
                      <a:pt x="84106" y="15526"/>
                      <a:pt x="87725" y="24384"/>
                      <a:pt x="87725" y="36004"/>
                    </a:cubicBezTo>
                    <a:lnTo>
                      <a:pt x="87725" y="72866"/>
                    </a:lnTo>
                    <a:cubicBezTo>
                      <a:pt x="87725" y="83915"/>
                      <a:pt x="88011" y="93821"/>
                      <a:pt x="88487" y="102584"/>
                    </a:cubicBezTo>
                    <a:lnTo>
                      <a:pt x="63722" y="102584"/>
                    </a:lnTo>
                    <a:cubicBezTo>
                      <a:pt x="63246" y="98203"/>
                      <a:pt x="63055" y="93440"/>
                      <a:pt x="63055" y="88487"/>
                    </a:cubicBezTo>
                    <a:lnTo>
                      <a:pt x="62484" y="88487"/>
                    </a:lnTo>
                    <a:cubicBezTo>
                      <a:pt x="59246" y="93631"/>
                      <a:pt x="54959" y="97631"/>
                      <a:pt x="49721" y="100394"/>
                    </a:cubicBezTo>
                    <a:cubicBezTo>
                      <a:pt x="44482" y="103156"/>
                      <a:pt x="38291" y="104489"/>
                      <a:pt x="31242" y="104489"/>
                    </a:cubicBezTo>
                    <a:cubicBezTo>
                      <a:pt x="25051" y="104489"/>
                      <a:pt x="19621" y="103346"/>
                      <a:pt x="14954" y="100965"/>
                    </a:cubicBezTo>
                    <a:close/>
                    <a:moveTo>
                      <a:pt x="50864" y="81534"/>
                    </a:moveTo>
                    <a:cubicBezTo>
                      <a:pt x="54197" y="79534"/>
                      <a:pt x="56865" y="76771"/>
                      <a:pt x="58769" y="73533"/>
                    </a:cubicBezTo>
                    <a:cubicBezTo>
                      <a:pt x="60674" y="70199"/>
                      <a:pt x="61532" y="66675"/>
                      <a:pt x="61532" y="62960"/>
                    </a:cubicBezTo>
                    <a:lnTo>
                      <a:pt x="61532" y="57817"/>
                    </a:lnTo>
                    <a:lnTo>
                      <a:pt x="48006" y="58007"/>
                    </a:lnTo>
                    <a:cubicBezTo>
                      <a:pt x="43434" y="58293"/>
                      <a:pt x="39719" y="58674"/>
                      <a:pt x="36862" y="59341"/>
                    </a:cubicBezTo>
                    <a:cubicBezTo>
                      <a:pt x="34004" y="60008"/>
                      <a:pt x="31718" y="61341"/>
                      <a:pt x="29909" y="63246"/>
                    </a:cubicBezTo>
                    <a:cubicBezTo>
                      <a:pt x="28099" y="65151"/>
                      <a:pt x="27241" y="68104"/>
                      <a:pt x="27241" y="72009"/>
                    </a:cubicBezTo>
                    <a:cubicBezTo>
                      <a:pt x="27241" y="75914"/>
                      <a:pt x="28384" y="79248"/>
                      <a:pt x="30575" y="81344"/>
                    </a:cubicBezTo>
                    <a:cubicBezTo>
                      <a:pt x="32766" y="83439"/>
                      <a:pt x="35719" y="84582"/>
                      <a:pt x="39434" y="84582"/>
                    </a:cubicBezTo>
                    <a:cubicBezTo>
                      <a:pt x="43720" y="84582"/>
                      <a:pt x="47530" y="83534"/>
                      <a:pt x="50959" y="81534"/>
                    </a:cubicBezTo>
                    <a:close/>
                  </a:path>
                </a:pathLst>
              </a:custGeom>
              <a:solidFill>
                <a:srgbClr val="FFFFFF"/>
              </a:solidFill>
              <a:ln w="9525" cap="flat">
                <a:noFill/>
                <a:prstDash val="solid"/>
                <a:miter/>
              </a:ln>
            </p:spPr>
            <p:txBody>
              <a:bodyPr rtlCol="0" anchor="ctr"/>
              <a:lstStyle/>
              <a:p>
                <a:pPr marL="0" marR="0" lvl="0" indent="0" algn="l" defTabSz="913578" rtl="0" eaLnBrk="1" fontAlgn="auto" latinLnBrk="0" hangingPunct="1">
                  <a:lnSpc>
                    <a:spcPct val="100000"/>
                  </a:lnSpc>
                  <a:spcBef>
                    <a:spcPts val="0"/>
                  </a:spcBef>
                  <a:spcAft>
                    <a:spcPts val="0"/>
                  </a:spcAft>
                  <a:buClrTx/>
                  <a:buSzTx/>
                  <a:buFontTx/>
                  <a:buNone/>
                  <a:tabLst/>
                  <a:defRPr/>
                </a:pPr>
                <a:endParaRPr kumimoji="0" lang="en-US" sz="17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466" name="Freeform: Shape 291">
                <a:extLst>
                  <a:ext uri="{FF2B5EF4-FFF2-40B4-BE49-F238E27FC236}">
                    <a16:creationId xmlns:a16="http://schemas.microsoft.com/office/drawing/2014/main" id="{5D3FF9B0-E915-87DC-2E4D-C9F1C8A679D1}"/>
                  </a:ext>
                </a:extLst>
              </p:cNvPr>
              <p:cNvSpPr/>
              <p:nvPr/>
            </p:nvSpPr>
            <p:spPr>
              <a:xfrm>
                <a:off x="6976110" y="5072252"/>
                <a:ext cx="59816" cy="126873"/>
              </a:xfrm>
              <a:custGeom>
                <a:avLst/>
                <a:gdLst>
                  <a:gd name="connsiteX0" fmla="*/ 19431 w 59816"/>
                  <a:gd name="connsiteY0" fmla="*/ 120015 h 126873"/>
                  <a:gd name="connsiteX1" fmla="*/ 12763 w 59816"/>
                  <a:gd name="connsiteY1" fmla="*/ 99727 h 126873"/>
                  <a:gd name="connsiteX2" fmla="*/ 12763 w 59816"/>
                  <a:gd name="connsiteY2" fmla="*/ 44101 h 126873"/>
                  <a:gd name="connsiteX3" fmla="*/ 0 w 59816"/>
                  <a:gd name="connsiteY3" fmla="*/ 44101 h 126873"/>
                  <a:gd name="connsiteX4" fmla="*/ 0 w 59816"/>
                  <a:gd name="connsiteY4" fmla="*/ 24670 h 126873"/>
                  <a:gd name="connsiteX5" fmla="*/ 14001 w 59816"/>
                  <a:gd name="connsiteY5" fmla="*/ 24670 h 126873"/>
                  <a:gd name="connsiteX6" fmla="*/ 15335 w 59816"/>
                  <a:gd name="connsiteY6" fmla="*/ 2000 h 126873"/>
                  <a:gd name="connsiteX7" fmla="*/ 38576 w 59816"/>
                  <a:gd name="connsiteY7" fmla="*/ 0 h 126873"/>
                  <a:gd name="connsiteX8" fmla="*/ 38576 w 59816"/>
                  <a:gd name="connsiteY8" fmla="*/ 24670 h 126873"/>
                  <a:gd name="connsiteX9" fmla="*/ 58578 w 59816"/>
                  <a:gd name="connsiteY9" fmla="*/ 24670 h 126873"/>
                  <a:gd name="connsiteX10" fmla="*/ 58578 w 59816"/>
                  <a:gd name="connsiteY10" fmla="*/ 44101 h 126873"/>
                  <a:gd name="connsiteX11" fmla="*/ 38576 w 59816"/>
                  <a:gd name="connsiteY11" fmla="*/ 44101 h 126873"/>
                  <a:gd name="connsiteX12" fmla="*/ 38576 w 59816"/>
                  <a:gd name="connsiteY12" fmla="*/ 92678 h 126873"/>
                  <a:gd name="connsiteX13" fmla="*/ 40862 w 59816"/>
                  <a:gd name="connsiteY13" fmla="*/ 102203 h 126873"/>
                  <a:gd name="connsiteX14" fmla="*/ 48291 w 59816"/>
                  <a:gd name="connsiteY14" fmla="*/ 105251 h 126873"/>
                  <a:gd name="connsiteX15" fmla="*/ 57816 w 59816"/>
                  <a:gd name="connsiteY15" fmla="*/ 104108 h 126873"/>
                  <a:gd name="connsiteX16" fmla="*/ 59817 w 59816"/>
                  <a:gd name="connsiteY16" fmla="*/ 123920 h 126873"/>
                  <a:gd name="connsiteX17" fmla="*/ 38576 w 59816"/>
                  <a:gd name="connsiteY17" fmla="*/ 126873 h 126873"/>
                  <a:gd name="connsiteX18" fmla="*/ 19335 w 59816"/>
                  <a:gd name="connsiteY18" fmla="*/ 120015 h 126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9816" h="126873">
                    <a:moveTo>
                      <a:pt x="19431" y="120015"/>
                    </a:moveTo>
                    <a:cubicBezTo>
                      <a:pt x="14954" y="115443"/>
                      <a:pt x="12763" y="108680"/>
                      <a:pt x="12763" y="99727"/>
                    </a:cubicBezTo>
                    <a:lnTo>
                      <a:pt x="12763" y="44101"/>
                    </a:lnTo>
                    <a:lnTo>
                      <a:pt x="0" y="44101"/>
                    </a:lnTo>
                    <a:lnTo>
                      <a:pt x="0" y="24670"/>
                    </a:lnTo>
                    <a:lnTo>
                      <a:pt x="14001" y="24670"/>
                    </a:lnTo>
                    <a:lnTo>
                      <a:pt x="15335" y="2000"/>
                    </a:lnTo>
                    <a:lnTo>
                      <a:pt x="38576" y="0"/>
                    </a:lnTo>
                    <a:lnTo>
                      <a:pt x="38576" y="24670"/>
                    </a:lnTo>
                    <a:lnTo>
                      <a:pt x="58578" y="24670"/>
                    </a:lnTo>
                    <a:lnTo>
                      <a:pt x="58578" y="44101"/>
                    </a:lnTo>
                    <a:lnTo>
                      <a:pt x="38576" y="44101"/>
                    </a:lnTo>
                    <a:lnTo>
                      <a:pt x="38576" y="92678"/>
                    </a:lnTo>
                    <a:cubicBezTo>
                      <a:pt x="38576" y="97060"/>
                      <a:pt x="39338" y="100203"/>
                      <a:pt x="40862" y="102203"/>
                    </a:cubicBezTo>
                    <a:cubicBezTo>
                      <a:pt x="42386" y="104204"/>
                      <a:pt x="44862" y="105251"/>
                      <a:pt x="48291" y="105251"/>
                    </a:cubicBezTo>
                    <a:cubicBezTo>
                      <a:pt x="51054" y="105251"/>
                      <a:pt x="54197" y="104870"/>
                      <a:pt x="57816" y="104108"/>
                    </a:cubicBezTo>
                    <a:lnTo>
                      <a:pt x="59817" y="123920"/>
                    </a:lnTo>
                    <a:cubicBezTo>
                      <a:pt x="52673" y="125921"/>
                      <a:pt x="45625" y="126873"/>
                      <a:pt x="38576" y="126873"/>
                    </a:cubicBezTo>
                    <a:cubicBezTo>
                      <a:pt x="30194" y="126873"/>
                      <a:pt x="23813" y="124587"/>
                      <a:pt x="19335" y="120015"/>
                    </a:cubicBezTo>
                    <a:close/>
                  </a:path>
                </a:pathLst>
              </a:custGeom>
              <a:solidFill>
                <a:srgbClr val="FFFFFF"/>
              </a:solidFill>
              <a:ln w="9525" cap="flat">
                <a:noFill/>
                <a:prstDash val="solid"/>
                <a:miter/>
              </a:ln>
            </p:spPr>
            <p:txBody>
              <a:bodyPr rtlCol="0" anchor="ctr"/>
              <a:lstStyle/>
              <a:p>
                <a:pPr marL="0" marR="0" lvl="0" indent="0" algn="l" defTabSz="913578" rtl="0" eaLnBrk="1" fontAlgn="auto" latinLnBrk="0" hangingPunct="1">
                  <a:lnSpc>
                    <a:spcPct val="100000"/>
                  </a:lnSpc>
                  <a:spcBef>
                    <a:spcPts val="0"/>
                  </a:spcBef>
                  <a:spcAft>
                    <a:spcPts val="0"/>
                  </a:spcAft>
                  <a:buClrTx/>
                  <a:buSzTx/>
                  <a:buFontTx/>
                  <a:buNone/>
                  <a:tabLst/>
                  <a:defRPr/>
                </a:pPr>
                <a:endParaRPr kumimoji="0" lang="en-US" sz="17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467" name="Freeform: Shape 292">
                <a:extLst>
                  <a:ext uri="{FF2B5EF4-FFF2-40B4-BE49-F238E27FC236}">
                    <a16:creationId xmlns:a16="http://schemas.microsoft.com/office/drawing/2014/main" id="{68036310-DA81-1CFA-D55F-C454278D510D}"/>
                  </a:ext>
                </a:extLst>
              </p:cNvPr>
              <p:cNvSpPr/>
              <p:nvPr/>
            </p:nvSpPr>
            <p:spPr>
              <a:xfrm>
                <a:off x="7041451" y="5059299"/>
                <a:ext cx="61436" cy="138112"/>
              </a:xfrm>
              <a:custGeom>
                <a:avLst/>
                <a:gdLst>
                  <a:gd name="connsiteX0" fmla="*/ 14668 w 61436"/>
                  <a:gd name="connsiteY0" fmla="*/ 57055 h 138112"/>
                  <a:gd name="connsiteX1" fmla="*/ 0 w 61436"/>
                  <a:gd name="connsiteY1" fmla="*/ 57055 h 138112"/>
                  <a:gd name="connsiteX2" fmla="*/ 0 w 61436"/>
                  <a:gd name="connsiteY2" fmla="*/ 37624 h 138112"/>
                  <a:gd name="connsiteX3" fmla="*/ 14668 w 61436"/>
                  <a:gd name="connsiteY3" fmla="*/ 37624 h 138112"/>
                  <a:gd name="connsiteX4" fmla="*/ 14668 w 61436"/>
                  <a:gd name="connsiteY4" fmla="*/ 28956 h 138112"/>
                  <a:gd name="connsiteX5" fmla="*/ 21717 w 61436"/>
                  <a:gd name="connsiteY5" fmla="*/ 7715 h 138112"/>
                  <a:gd name="connsiteX6" fmla="*/ 45815 w 61436"/>
                  <a:gd name="connsiteY6" fmla="*/ 0 h 138112"/>
                  <a:gd name="connsiteX7" fmla="*/ 61436 w 61436"/>
                  <a:gd name="connsiteY7" fmla="*/ 1619 h 138112"/>
                  <a:gd name="connsiteX8" fmla="*/ 59531 w 61436"/>
                  <a:gd name="connsiteY8" fmla="*/ 20383 h 138112"/>
                  <a:gd name="connsiteX9" fmla="*/ 50578 w 61436"/>
                  <a:gd name="connsiteY9" fmla="*/ 19431 h 138112"/>
                  <a:gd name="connsiteX10" fmla="*/ 42863 w 61436"/>
                  <a:gd name="connsiteY10" fmla="*/ 22288 h 138112"/>
                  <a:gd name="connsiteX11" fmla="*/ 40672 w 61436"/>
                  <a:gd name="connsiteY11" fmla="*/ 31432 h 138112"/>
                  <a:gd name="connsiteX12" fmla="*/ 40672 w 61436"/>
                  <a:gd name="connsiteY12" fmla="*/ 37529 h 138112"/>
                  <a:gd name="connsiteX13" fmla="*/ 61436 w 61436"/>
                  <a:gd name="connsiteY13" fmla="*/ 37529 h 138112"/>
                  <a:gd name="connsiteX14" fmla="*/ 61436 w 61436"/>
                  <a:gd name="connsiteY14" fmla="*/ 56960 h 138112"/>
                  <a:gd name="connsiteX15" fmla="*/ 40672 w 61436"/>
                  <a:gd name="connsiteY15" fmla="*/ 56960 h 138112"/>
                  <a:gd name="connsiteX16" fmla="*/ 40672 w 61436"/>
                  <a:gd name="connsiteY16" fmla="*/ 138113 h 138112"/>
                  <a:gd name="connsiteX17" fmla="*/ 14668 w 61436"/>
                  <a:gd name="connsiteY17" fmla="*/ 138113 h 138112"/>
                  <a:gd name="connsiteX18" fmla="*/ 14668 w 61436"/>
                  <a:gd name="connsiteY18" fmla="*/ 56960 h 1381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1436" h="138112">
                    <a:moveTo>
                      <a:pt x="14668" y="57055"/>
                    </a:moveTo>
                    <a:lnTo>
                      <a:pt x="0" y="57055"/>
                    </a:lnTo>
                    <a:lnTo>
                      <a:pt x="0" y="37624"/>
                    </a:lnTo>
                    <a:lnTo>
                      <a:pt x="14668" y="37624"/>
                    </a:lnTo>
                    <a:lnTo>
                      <a:pt x="14668" y="28956"/>
                    </a:lnTo>
                    <a:cubicBezTo>
                      <a:pt x="14668" y="19907"/>
                      <a:pt x="17050" y="12859"/>
                      <a:pt x="21717" y="7715"/>
                    </a:cubicBezTo>
                    <a:cubicBezTo>
                      <a:pt x="26384" y="2572"/>
                      <a:pt x="34480" y="0"/>
                      <a:pt x="45815" y="0"/>
                    </a:cubicBezTo>
                    <a:cubicBezTo>
                      <a:pt x="50673" y="0"/>
                      <a:pt x="55912" y="476"/>
                      <a:pt x="61436" y="1619"/>
                    </a:cubicBezTo>
                    <a:lnTo>
                      <a:pt x="59531" y="20383"/>
                    </a:lnTo>
                    <a:cubicBezTo>
                      <a:pt x="56959" y="19717"/>
                      <a:pt x="53911" y="19431"/>
                      <a:pt x="50578" y="19431"/>
                    </a:cubicBezTo>
                    <a:cubicBezTo>
                      <a:pt x="46958" y="19431"/>
                      <a:pt x="44386" y="20383"/>
                      <a:pt x="42863" y="22288"/>
                    </a:cubicBezTo>
                    <a:cubicBezTo>
                      <a:pt x="41338" y="24194"/>
                      <a:pt x="40672" y="27241"/>
                      <a:pt x="40672" y="31432"/>
                    </a:cubicBezTo>
                    <a:lnTo>
                      <a:pt x="40672" y="37529"/>
                    </a:lnTo>
                    <a:lnTo>
                      <a:pt x="61436" y="37529"/>
                    </a:lnTo>
                    <a:lnTo>
                      <a:pt x="61436" y="56960"/>
                    </a:lnTo>
                    <a:lnTo>
                      <a:pt x="40672" y="56960"/>
                    </a:lnTo>
                    <a:lnTo>
                      <a:pt x="40672" y="138113"/>
                    </a:lnTo>
                    <a:lnTo>
                      <a:pt x="14668" y="138113"/>
                    </a:lnTo>
                    <a:lnTo>
                      <a:pt x="14668" y="56960"/>
                    </a:lnTo>
                    <a:close/>
                  </a:path>
                </a:pathLst>
              </a:custGeom>
              <a:solidFill>
                <a:srgbClr val="FFFFFF"/>
              </a:solidFill>
              <a:ln w="9525" cap="flat">
                <a:noFill/>
                <a:prstDash val="solid"/>
                <a:miter/>
              </a:ln>
            </p:spPr>
            <p:txBody>
              <a:bodyPr rtlCol="0" anchor="ctr"/>
              <a:lstStyle/>
              <a:p>
                <a:pPr marL="0" marR="0" lvl="0" indent="0" algn="l" defTabSz="913578" rtl="0" eaLnBrk="1" fontAlgn="auto" latinLnBrk="0" hangingPunct="1">
                  <a:lnSpc>
                    <a:spcPct val="100000"/>
                  </a:lnSpc>
                  <a:spcBef>
                    <a:spcPts val="0"/>
                  </a:spcBef>
                  <a:spcAft>
                    <a:spcPts val="0"/>
                  </a:spcAft>
                  <a:buClrTx/>
                  <a:buSzTx/>
                  <a:buFontTx/>
                  <a:buNone/>
                  <a:tabLst/>
                  <a:defRPr/>
                </a:pPr>
                <a:endParaRPr kumimoji="0" lang="en-US" sz="17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468" name="Freeform: Shape 293">
                <a:extLst>
                  <a:ext uri="{FF2B5EF4-FFF2-40B4-BE49-F238E27FC236}">
                    <a16:creationId xmlns:a16="http://schemas.microsoft.com/office/drawing/2014/main" id="{9E64A0AA-BA1A-845B-84CE-0BDD6C5141B3}"/>
                  </a:ext>
                </a:extLst>
              </p:cNvPr>
              <p:cNvSpPr/>
              <p:nvPr/>
            </p:nvSpPr>
            <p:spPr>
              <a:xfrm>
                <a:off x="7109936" y="5095113"/>
                <a:ext cx="101440" cy="104393"/>
              </a:xfrm>
              <a:custGeom>
                <a:avLst/>
                <a:gdLst>
                  <a:gd name="connsiteX0" fmla="*/ 23146 w 101440"/>
                  <a:gd name="connsiteY0" fmla="*/ 97346 h 104393"/>
                  <a:gd name="connsiteX1" fmla="*/ 5905 w 101440"/>
                  <a:gd name="connsiteY1" fmla="*/ 78581 h 104393"/>
                  <a:gd name="connsiteX2" fmla="*/ 0 w 101440"/>
                  <a:gd name="connsiteY2" fmla="*/ 51911 h 104393"/>
                  <a:gd name="connsiteX3" fmla="*/ 5715 w 101440"/>
                  <a:gd name="connsiteY3" fmla="*/ 25717 h 104393"/>
                  <a:gd name="connsiteX4" fmla="*/ 22860 w 101440"/>
                  <a:gd name="connsiteY4" fmla="*/ 6953 h 104393"/>
                  <a:gd name="connsiteX5" fmla="*/ 50863 w 101440"/>
                  <a:gd name="connsiteY5" fmla="*/ 0 h 104393"/>
                  <a:gd name="connsiteX6" fmla="*/ 79534 w 101440"/>
                  <a:gd name="connsiteY6" fmla="*/ 6953 h 104393"/>
                  <a:gd name="connsiteX7" fmla="*/ 96107 w 101440"/>
                  <a:gd name="connsiteY7" fmla="*/ 25527 h 104393"/>
                  <a:gd name="connsiteX8" fmla="*/ 101441 w 101440"/>
                  <a:gd name="connsiteY8" fmla="*/ 52006 h 104393"/>
                  <a:gd name="connsiteX9" fmla="*/ 95631 w 101440"/>
                  <a:gd name="connsiteY9" fmla="*/ 78676 h 104393"/>
                  <a:gd name="connsiteX10" fmla="*/ 78295 w 101440"/>
                  <a:gd name="connsiteY10" fmla="*/ 97441 h 104393"/>
                  <a:gd name="connsiteX11" fmla="*/ 50292 w 101440"/>
                  <a:gd name="connsiteY11" fmla="*/ 104394 h 104393"/>
                  <a:gd name="connsiteX12" fmla="*/ 23050 w 101440"/>
                  <a:gd name="connsiteY12" fmla="*/ 97536 h 104393"/>
                  <a:gd name="connsiteX13" fmla="*/ 67913 w 101440"/>
                  <a:gd name="connsiteY13" fmla="*/ 75342 h 104393"/>
                  <a:gd name="connsiteX14" fmla="*/ 74104 w 101440"/>
                  <a:gd name="connsiteY14" fmla="*/ 51911 h 104393"/>
                  <a:gd name="connsiteX15" fmla="*/ 68199 w 101440"/>
                  <a:gd name="connsiteY15" fmla="*/ 28765 h 104393"/>
                  <a:gd name="connsiteX16" fmla="*/ 51149 w 101440"/>
                  <a:gd name="connsiteY16" fmla="*/ 20669 h 104393"/>
                  <a:gd name="connsiteX17" fmla="*/ 33433 w 101440"/>
                  <a:gd name="connsiteY17" fmla="*/ 28765 h 104393"/>
                  <a:gd name="connsiteX18" fmla="*/ 27337 w 101440"/>
                  <a:gd name="connsiteY18" fmla="*/ 51911 h 104393"/>
                  <a:gd name="connsiteX19" fmla="*/ 30194 w 101440"/>
                  <a:gd name="connsiteY19" fmla="*/ 68961 h 104393"/>
                  <a:gd name="connsiteX20" fmla="*/ 38100 w 101440"/>
                  <a:gd name="connsiteY20" fmla="*/ 79819 h 104393"/>
                  <a:gd name="connsiteX21" fmla="*/ 50006 w 101440"/>
                  <a:gd name="connsiteY21" fmla="*/ 83534 h 104393"/>
                  <a:gd name="connsiteX22" fmla="*/ 67913 w 101440"/>
                  <a:gd name="connsiteY22" fmla="*/ 75342 h 104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01440" h="104393">
                    <a:moveTo>
                      <a:pt x="23146" y="97346"/>
                    </a:moveTo>
                    <a:cubicBezTo>
                      <a:pt x="15526" y="92773"/>
                      <a:pt x="9810" y="86487"/>
                      <a:pt x="5905" y="78581"/>
                    </a:cubicBezTo>
                    <a:cubicBezTo>
                      <a:pt x="2000" y="70675"/>
                      <a:pt x="0" y="61722"/>
                      <a:pt x="0" y="51911"/>
                    </a:cubicBezTo>
                    <a:cubicBezTo>
                      <a:pt x="0" y="42100"/>
                      <a:pt x="1905" y="33528"/>
                      <a:pt x="5715" y="25717"/>
                    </a:cubicBezTo>
                    <a:cubicBezTo>
                      <a:pt x="9525" y="17812"/>
                      <a:pt x="15240" y="11621"/>
                      <a:pt x="22860" y="6953"/>
                    </a:cubicBezTo>
                    <a:cubicBezTo>
                      <a:pt x="30480" y="2286"/>
                      <a:pt x="39814" y="0"/>
                      <a:pt x="50863" y="0"/>
                    </a:cubicBezTo>
                    <a:cubicBezTo>
                      <a:pt x="62484" y="0"/>
                      <a:pt x="72009" y="2286"/>
                      <a:pt x="79534" y="6953"/>
                    </a:cubicBezTo>
                    <a:cubicBezTo>
                      <a:pt x="87059" y="11525"/>
                      <a:pt x="92583" y="17812"/>
                      <a:pt x="96107" y="25527"/>
                    </a:cubicBezTo>
                    <a:cubicBezTo>
                      <a:pt x="99631" y="33338"/>
                      <a:pt x="101441" y="42100"/>
                      <a:pt x="101441" y="52006"/>
                    </a:cubicBezTo>
                    <a:cubicBezTo>
                      <a:pt x="101441" y="61913"/>
                      <a:pt x="99536" y="70771"/>
                      <a:pt x="95631" y="78676"/>
                    </a:cubicBezTo>
                    <a:cubicBezTo>
                      <a:pt x="91726" y="86582"/>
                      <a:pt x="86010" y="92869"/>
                      <a:pt x="78295" y="97441"/>
                    </a:cubicBezTo>
                    <a:cubicBezTo>
                      <a:pt x="70580" y="102013"/>
                      <a:pt x="61246" y="104394"/>
                      <a:pt x="50292" y="104394"/>
                    </a:cubicBezTo>
                    <a:cubicBezTo>
                      <a:pt x="39338" y="104394"/>
                      <a:pt x="30670" y="102108"/>
                      <a:pt x="23050" y="97536"/>
                    </a:cubicBezTo>
                    <a:close/>
                    <a:moveTo>
                      <a:pt x="67913" y="75342"/>
                    </a:moveTo>
                    <a:cubicBezTo>
                      <a:pt x="72104" y="69913"/>
                      <a:pt x="74104" y="62103"/>
                      <a:pt x="74104" y="51911"/>
                    </a:cubicBezTo>
                    <a:cubicBezTo>
                      <a:pt x="74104" y="41719"/>
                      <a:pt x="72104" y="34099"/>
                      <a:pt x="68199" y="28765"/>
                    </a:cubicBezTo>
                    <a:cubicBezTo>
                      <a:pt x="64294" y="23431"/>
                      <a:pt x="58578" y="20669"/>
                      <a:pt x="51149" y="20669"/>
                    </a:cubicBezTo>
                    <a:cubicBezTo>
                      <a:pt x="43719" y="20669"/>
                      <a:pt x="37529" y="23336"/>
                      <a:pt x="33433" y="28765"/>
                    </a:cubicBezTo>
                    <a:cubicBezTo>
                      <a:pt x="29337" y="34195"/>
                      <a:pt x="27337" y="41910"/>
                      <a:pt x="27337" y="51911"/>
                    </a:cubicBezTo>
                    <a:cubicBezTo>
                      <a:pt x="27337" y="58579"/>
                      <a:pt x="28289" y="64198"/>
                      <a:pt x="30194" y="68961"/>
                    </a:cubicBezTo>
                    <a:cubicBezTo>
                      <a:pt x="32099" y="73723"/>
                      <a:pt x="34766" y="77343"/>
                      <a:pt x="38100" y="79819"/>
                    </a:cubicBezTo>
                    <a:cubicBezTo>
                      <a:pt x="41434" y="82296"/>
                      <a:pt x="45434" y="83534"/>
                      <a:pt x="50006" y="83534"/>
                    </a:cubicBezTo>
                    <a:cubicBezTo>
                      <a:pt x="57721" y="83534"/>
                      <a:pt x="63722" y="80772"/>
                      <a:pt x="67913" y="75342"/>
                    </a:cubicBezTo>
                    <a:close/>
                  </a:path>
                </a:pathLst>
              </a:custGeom>
              <a:solidFill>
                <a:srgbClr val="FFFFFF"/>
              </a:solidFill>
              <a:ln w="9525" cap="flat">
                <a:noFill/>
                <a:prstDash val="solid"/>
                <a:miter/>
              </a:ln>
            </p:spPr>
            <p:txBody>
              <a:bodyPr rtlCol="0" anchor="ctr"/>
              <a:lstStyle/>
              <a:p>
                <a:pPr marL="0" marR="0" lvl="0" indent="0" algn="l" defTabSz="913578" rtl="0" eaLnBrk="1" fontAlgn="auto" latinLnBrk="0" hangingPunct="1">
                  <a:lnSpc>
                    <a:spcPct val="100000"/>
                  </a:lnSpc>
                  <a:spcBef>
                    <a:spcPts val="0"/>
                  </a:spcBef>
                  <a:spcAft>
                    <a:spcPts val="0"/>
                  </a:spcAft>
                  <a:buClrTx/>
                  <a:buSzTx/>
                  <a:buFontTx/>
                  <a:buNone/>
                  <a:tabLst/>
                  <a:defRPr/>
                </a:pPr>
                <a:endParaRPr kumimoji="0" lang="en-US" sz="17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469" name="Freeform: Shape 294">
                <a:extLst>
                  <a:ext uri="{FF2B5EF4-FFF2-40B4-BE49-F238E27FC236}">
                    <a16:creationId xmlns:a16="http://schemas.microsoft.com/office/drawing/2014/main" id="{3B7BD7D1-548A-E047-4AA6-0969608D0A17}"/>
                  </a:ext>
                </a:extLst>
              </p:cNvPr>
              <p:cNvSpPr/>
              <p:nvPr/>
            </p:nvSpPr>
            <p:spPr>
              <a:xfrm>
                <a:off x="7231570" y="5094827"/>
                <a:ext cx="58674" cy="102774"/>
              </a:xfrm>
              <a:custGeom>
                <a:avLst/>
                <a:gdLst>
                  <a:gd name="connsiteX0" fmla="*/ 667 w 58674"/>
                  <a:gd name="connsiteY0" fmla="*/ 25717 h 102774"/>
                  <a:gd name="connsiteX1" fmla="*/ 477 w 58674"/>
                  <a:gd name="connsiteY1" fmla="*/ 11811 h 102774"/>
                  <a:gd name="connsiteX2" fmla="*/ 0 w 58674"/>
                  <a:gd name="connsiteY2" fmla="*/ 2095 h 102774"/>
                  <a:gd name="connsiteX3" fmla="*/ 24956 w 58674"/>
                  <a:gd name="connsiteY3" fmla="*/ 2095 h 102774"/>
                  <a:gd name="connsiteX4" fmla="*/ 25718 w 58674"/>
                  <a:gd name="connsiteY4" fmla="*/ 10096 h 102774"/>
                  <a:gd name="connsiteX5" fmla="*/ 26099 w 58674"/>
                  <a:gd name="connsiteY5" fmla="*/ 19621 h 102774"/>
                  <a:gd name="connsiteX6" fmla="*/ 26480 w 58674"/>
                  <a:gd name="connsiteY6" fmla="*/ 19621 h 102774"/>
                  <a:gd name="connsiteX7" fmla="*/ 32195 w 58674"/>
                  <a:gd name="connsiteY7" fmla="*/ 8572 h 102774"/>
                  <a:gd name="connsiteX8" fmla="*/ 39148 w 58674"/>
                  <a:gd name="connsiteY8" fmla="*/ 2286 h 102774"/>
                  <a:gd name="connsiteX9" fmla="*/ 50292 w 58674"/>
                  <a:gd name="connsiteY9" fmla="*/ 0 h 102774"/>
                  <a:gd name="connsiteX10" fmla="*/ 55150 w 58674"/>
                  <a:gd name="connsiteY10" fmla="*/ 476 h 102774"/>
                  <a:gd name="connsiteX11" fmla="*/ 58674 w 58674"/>
                  <a:gd name="connsiteY11" fmla="*/ 1619 h 102774"/>
                  <a:gd name="connsiteX12" fmla="*/ 57912 w 58674"/>
                  <a:gd name="connsiteY12" fmla="*/ 24193 h 102774"/>
                  <a:gd name="connsiteX13" fmla="*/ 55912 w 58674"/>
                  <a:gd name="connsiteY13" fmla="*/ 23813 h 102774"/>
                  <a:gd name="connsiteX14" fmla="*/ 47340 w 58674"/>
                  <a:gd name="connsiteY14" fmla="*/ 22860 h 102774"/>
                  <a:gd name="connsiteX15" fmla="*/ 32195 w 58674"/>
                  <a:gd name="connsiteY15" fmla="*/ 30766 h 102774"/>
                  <a:gd name="connsiteX16" fmla="*/ 26766 w 58674"/>
                  <a:gd name="connsiteY16" fmla="*/ 53435 h 102774"/>
                  <a:gd name="connsiteX17" fmla="*/ 26766 w 58674"/>
                  <a:gd name="connsiteY17" fmla="*/ 102775 h 102774"/>
                  <a:gd name="connsiteX18" fmla="*/ 667 w 58674"/>
                  <a:gd name="connsiteY18" fmla="*/ 102775 h 102774"/>
                  <a:gd name="connsiteX19" fmla="*/ 667 w 58674"/>
                  <a:gd name="connsiteY19" fmla="*/ 25813 h 1027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8674" h="102774">
                    <a:moveTo>
                      <a:pt x="667" y="25717"/>
                    </a:moveTo>
                    <a:cubicBezTo>
                      <a:pt x="667" y="21336"/>
                      <a:pt x="667" y="16764"/>
                      <a:pt x="477" y="11811"/>
                    </a:cubicBezTo>
                    <a:cubicBezTo>
                      <a:pt x="286" y="6858"/>
                      <a:pt x="191" y="3619"/>
                      <a:pt x="0" y="2095"/>
                    </a:cubicBezTo>
                    <a:lnTo>
                      <a:pt x="24956" y="2095"/>
                    </a:lnTo>
                    <a:cubicBezTo>
                      <a:pt x="25241" y="3238"/>
                      <a:pt x="25432" y="5905"/>
                      <a:pt x="25718" y="10096"/>
                    </a:cubicBezTo>
                    <a:cubicBezTo>
                      <a:pt x="26004" y="14288"/>
                      <a:pt x="26099" y="17431"/>
                      <a:pt x="26099" y="19621"/>
                    </a:cubicBezTo>
                    <a:lnTo>
                      <a:pt x="26480" y="19621"/>
                    </a:lnTo>
                    <a:cubicBezTo>
                      <a:pt x="28480" y="14859"/>
                      <a:pt x="30385" y="11239"/>
                      <a:pt x="32195" y="8572"/>
                    </a:cubicBezTo>
                    <a:cubicBezTo>
                      <a:pt x="34004" y="5905"/>
                      <a:pt x="36291" y="3810"/>
                      <a:pt x="39148" y="2286"/>
                    </a:cubicBezTo>
                    <a:cubicBezTo>
                      <a:pt x="42006" y="762"/>
                      <a:pt x="45720" y="0"/>
                      <a:pt x="50292" y="0"/>
                    </a:cubicBezTo>
                    <a:cubicBezTo>
                      <a:pt x="52007" y="0"/>
                      <a:pt x="53626" y="190"/>
                      <a:pt x="55150" y="476"/>
                    </a:cubicBezTo>
                    <a:cubicBezTo>
                      <a:pt x="56769" y="762"/>
                      <a:pt x="57912" y="1143"/>
                      <a:pt x="58674" y="1619"/>
                    </a:cubicBezTo>
                    <a:lnTo>
                      <a:pt x="57912" y="24193"/>
                    </a:lnTo>
                    <a:cubicBezTo>
                      <a:pt x="57055" y="24098"/>
                      <a:pt x="56388" y="23908"/>
                      <a:pt x="55912" y="23813"/>
                    </a:cubicBezTo>
                    <a:cubicBezTo>
                      <a:pt x="52578" y="23146"/>
                      <a:pt x="49721" y="22860"/>
                      <a:pt x="47340" y="22860"/>
                    </a:cubicBezTo>
                    <a:cubicBezTo>
                      <a:pt x="40863" y="22860"/>
                      <a:pt x="35814" y="25432"/>
                      <a:pt x="32195" y="30766"/>
                    </a:cubicBezTo>
                    <a:cubicBezTo>
                      <a:pt x="28575" y="36004"/>
                      <a:pt x="26766" y="43529"/>
                      <a:pt x="26766" y="53435"/>
                    </a:cubicBezTo>
                    <a:lnTo>
                      <a:pt x="26766" y="102775"/>
                    </a:lnTo>
                    <a:lnTo>
                      <a:pt x="667" y="102775"/>
                    </a:lnTo>
                    <a:lnTo>
                      <a:pt x="667" y="25813"/>
                    </a:lnTo>
                    <a:close/>
                  </a:path>
                </a:pathLst>
              </a:custGeom>
              <a:solidFill>
                <a:srgbClr val="FFFFFF"/>
              </a:solidFill>
              <a:ln w="9525" cap="flat">
                <a:noFill/>
                <a:prstDash val="solid"/>
                <a:miter/>
              </a:ln>
            </p:spPr>
            <p:txBody>
              <a:bodyPr rtlCol="0" anchor="ctr"/>
              <a:lstStyle/>
              <a:p>
                <a:pPr marL="0" marR="0" lvl="0" indent="0" algn="l" defTabSz="913578" rtl="0" eaLnBrk="1" fontAlgn="auto" latinLnBrk="0" hangingPunct="1">
                  <a:lnSpc>
                    <a:spcPct val="100000"/>
                  </a:lnSpc>
                  <a:spcBef>
                    <a:spcPts val="0"/>
                  </a:spcBef>
                  <a:spcAft>
                    <a:spcPts val="0"/>
                  </a:spcAft>
                  <a:buClrTx/>
                  <a:buSzTx/>
                  <a:buFontTx/>
                  <a:buNone/>
                  <a:tabLst/>
                  <a:defRPr/>
                </a:pPr>
                <a:endParaRPr kumimoji="0" lang="en-US" sz="17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470" name="Freeform: Shape 295">
                <a:extLst>
                  <a:ext uri="{FF2B5EF4-FFF2-40B4-BE49-F238E27FC236}">
                    <a16:creationId xmlns:a16="http://schemas.microsoft.com/office/drawing/2014/main" id="{248721BF-FFE3-BBDC-40C7-180F8EA38155}"/>
                  </a:ext>
                </a:extLst>
              </p:cNvPr>
              <p:cNvSpPr/>
              <p:nvPr/>
            </p:nvSpPr>
            <p:spPr>
              <a:xfrm>
                <a:off x="7305675" y="5094636"/>
                <a:ext cx="144970" cy="102679"/>
              </a:xfrm>
              <a:custGeom>
                <a:avLst/>
                <a:gdLst>
                  <a:gd name="connsiteX0" fmla="*/ 667 w 144970"/>
                  <a:gd name="connsiteY0" fmla="*/ 24670 h 102679"/>
                  <a:gd name="connsiteX1" fmla="*/ 476 w 144970"/>
                  <a:gd name="connsiteY1" fmla="*/ 11430 h 102679"/>
                  <a:gd name="connsiteX2" fmla="*/ 0 w 144970"/>
                  <a:gd name="connsiteY2" fmla="*/ 2191 h 102679"/>
                  <a:gd name="connsiteX3" fmla="*/ 24955 w 144970"/>
                  <a:gd name="connsiteY3" fmla="*/ 2191 h 102679"/>
                  <a:gd name="connsiteX4" fmla="*/ 25718 w 144970"/>
                  <a:gd name="connsiteY4" fmla="*/ 10382 h 102679"/>
                  <a:gd name="connsiteX5" fmla="*/ 26098 w 144970"/>
                  <a:gd name="connsiteY5" fmla="*/ 20193 h 102679"/>
                  <a:gd name="connsiteX6" fmla="*/ 26480 w 144970"/>
                  <a:gd name="connsiteY6" fmla="*/ 20193 h 102679"/>
                  <a:gd name="connsiteX7" fmla="*/ 38481 w 144970"/>
                  <a:gd name="connsiteY7" fmla="*/ 4953 h 102679"/>
                  <a:gd name="connsiteX8" fmla="*/ 55816 w 144970"/>
                  <a:gd name="connsiteY8" fmla="*/ 0 h 102679"/>
                  <a:gd name="connsiteX9" fmla="*/ 74295 w 144970"/>
                  <a:gd name="connsiteY9" fmla="*/ 5144 h 102679"/>
                  <a:gd name="connsiteX10" fmla="*/ 83820 w 144970"/>
                  <a:gd name="connsiteY10" fmla="*/ 20193 h 102679"/>
                  <a:gd name="connsiteX11" fmla="*/ 84391 w 144970"/>
                  <a:gd name="connsiteY11" fmla="*/ 20193 h 102679"/>
                  <a:gd name="connsiteX12" fmla="*/ 96774 w 144970"/>
                  <a:gd name="connsiteY12" fmla="*/ 4572 h 102679"/>
                  <a:gd name="connsiteX13" fmla="*/ 114871 w 144970"/>
                  <a:gd name="connsiteY13" fmla="*/ 0 h 102679"/>
                  <a:gd name="connsiteX14" fmla="*/ 137732 w 144970"/>
                  <a:gd name="connsiteY14" fmla="*/ 10573 h 102679"/>
                  <a:gd name="connsiteX15" fmla="*/ 144970 w 144970"/>
                  <a:gd name="connsiteY15" fmla="*/ 38862 h 102679"/>
                  <a:gd name="connsiteX16" fmla="*/ 144970 w 144970"/>
                  <a:gd name="connsiteY16" fmla="*/ 102679 h 102679"/>
                  <a:gd name="connsiteX17" fmla="*/ 119063 w 144970"/>
                  <a:gd name="connsiteY17" fmla="*/ 102679 h 102679"/>
                  <a:gd name="connsiteX18" fmla="*/ 119063 w 144970"/>
                  <a:gd name="connsiteY18" fmla="*/ 46292 h 102679"/>
                  <a:gd name="connsiteX19" fmla="*/ 115824 w 144970"/>
                  <a:gd name="connsiteY19" fmla="*/ 28766 h 102679"/>
                  <a:gd name="connsiteX20" fmla="*/ 104680 w 144970"/>
                  <a:gd name="connsiteY20" fmla="*/ 22670 h 102679"/>
                  <a:gd name="connsiteX21" fmla="*/ 95250 w 144970"/>
                  <a:gd name="connsiteY21" fmla="*/ 25813 h 102679"/>
                  <a:gd name="connsiteX22" fmla="*/ 88582 w 144970"/>
                  <a:gd name="connsiteY22" fmla="*/ 34576 h 102679"/>
                  <a:gd name="connsiteX23" fmla="*/ 85916 w 144970"/>
                  <a:gd name="connsiteY23" fmla="*/ 47435 h 102679"/>
                  <a:gd name="connsiteX24" fmla="*/ 85916 w 144970"/>
                  <a:gd name="connsiteY24" fmla="*/ 102679 h 102679"/>
                  <a:gd name="connsiteX25" fmla="*/ 60007 w 144970"/>
                  <a:gd name="connsiteY25" fmla="*/ 102679 h 102679"/>
                  <a:gd name="connsiteX26" fmla="*/ 60007 w 144970"/>
                  <a:gd name="connsiteY26" fmla="*/ 46292 h 102679"/>
                  <a:gd name="connsiteX27" fmla="*/ 56769 w 144970"/>
                  <a:gd name="connsiteY27" fmla="*/ 28766 h 102679"/>
                  <a:gd name="connsiteX28" fmla="*/ 45625 w 144970"/>
                  <a:gd name="connsiteY28" fmla="*/ 22670 h 102679"/>
                  <a:gd name="connsiteX29" fmla="*/ 36005 w 144970"/>
                  <a:gd name="connsiteY29" fmla="*/ 26003 h 102679"/>
                  <a:gd name="connsiteX30" fmla="*/ 29337 w 144970"/>
                  <a:gd name="connsiteY30" fmla="*/ 35243 h 102679"/>
                  <a:gd name="connsiteX31" fmla="*/ 26956 w 144970"/>
                  <a:gd name="connsiteY31" fmla="*/ 48768 h 102679"/>
                  <a:gd name="connsiteX32" fmla="*/ 26956 w 144970"/>
                  <a:gd name="connsiteY32" fmla="*/ 102679 h 102679"/>
                  <a:gd name="connsiteX33" fmla="*/ 858 w 144970"/>
                  <a:gd name="connsiteY33" fmla="*/ 102679 h 102679"/>
                  <a:gd name="connsiteX34" fmla="*/ 858 w 144970"/>
                  <a:gd name="connsiteY34" fmla="*/ 24575 h 102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144970" h="102679">
                    <a:moveTo>
                      <a:pt x="667" y="24670"/>
                    </a:moveTo>
                    <a:cubicBezTo>
                      <a:pt x="667" y="20384"/>
                      <a:pt x="667" y="16002"/>
                      <a:pt x="476" y="11430"/>
                    </a:cubicBezTo>
                    <a:cubicBezTo>
                      <a:pt x="286" y="6858"/>
                      <a:pt x="191" y="3810"/>
                      <a:pt x="0" y="2191"/>
                    </a:cubicBezTo>
                    <a:lnTo>
                      <a:pt x="24955" y="2191"/>
                    </a:lnTo>
                    <a:cubicBezTo>
                      <a:pt x="25241" y="3524"/>
                      <a:pt x="25432" y="6287"/>
                      <a:pt x="25718" y="10382"/>
                    </a:cubicBezTo>
                    <a:cubicBezTo>
                      <a:pt x="26003" y="14478"/>
                      <a:pt x="26098" y="17812"/>
                      <a:pt x="26098" y="20193"/>
                    </a:cubicBezTo>
                    <a:lnTo>
                      <a:pt x="26480" y="20193"/>
                    </a:lnTo>
                    <a:cubicBezTo>
                      <a:pt x="29623" y="13335"/>
                      <a:pt x="33624" y="8192"/>
                      <a:pt x="38481" y="4953"/>
                    </a:cubicBezTo>
                    <a:cubicBezTo>
                      <a:pt x="43339" y="1619"/>
                      <a:pt x="49054" y="0"/>
                      <a:pt x="55816" y="0"/>
                    </a:cubicBezTo>
                    <a:cubicBezTo>
                      <a:pt x="63341" y="0"/>
                      <a:pt x="69532" y="1714"/>
                      <a:pt x="74295" y="5144"/>
                    </a:cubicBezTo>
                    <a:cubicBezTo>
                      <a:pt x="79057" y="8572"/>
                      <a:pt x="82201" y="13621"/>
                      <a:pt x="83820" y="20193"/>
                    </a:cubicBezTo>
                    <a:lnTo>
                      <a:pt x="84391" y="20193"/>
                    </a:lnTo>
                    <a:cubicBezTo>
                      <a:pt x="87820" y="12763"/>
                      <a:pt x="91916" y="7620"/>
                      <a:pt x="96774" y="4572"/>
                    </a:cubicBezTo>
                    <a:cubicBezTo>
                      <a:pt x="101632" y="1524"/>
                      <a:pt x="107632" y="0"/>
                      <a:pt x="114871" y="0"/>
                    </a:cubicBezTo>
                    <a:cubicBezTo>
                      <a:pt x="125254" y="0"/>
                      <a:pt x="132874" y="3524"/>
                      <a:pt x="137732" y="10573"/>
                    </a:cubicBezTo>
                    <a:cubicBezTo>
                      <a:pt x="142589" y="17621"/>
                      <a:pt x="144970" y="27051"/>
                      <a:pt x="144970" y="38862"/>
                    </a:cubicBezTo>
                    <a:lnTo>
                      <a:pt x="144970" y="102679"/>
                    </a:lnTo>
                    <a:lnTo>
                      <a:pt x="119063" y="102679"/>
                    </a:lnTo>
                    <a:lnTo>
                      <a:pt x="119063" y="46292"/>
                    </a:lnTo>
                    <a:cubicBezTo>
                      <a:pt x="119063" y="38767"/>
                      <a:pt x="118015" y="32861"/>
                      <a:pt x="115824" y="28766"/>
                    </a:cubicBezTo>
                    <a:cubicBezTo>
                      <a:pt x="113633" y="24670"/>
                      <a:pt x="109918" y="22670"/>
                      <a:pt x="104680" y="22670"/>
                    </a:cubicBezTo>
                    <a:cubicBezTo>
                      <a:pt x="101251" y="22670"/>
                      <a:pt x="98107" y="23717"/>
                      <a:pt x="95250" y="25813"/>
                    </a:cubicBezTo>
                    <a:cubicBezTo>
                      <a:pt x="92488" y="27908"/>
                      <a:pt x="90201" y="30766"/>
                      <a:pt x="88582" y="34576"/>
                    </a:cubicBezTo>
                    <a:cubicBezTo>
                      <a:pt x="86963" y="38291"/>
                      <a:pt x="86011" y="42577"/>
                      <a:pt x="85916" y="47435"/>
                    </a:cubicBezTo>
                    <a:lnTo>
                      <a:pt x="85916" y="102679"/>
                    </a:lnTo>
                    <a:lnTo>
                      <a:pt x="60007" y="102679"/>
                    </a:lnTo>
                    <a:lnTo>
                      <a:pt x="60007" y="46292"/>
                    </a:lnTo>
                    <a:cubicBezTo>
                      <a:pt x="60007" y="38767"/>
                      <a:pt x="58960" y="32861"/>
                      <a:pt x="56769" y="28766"/>
                    </a:cubicBezTo>
                    <a:cubicBezTo>
                      <a:pt x="54578" y="24670"/>
                      <a:pt x="50864" y="22670"/>
                      <a:pt x="45625" y="22670"/>
                    </a:cubicBezTo>
                    <a:cubicBezTo>
                      <a:pt x="42100" y="22670"/>
                      <a:pt x="38862" y="23813"/>
                      <a:pt x="36005" y="26003"/>
                    </a:cubicBezTo>
                    <a:cubicBezTo>
                      <a:pt x="33147" y="28194"/>
                      <a:pt x="30956" y="31242"/>
                      <a:pt x="29337" y="35243"/>
                    </a:cubicBezTo>
                    <a:cubicBezTo>
                      <a:pt x="27717" y="39243"/>
                      <a:pt x="26956" y="43720"/>
                      <a:pt x="26956" y="48768"/>
                    </a:cubicBezTo>
                    <a:lnTo>
                      <a:pt x="26956" y="102679"/>
                    </a:lnTo>
                    <a:lnTo>
                      <a:pt x="858" y="102679"/>
                    </a:lnTo>
                    <a:lnTo>
                      <a:pt x="858" y="24575"/>
                    </a:lnTo>
                    <a:close/>
                  </a:path>
                </a:pathLst>
              </a:custGeom>
              <a:solidFill>
                <a:srgbClr val="FFFFFF"/>
              </a:solidFill>
              <a:ln w="9525" cap="flat">
                <a:noFill/>
                <a:prstDash val="solid"/>
                <a:miter/>
              </a:ln>
            </p:spPr>
            <p:txBody>
              <a:bodyPr rtlCol="0" anchor="ctr"/>
              <a:lstStyle/>
              <a:p>
                <a:pPr marL="0" marR="0" lvl="0" indent="0" algn="l" defTabSz="913578" rtl="0" eaLnBrk="1" fontAlgn="auto" latinLnBrk="0" hangingPunct="1">
                  <a:lnSpc>
                    <a:spcPct val="100000"/>
                  </a:lnSpc>
                  <a:spcBef>
                    <a:spcPts val="0"/>
                  </a:spcBef>
                  <a:spcAft>
                    <a:spcPts val="0"/>
                  </a:spcAft>
                  <a:buClrTx/>
                  <a:buSzTx/>
                  <a:buFontTx/>
                  <a:buNone/>
                  <a:tabLst/>
                  <a:defRPr/>
                </a:pPr>
                <a:endParaRPr kumimoji="0" lang="en-US" sz="17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grpSp>
        <p:grpSp>
          <p:nvGrpSpPr>
            <p:cNvPr id="268" name="Graphic 2">
              <a:extLst>
                <a:ext uri="{FF2B5EF4-FFF2-40B4-BE49-F238E27FC236}">
                  <a16:creationId xmlns:a16="http://schemas.microsoft.com/office/drawing/2014/main" id="{934F1373-7686-FF71-AA57-5B4A7325A46C}"/>
                </a:ext>
              </a:extLst>
            </p:cNvPr>
            <p:cNvGrpSpPr/>
            <p:nvPr/>
          </p:nvGrpSpPr>
          <p:grpSpPr>
            <a:xfrm>
              <a:off x="6952758" y="4288178"/>
              <a:ext cx="1270785" cy="192405"/>
              <a:chOff x="5621845" y="4542853"/>
              <a:chExt cx="956024" cy="140207"/>
            </a:xfrm>
            <a:solidFill>
              <a:srgbClr val="FFFFFF"/>
            </a:solidFill>
          </p:grpSpPr>
          <p:sp>
            <p:nvSpPr>
              <p:cNvPr id="437" name="Freeform: Shape 262">
                <a:extLst>
                  <a:ext uri="{FF2B5EF4-FFF2-40B4-BE49-F238E27FC236}">
                    <a16:creationId xmlns:a16="http://schemas.microsoft.com/office/drawing/2014/main" id="{E0A5894A-1B60-C3CC-1C22-3DBAB4B08B18}"/>
                  </a:ext>
                </a:extLst>
              </p:cNvPr>
              <p:cNvSpPr/>
              <p:nvPr/>
            </p:nvSpPr>
            <p:spPr>
              <a:xfrm>
                <a:off x="5621845" y="4547997"/>
                <a:ext cx="123539" cy="134969"/>
              </a:xfrm>
              <a:custGeom>
                <a:avLst/>
                <a:gdLst>
                  <a:gd name="connsiteX0" fmla="*/ 30099 w 123539"/>
                  <a:gd name="connsiteY0" fmla="*/ 126206 h 134969"/>
                  <a:gd name="connsiteX1" fmla="*/ 7620 w 123539"/>
                  <a:gd name="connsiteY1" fmla="*/ 102203 h 134969"/>
                  <a:gd name="connsiteX2" fmla="*/ 0 w 123539"/>
                  <a:gd name="connsiteY2" fmla="*/ 66865 h 134969"/>
                  <a:gd name="connsiteX3" fmla="*/ 7811 w 123539"/>
                  <a:gd name="connsiteY3" fmla="*/ 31432 h 134969"/>
                  <a:gd name="connsiteX4" fmla="*/ 30289 w 123539"/>
                  <a:gd name="connsiteY4" fmla="*/ 8191 h 134969"/>
                  <a:gd name="connsiteX5" fmla="*/ 64961 w 123539"/>
                  <a:gd name="connsiteY5" fmla="*/ 0 h 134969"/>
                  <a:gd name="connsiteX6" fmla="*/ 99631 w 123539"/>
                  <a:gd name="connsiteY6" fmla="*/ 8382 h 134969"/>
                  <a:gd name="connsiteX7" fmla="*/ 121158 w 123539"/>
                  <a:gd name="connsiteY7" fmla="*/ 31432 h 134969"/>
                  <a:gd name="connsiteX8" fmla="*/ 98393 w 123539"/>
                  <a:gd name="connsiteY8" fmla="*/ 42481 h 134969"/>
                  <a:gd name="connsiteX9" fmla="*/ 85725 w 123539"/>
                  <a:gd name="connsiteY9" fmla="*/ 28765 h 134969"/>
                  <a:gd name="connsiteX10" fmla="*/ 65627 w 123539"/>
                  <a:gd name="connsiteY10" fmla="*/ 23336 h 134969"/>
                  <a:gd name="connsiteX11" fmla="*/ 45815 w 123539"/>
                  <a:gd name="connsiteY11" fmla="*/ 28765 h 134969"/>
                  <a:gd name="connsiteX12" fmla="*/ 32480 w 123539"/>
                  <a:gd name="connsiteY12" fmla="*/ 44005 h 134969"/>
                  <a:gd name="connsiteX13" fmla="*/ 27813 w 123539"/>
                  <a:gd name="connsiteY13" fmla="*/ 66865 h 134969"/>
                  <a:gd name="connsiteX14" fmla="*/ 32195 w 123539"/>
                  <a:gd name="connsiteY14" fmla="*/ 90106 h 134969"/>
                  <a:gd name="connsiteX15" fmla="*/ 45244 w 123539"/>
                  <a:gd name="connsiteY15" fmla="*/ 105727 h 134969"/>
                  <a:gd name="connsiteX16" fmla="*/ 66294 w 123539"/>
                  <a:gd name="connsiteY16" fmla="*/ 111347 h 134969"/>
                  <a:gd name="connsiteX17" fmla="*/ 101060 w 123539"/>
                  <a:gd name="connsiteY17" fmla="*/ 89059 h 134969"/>
                  <a:gd name="connsiteX18" fmla="*/ 123539 w 123539"/>
                  <a:gd name="connsiteY18" fmla="*/ 100679 h 134969"/>
                  <a:gd name="connsiteX19" fmla="*/ 102584 w 123539"/>
                  <a:gd name="connsiteY19" fmla="*/ 125349 h 134969"/>
                  <a:gd name="connsiteX20" fmla="*/ 66294 w 123539"/>
                  <a:gd name="connsiteY20" fmla="*/ 134969 h 134969"/>
                  <a:gd name="connsiteX21" fmla="*/ 30194 w 123539"/>
                  <a:gd name="connsiteY21" fmla="*/ 126301 h 134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23539" h="134969">
                    <a:moveTo>
                      <a:pt x="30099" y="126206"/>
                    </a:moveTo>
                    <a:cubicBezTo>
                      <a:pt x="20193" y="120396"/>
                      <a:pt x="12668" y="112395"/>
                      <a:pt x="7620" y="102203"/>
                    </a:cubicBezTo>
                    <a:cubicBezTo>
                      <a:pt x="2572" y="92012"/>
                      <a:pt x="0" y="80200"/>
                      <a:pt x="0" y="66865"/>
                    </a:cubicBezTo>
                    <a:cubicBezTo>
                      <a:pt x="0" y="53530"/>
                      <a:pt x="2572" y="41434"/>
                      <a:pt x="7811" y="31432"/>
                    </a:cubicBezTo>
                    <a:cubicBezTo>
                      <a:pt x="13049" y="21431"/>
                      <a:pt x="20479" y="13621"/>
                      <a:pt x="30289" y="8191"/>
                    </a:cubicBezTo>
                    <a:cubicBezTo>
                      <a:pt x="40100" y="2762"/>
                      <a:pt x="51626" y="0"/>
                      <a:pt x="64961" y="0"/>
                    </a:cubicBezTo>
                    <a:cubicBezTo>
                      <a:pt x="78296" y="0"/>
                      <a:pt x="90392" y="2762"/>
                      <a:pt x="99631" y="8382"/>
                    </a:cubicBezTo>
                    <a:cubicBezTo>
                      <a:pt x="108871" y="14002"/>
                      <a:pt x="116110" y="21622"/>
                      <a:pt x="121158" y="31432"/>
                    </a:cubicBezTo>
                    <a:lnTo>
                      <a:pt x="98393" y="42481"/>
                    </a:lnTo>
                    <a:cubicBezTo>
                      <a:pt x="95440" y="36957"/>
                      <a:pt x="91249" y="32385"/>
                      <a:pt x="85725" y="28765"/>
                    </a:cubicBezTo>
                    <a:cubicBezTo>
                      <a:pt x="80201" y="25146"/>
                      <a:pt x="73438" y="23336"/>
                      <a:pt x="65627" y="23336"/>
                    </a:cubicBezTo>
                    <a:cubicBezTo>
                      <a:pt x="57817" y="23336"/>
                      <a:pt x="51530" y="25146"/>
                      <a:pt x="45815" y="28765"/>
                    </a:cubicBezTo>
                    <a:cubicBezTo>
                      <a:pt x="40100" y="32385"/>
                      <a:pt x="35623" y="37433"/>
                      <a:pt x="32480" y="44005"/>
                    </a:cubicBezTo>
                    <a:cubicBezTo>
                      <a:pt x="29337" y="50578"/>
                      <a:pt x="27813" y="58198"/>
                      <a:pt x="27813" y="66865"/>
                    </a:cubicBezTo>
                    <a:cubicBezTo>
                      <a:pt x="27813" y="75533"/>
                      <a:pt x="29242" y="83439"/>
                      <a:pt x="32195" y="90106"/>
                    </a:cubicBezTo>
                    <a:cubicBezTo>
                      <a:pt x="35147" y="96774"/>
                      <a:pt x="39433" y="102013"/>
                      <a:pt x="45244" y="105727"/>
                    </a:cubicBezTo>
                    <a:cubicBezTo>
                      <a:pt x="51054" y="109442"/>
                      <a:pt x="58103" y="111347"/>
                      <a:pt x="66294" y="111347"/>
                    </a:cubicBezTo>
                    <a:cubicBezTo>
                      <a:pt x="81820" y="111347"/>
                      <a:pt x="93440" y="103918"/>
                      <a:pt x="101060" y="89059"/>
                    </a:cubicBezTo>
                    <a:lnTo>
                      <a:pt x="123539" y="100679"/>
                    </a:lnTo>
                    <a:cubicBezTo>
                      <a:pt x="118967" y="110680"/>
                      <a:pt x="111919" y="118967"/>
                      <a:pt x="102584" y="125349"/>
                    </a:cubicBezTo>
                    <a:cubicBezTo>
                      <a:pt x="93154" y="131731"/>
                      <a:pt x="81058" y="134969"/>
                      <a:pt x="66294" y="134969"/>
                    </a:cubicBezTo>
                    <a:cubicBezTo>
                      <a:pt x="51530" y="134969"/>
                      <a:pt x="40100" y="132112"/>
                      <a:pt x="30194" y="126301"/>
                    </a:cubicBezTo>
                    <a:close/>
                  </a:path>
                </a:pathLst>
              </a:custGeom>
              <a:solidFill>
                <a:srgbClr val="FFFFFF"/>
              </a:solidFill>
              <a:ln w="9525" cap="flat">
                <a:noFill/>
                <a:prstDash val="solid"/>
                <a:miter/>
              </a:ln>
            </p:spPr>
            <p:txBody>
              <a:bodyPr rtlCol="0" anchor="ctr"/>
              <a:lstStyle/>
              <a:p>
                <a:pPr marL="0" marR="0" lvl="0" indent="0" algn="l" defTabSz="913578" rtl="0" eaLnBrk="1" fontAlgn="auto" latinLnBrk="0" hangingPunct="1">
                  <a:lnSpc>
                    <a:spcPct val="100000"/>
                  </a:lnSpc>
                  <a:spcBef>
                    <a:spcPts val="0"/>
                  </a:spcBef>
                  <a:spcAft>
                    <a:spcPts val="0"/>
                  </a:spcAft>
                  <a:buClrTx/>
                  <a:buSzTx/>
                  <a:buFontTx/>
                  <a:buNone/>
                  <a:tabLst/>
                  <a:defRPr/>
                </a:pPr>
                <a:endParaRPr kumimoji="0" lang="en-US" sz="17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438" name="Freeform: Shape 263">
                <a:extLst>
                  <a:ext uri="{FF2B5EF4-FFF2-40B4-BE49-F238E27FC236}">
                    <a16:creationId xmlns:a16="http://schemas.microsoft.com/office/drawing/2014/main" id="{A36360E6-EC5D-FB23-091D-39B0181E9268}"/>
                  </a:ext>
                </a:extLst>
              </p:cNvPr>
              <p:cNvSpPr/>
              <p:nvPr/>
            </p:nvSpPr>
            <p:spPr>
              <a:xfrm>
                <a:off x="5761672" y="4542948"/>
                <a:ext cx="40671" cy="139445"/>
              </a:xfrm>
              <a:custGeom>
                <a:avLst/>
                <a:gdLst>
                  <a:gd name="connsiteX0" fmla="*/ 6572 w 40671"/>
                  <a:gd name="connsiteY0" fmla="*/ 132397 h 139445"/>
                  <a:gd name="connsiteX1" fmla="*/ 0 w 40671"/>
                  <a:gd name="connsiteY1" fmla="*/ 113729 h 139445"/>
                  <a:gd name="connsiteX2" fmla="*/ 0 w 40671"/>
                  <a:gd name="connsiteY2" fmla="*/ 0 h 139445"/>
                  <a:gd name="connsiteX3" fmla="*/ 26099 w 40671"/>
                  <a:gd name="connsiteY3" fmla="*/ 0 h 139445"/>
                  <a:gd name="connsiteX4" fmla="*/ 26099 w 40671"/>
                  <a:gd name="connsiteY4" fmla="*/ 107251 h 139445"/>
                  <a:gd name="connsiteX5" fmla="*/ 26765 w 40671"/>
                  <a:gd name="connsiteY5" fmla="*/ 114014 h 139445"/>
                  <a:gd name="connsiteX6" fmla="*/ 29337 w 40671"/>
                  <a:gd name="connsiteY6" fmla="*/ 117443 h 139445"/>
                  <a:gd name="connsiteX7" fmla="*/ 34957 w 40671"/>
                  <a:gd name="connsiteY7" fmla="*/ 118491 h 139445"/>
                  <a:gd name="connsiteX8" fmla="*/ 39719 w 40671"/>
                  <a:gd name="connsiteY8" fmla="*/ 117919 h 139445"/>
                  <a:gd name="connsiteX9" fmla="*/ 40672 w 40671"/>
                  <a:gd name="connsiteY9" fmla="*/ 138113 h 139445"/>
                  <a:gd name="connsiteX10" fmla="*/ 26765 w 40671"/>
                  <a:gd name="connsiteY10" fmla="*/ 139446 h 139445"/>
                  <a:gd name="connsiteX11" fmla="*/ 6477 w 40671"/>
                  <a:gd name="connsiteY11" fmla="*/ 132493 h 139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671" h="139445">
                    <a:moveTo>
                      <a:pt x="6572" y="132397"/>
                    </a:moveTo>
                    <a:cubicBezTo>
                      <a:pt x="2191" y="127730"/>
                      <a:pt x="0" y="121539"/>
                      <a:pt x="0" y="113729"/>
                    </a:cubicBezTo>
                    <a:lnTo>
                      <a:pt x="0" y="0"/>
                    </a:lnTo>
                    <a:lnTo>
                      <a:pt x="26099" y="0"/>
                    </a:lnTo>
                    <a:lnTo>
                      <a:pt x="26099" y="107251"/>
                    </a:lnTo>
                    <a:cubicBezTo>
                      <a:pt x="26099" y="110204"/>
                      <a:pt x="26289" y="112395"/>
                      <a:pt x="26765" y="114014"/>
                    </a:cubicBezTo>
                    <a:cubicBezTo>
                      <a:pt x="27242" y="115633"/>
                      <a:pt x="28099" y="116776"/>
                      <a:pt x="29337" y="117443"/>
                    </a:cubicBezTo>
                    <a:cubicBezTo>
                      <a:pt x="30575" y="118205"/>
                      <a:pt x="32480" y="118491"/>
                      <a:pt x="34957" y="118491"/>
                    </a:cubicBezTo>
                    <a:cubicBezTo>
                      <a:pt x="36481" y="118491"/>
                      <a:pt x="38005" y="118300"/>
                      <a:pt x="39719" y="117919"/>
                    </a:cubicBezTo>
                    <a:lnTo>
                      <a:pt x="40672" y="138113"/>
                    </a:lnTo>
                    <a:cubicBezTo>
                      <a:pt x="36195" y="138970"/>
                      <a:pt x="31623" y="139446"/>
                      <a:pt x="26765" y="139446"/>
                    </a:cubicBezTo>
                    <a:cubicBezTo>
                      <a:pt x="17621" y="139446"/>
                      <a:pt x="10859" y="137160"/>
                      <a:pt x="6477" y="132493"/>
                    </a:cubicBezTo>
                    <a:close/>
                  </a:path>
                </a:pathLst>
              </a:custGeom>
              <a:solidFill>
                <a:srgbClr val="FFFFFF"/>
              </a:solidFill>
              <a:ln w="9525" cap="flat">
                <a:noFill/>
                <a:prstDash val="solid"/>
                <a:miter/>
              </a:ln>
            </p:spPr>
            <p:txBody>
              <a:bodyPr rtlCol="0" anchor="ctr"/>
              <a:lstStyle/>
              <a:p>
                <a:pPr marL="0" marR="0" lvl="0" indent="0" algn="l" defTabSz="913578" rtl="0" eaLnBrk="1" fontAlgn="auto" latinLnBrk="0" hangingPunct="1">
                  <a:lnSpc>
                    <a:spcPct val="100000"/>
                  </a:lnSpc>
                  <a:spcBef>
                    <a:spcPts val="0"/>
                  </a:spcBef>
                  <a:spcAft>
                    <a:spcPts val="0"/>
                  </a:spcAft>
                  <a:buClrTx/>
                  <a:buSzTx/>
                  <a:buFontTx/>
                  <a:buNone/>
                  <a:tabLst/>
                  <a:defRPr/>
                </a:pPr>
                <a:endParaRPr kumimoji="0" lang="en-US" sz="17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439" name="Freeform: Shape 264">
                <a:extLst>
                  <a:ext uri="{FF2B5EF4-FFF2-40B4-BE49-F238E27FC236}">
                    <a16:creationId xmlns:a16="http://schemas.microsoft.com/office/drawing/2014/main" id="{50D787DE-D82B-F403-431E-1E167C31D09C}"/>
                  </a:ext>
                </a:extLst>
              </p:cNvPr>
              <p:cNvSpPr/>
              <p:nvPr/>
            </p:nvSpPr>
            <p:spPr>
              <a:xfrm>
                <a:off x="5812726" y="4578667"/>
                <a:ext cx="101441" cy="104393"/>
              </a:xfrm>
              <a:custGeom>
                <a:avLst/>
                <a:gdLst>
                  <a:gd name="connsiteX0" fmla="*/ 23146 w 101441"/>
                  <a:gd name="connsiteY0" fmla="*/ 97346 h 104393"/>
                  <a:gd name="connsiteX1" fmla="*/ 5905 w 101441"/>
                  <a:gd name="connsiteY1" fmla="*/ 78581 h 104393"/>
                  <a:gd name="connsiteX2" fmla="*/ 0 w 101441"/>
                  <a:gd name="connsiteY2" fmla="*/ 51911 h 104393"/>
                  <a:gd name="connsiteX3" fmla="*/ 5715 w 101441"/>
                  <a:gd name="connsiteY3" fmla="*/ 25717 h 104393"/>
                  <a:gd name="connsiteX4" fmla="*/ 22860 w 101441"/>
                  <a:gd name="connsiteY4" fmla="*/ 6953 h 104393"/>
                  <a:gd name="connsiteX5" fmla="*/ 50863 w 101441"/>
                  <a:gd name="connsiteY5" fmla="*/ 0 h 104393"/>
                  <a:gd name="connsiteX6" fmla="*/ 79534 w 101441"/>
                  <a:gd name="connsiteY6" fmla="*/ 6953 h 104393"/>
                  <a:gd name="connsiteX7" fmla="*/ 96107 w 101441"/>
                  <a:gd name="connsiteY7" fmla="*/ 25527 h 104393"/>
                  <a:gd name="connsiteX8" fmla="*/ 101441 w 101441"/>
                  <a:gd name="connsiteY8" fmla="*/ 52006 h 104393"/>
                  <a:gd name="connsiteX9" fmla="*/ 95631 w 101441"/>
                  <a:gd name="connsiteY9" fmla="*/ 78676 h 104393"/>
                  <a:gd name="connsiteX10" fmla="*/ 78296 w 101441"/>
                  <a:gd name="connsiteY10" fmla="*/ 97441 h 104393"/>
                  <a:gd name="connsiteX11" fmla="*/ 50292 w 101441"/>
                  <a:gd name="connsiteY11" fmla="*/ 104394 h 104393"/>
                  <a:gd name="connsiteX12" fmla="*/ 23050 w 101441"/>
                  <a:gd name="connsiteY12" fmla="*/ 97536 h 104393"/>
                  <a:gd name="connsiteX13" fmla="*/ 67913 w 101441"/>
                  <a:gd name="connsiteY13" fmla="*/ 75342 h 104393"/>
                  <a:gd name="connsiteX14" fmla="*/ 74104 w 101441"/>
                  <a:gd name="connsiteY14" fmla="*/ 51911 h 104393"/>
                  <a:gd name="connsiteX15" fmla="*/ 68199 w 101441"/>
                  <a:gd name="connsiteY15" fmla="*/ 28765 h 104393"/>
                  <a:gd name="connsiteX16" fmla="*/ 51149 w 101441"/>
                  <a:gd name="connsiteY16" fmla="*/ 20669 h 104393"/>
                  <a:gd name="connsiteX17" fmla="*/ 33433 w 101441"/>
                  <a:gd name="connsiteY17" fmla="*/ 28765 h 104393"/>
                  <a:gd name="connsiteX18" fmla="*/ 27337 w 101441"/>
                  <a:gd name="connsiteY18" fmla="*/ 51911 h 104393"/>
                  <a:gd name="connsiteX19" fmla="*/ 30194 w 101441"/>
                  <a:gd name="connsiteY19" fmla="*/ 68961 h 104393"/>
                  <a:gd name="connsiteX20" fmla="*/ 38100 w 101441"/>
                  <a:gd name="connsiteY20" fmla="*/ 79819 h 104393"/>
                  <a:gd name="connsiteX21" fmla="*/ 50006 w 101441"/>
                  <a:gd name="connsiteY21" fmla="*/ 83534 h 104393"/>
                  <a:gd name="connsiteX22" fmla="*/ 67913 w 101441"/>
                  <a:gd name="connsiteY22" fmla="*/ 75342 h 104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01441" h="104393">
                    <a:moveTo>
                      <a:pt x="23146" y="97346"/>
                    </a:moveTo>
                    <a:cubicBezTo>
                      <a:pt x="15526" y="92773"/>
                      <a:pt x="9811" y="86487"/>
                      <a:pt x="5905" y="78581"/>
                    </a:cubicBezTo>
                    <a:cubicBezTo>
                      <a:pt x="2000" y="70675"/>
                      <a:pt x="0" y="61722"/>
                      <a:pt x="0" y="51911"/>
                    </a:cubicBezTo>
                    <a:cubicBezTo>
                      <a:pt x="0" y="42100"/>
                      <a:pt x="1905" y="33528"/>
                      <a:pt x="5715" y="25717"/>
                    </a:cubicBezTo>
                    <a:cubicBezTo>
                      <a:pt x="9525" y="17812"/>
                      <a:pt x="15240" y="11621"/>
                      <a:pt x="22860" y="6953"/>
                    </a:cubicBezTo>
                    <a:cubicBezTo>
                      <a:pt x="30480" y="2286"/>
                      <a:pt x="39814" y="0"/>
                      <a:pt x="50863" y="0"/>
                    </a:cubicBezTo>
                    <a:cubicBezTo>
                      <a:pt x="62484" y="0"/>
                      <a:pt x="72009" y="2286"/>
                      <a:pt x="79534" y="6953"/>
                    </a:cubicBezTo>
                    <a:cubicBezTo>
                      <a:pt x="87058" y="11621"/>
                      <a:pt x="92583" y="17812"/>
                      <a:pt x="96107" y="25527"/>
                    </a:cubicBezTo>
                    <a:cubicBezTo>
                      <a:pt x="99631" y="33338"/>
                      <a:pt x="101441" y="42100"/>
                      <a:pt x="101441" y="52006"/>
                    </a:cubicBezTo>
                    <a:cubicBezTo>
                      <a:pt x="101441" y="61913"/>
                      <a:pt x="99536" y="70771"/>
                      <a:pt x="95631" y="78676"/>
                    </a:cubicBezTo>
                    <a:cubicBezTo>
                      <a:pt x="91726" y="86582"/>
                      <a:pt x="86011" y="92869"/>
                      <a:pt x="78296" y="97441"/>
                    </a:cubicBezTo>
                    <a:cubicBezTo>
                      <a:pt x="70580" y="102108"/>
                      <a:pt x="61246" y="104394"/>
                      <a:pt x="50292" y="104394"/>
                    </a:cubicBezTo>
                    <a:cubicBezTo>
                      <a:pt x="39338" y="104394"/>
                      <a:pt x="30671" y="102108"/>
                      <a:pt x="23050" y="97536"/>
                    </a:cubicBezTo>
                    <a:close/>
                    <a:moveTo>
                      <a:pt x="67913" y="75342"/>
                    </a:moveTo>
                    <a:cubicBezTo>
                      <a:pt x="72104" y="69913"/>
                      <a:pt x="74104" y="62103"/>
                      <a:pt x="74104" y="51911"/>
                    </a:cubicBezTo>
                    <a:cubicBezTo>
                      <a:pt x="74104" y="41719"/>
                      <a:pt x="72104" y="34099"/>
                      <a:pt x="68199" y="28765"/>
                    </a:cubicBezTo>
                    <a:cubicBezTo>
                      <a:pt x="64294" y="23431"/>
                      <a:pt x="58579" y="20669"/>
                      <a:pt x="51149" y="20669"/>
                    </a:cubicBezTo>
                    <a:cubicBezTo>
                      <a:pt x="43720" y="20669"/>
                      <a:pt x="37529" y="23431"/>
                      <a:pt x="33433" y="28765"/>
                    </a:cubicBezTo>
                    <a:cubicBezTo>
                      <a:pt x="29337" y="34195"/>
                      <a:pt x="27337" y="41910"/>
                      <a:pt x="27337" y="51911"/>
                    </a:cubicBezTo>
                    <a:cubicBezTo>
                      <a:pt x="27337" y="58579"/>
                      <a:pt x="28289" y="64198"/>
                      <a:pt x="30194" y="68961"/>
                    </a:cubicBezTo>
                    <a:cubicBezTo>
                      <a:pt x="32099" y="73723"/>
                      <a:pt x="34766" y="77343"/>
                      <a:pt x="38100" y="79819"/>
                    </a:cubicBezTo>
                    <a:cubicBezTo>
                      <a:pt x="41434" y="82296"/>
                      <a:pt x="45434" y="83534"/>
                      <a:pt x="50006" y="83534"/>
                    </a:cubicBezTo>
                    <a:cubicBezTo>
                      <a:pt x="57721" y="83534"/>
                      <a:pt x="63722" y="80772"/>
                      <a:pt x="67913" y="75342"/>
                    </a:cubicBezTo>
                    <a:close/>
                  </a:path>
                </a:pathLst>
              </a:custGeom>
              <a:solidFill>
                <a:srgbClr val="FFFFFF"/>
              </a:solidFill>
              <a:ln w="9525" cap="flat">
                <a:noFill/>
                <a:prstDash val="solid"/>
                <a:miter/>
              </a:ln>
            </p:spPr>
            <p:txBody>
              <a:bodyPr rtlCol="0" anchor="ctr"/>
              <a:lstStyle/>
              <a:p>
                <a:pPr marL="0" marR="0" lvl="0" indent="0" algn="l" defTabSz="913578" rtl="0" eaLnBrk="1" fontAlgn="auto" latinLnBrk="0" hangingPunct="1">
                  <a:lnSpc>
                    <a:spcPct val="100000"/>
                  </a:lnSpc>
                  <a:spcBef>
                    <a:spcPts val="0"/>
                  </a:spcBef>
                  <a:spcAft>
                    <a:spcPts val="0"/>
                  </a:spcAft>
                  <a:buClrTx/>
                  <a:buSzTx/>
                  <a:buFontTx/>
                  <a:buNone/>
                  <a:tabLst/>
                  <a:defRPr/>
                </a:pPr>
                <a:endParaRPr kumimoji="0" lang="en-US" sz="17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440" name="Freeform: Shape 265">
                <a:extLst>
                  <a:ext uri="{FF2B5EF4-FFF2-40B4-BE49-F238E27FC236}">
                    <a16:creationId xmlns:a16="http://schemas.microsoft.com/office/drawing/2014/main" id="{DC146F6A-CBE3-1412-1CF9-A297D82984EE}"/>
                  </a:ext>
                </a:extLst>
              </p:cNvPr>
              <p:cNvSpPr/>
              <p:nvPr/>
            </p:nvSpPr>
            <p:spPr>
              <a:xfrm>
                <a:off x="5933503" y="4580477"/>
                <a:ext cx="91820" cy="102393"/>
              </a:xfrm>
              <a:custGeom>
                <a:avLst/>
                <a:gdLst>
                  <a:gd name="connsiteX0" fmla="*/ 7906 w 91820"/>
                  <a:gd name="connsiteY0" fmla="*/ 91916 h 102393"/>
                  <a:gd name="connsiteX1" fmla="*/ 0 w 91820"/>
                  <a:gd name="connsiteY1" fmla="*/ 63817 h 102393"/>
                  <a:gd name="connsiteX2" fmla="*/ 0 w 91820"/>
                  <a:gd name="connsiteY2" fmla="*/ 0 h 102393"/>
                  <a:gd name="connsiteX3" fmla="*/ 26098 w 91820"/>
                  <a:gd name="connsiteY3" fmla="*/ 0 h 102393"/>
                  <a:gd name="connsiteX4" fmla="*/ 26098 w 91820"/>
                  <a:gd name="connsiteY4" fmla="*/ 56388 h 102393"/>
                  <a:gd name="connsiteX5" fmla="*/ 29908 w 91820"/>
                  <a:gd name="connsiteY5" fmla="*/ 73819 h 102393"/>
                  <a:gd name="connsiteX6" fmla="*/ 43053 w 91820"/>
                  <a:gd name="connsiteY6" fmla="*/ 80010 h 102393"/>
                  <a:gd name="connsiteX7" fmla="*/ 54293 w 91820"/>
                  <a:gd name="connsiteY7" fmla="*/ 76676 h 102393"/>
                  <a:gd name="connsiteX8" fmla="*/ 62198 w 91820"/>
                  <a:gd name="connsiteY8" fmla="*/ 67437 h 102393"/>
                  <a:gd name="connsiteX9" fmla="*/ 65056 w 91820"/>
                  <a:gd name="connsiteY9" fmla="*/ 53816 h 102393"/>
                  <a:gd name="connsiteX10" fmla="*/ 65056 w 91820"/>
                  <a:gd name="connsiteY10" fmla="*/ 0 h 102393"/>
                  <a:gd name="connsiteX11" fmla="*/ 91154 w 91820"/>
                  <a:gd name="connsiteY11" fmla="*/ 0 h 102393"/>
                  <a:gd name="connsiteX12" fmla="*/ 91154 w 91820"/>
                  <a:gd name="connsiteY12" fmla="*/ 78009 h 102393"/>
                  <a:gd name="connsiteX13" fmla="*/ 91345 w 91820"/>
                  <a:gd name="connsiteY13" fmla="*/ 91154 h 102393"/>
                  <a:gd name="connsiteX14" fmla="*/ 91821 w 91820"/>
                  <a:gd name="connsiteY14" fmla="*/ 100489 h 102393"/>
                  <a:gd name="connsiteX15" fmla="*/ 66865 w 91820"/>
                  <a:gd name="connsiteY15" fmla="*/ 100489 h 102393"/>
                  <a:gd name="connsiteX16" fmla="*/ 66199 w 91820"/>
                  <a:gd name="connsiteY16" fmla="*/ 92107 h 102393"/>
                  <a:gd name="connsiteX17" fmla="*/ 65818 w 91820"/>
                  <a:gd name="connsiteY17" fmla="*/ 82391 h 102393"/>
                  <a:gd name="connsiteX18" fmla="*/ 65341 w 91820"/>
                  <a:gd name="connsiteY18" fmla="*/ 82391 h 102393"/>
                  <a:gd name="connsiteX19" fmla="*/ 52197 w 91820"/>
                  <a:gd name="connsiteY19" fmla="*/ 97536 h 102393"/>
                  <a:gd name="connsiteX20" fmla="*/ 32956 w 91820"/>
                  <a:gd name="connsiteY20" fmla="*/ 102394 h 102393"/>
                  <a:gd name="connsiteX21" fmla="*/ 7811 w 91820"/>
                  <a:gd name="connsiteY21" fmla="*/ 91916 h 102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91820" h="102393">
                    <a:moveTo>
                      <a:pt x="7906" y="91916"/>
                    </a:moveTo>
                    <a:cubicBezTo>
                      <a:pt x="2572" y="84963"/>
                      <a:pt x="0" y="75533"/>
                      <a:pt x="0" y="63817"/>
                    </a:cubicBezTo>
                    <a:lnTo>
                      <a:pt x="0" y="0"/>
                    </a:lnTo>
                    <a:lnTo>
                      <a:pt x="26098" y="0"/>
                    </a:lnTo>
                    <a:lnTo>
                      <a:pt x="26098" y="56388"/>
                    </a:lnTo>
                    <a:cubicBezTo>
                      <a:pt x="26098" y="63913"/>
                      <a:pt x="27337" y="69723"/>
                      <a:pt x="29908" y="73819"/>
                    </a:cubicBezTo>
                    <a:cubicBezTo>
                      <a:pt x="32480" y="77914"/>
                      <a:pt x="36862" y="80010"/>
                      <a:pt x="43053" y="80010"/>
                    </a:cubicBezTo>
                    <a:cubicBezTo>
                      <a:pt x="47244" y="80010"/>
                      <a:pt x="50959" y="78867"/>
                      <a:pt x="54293" y="76676"/>
                    </a:cubicBezTo>
                    <a:cubicBezTo>
                      <a:pt x="57626" y="74485"/>
                      <a:pt x="60293" y="71438"/>
                      <a:pt x="62198" y="67437"/>
                    </a:cubicBezTo>
                    <a:cubicBezTo>
                      <a:pt x="64103" y="63436"/>
                      <a:pt x="65056" y="58959"/>
                      <a:pt x="65056" y="53816"/>
                    </a:cubicBezTo>
                    <a:lnTo>
                      <a:pt x="65056" y="0"/>
                    </a:lnTo>
                    <a:lnTo>
                      <a:pt x="91154" y="0"/>
                    </a:lnTo>
                    <a:lnTo>
                      <a:pt x="91154" y="78009"/>
                    </a:lnTo>
                    <a:cubicBezTo>
                      <a:pt x="91154" y="82201"/>
                      <a:pt x="91154" y="86582"/>
                      <a:pt x="91345" y="91154"/>
                    </a:cubicBezTo>
                    <a:cubicBezTo>
                      <a:pt x="91535" y="95726"/>
                      <a:pt x="91630" y="98869"/>
                      <a:pt x="91821" y="100489"/>
                    </a:cubicBezTo>
                    <a:lnTo>
                      <a:pt x="66865" y="100489"/>
                    </a:lnTo>
                    <a:cubicBezTo>
                      <a:pt x="66675" y="98965"/>
                      <a:pt x="66485" y="96202"/>
                      <a:pt x="66199" y="92107"/>
                    </a:cubicBezTo>
                    <a:cubicBezTo>
                      <a:pt x="65913" y="88011"/>
                      <a:pt x="65818" y="84772"/>
                      <a:pt x="65818" y="82391"/>
                    </a:cubicBezTo>
                    <a:lnTo>
                      <a:pt x="65341" y="82391"/>
                    </a:lnTo>
                    <a:cubicBezTo>
                      <a:pt x="61913" y="89249"/>
                      <a:pt x="57531" y="94297"/>
                      <a:pt x="52197" y="97536"/>
                    </a:cubicBezTo>
                    <a:cubicBezTo>
                      <a:pt x="46863" y="100774"/>
                      <a:pt x="40386" y="102394"/>
                      <a:pt x="32956" y="102394"/>
                    </a:cubicBezTo>
                    <a:cubicBezTo>
                      <a:pt x="21527" y="102394"/>
                      <a:pt x="13145" y="98869"/>
                      <a:pt x="7811" y="91916"/>
                    </a:cubicBezTo>
                    <a:close/>
                  </a:path>
                </a:pathLst>
              </a:custGeom>
              <a:solidFill>
                <a:srgbClr val="FFFFFF"/>
              </a:solidFill>
              <a:ln w="9525" cap="flat">
                <a:noFill/>
                <a:prstDash val="solid"/>
                <a:miter/>
              </a:ln>
            </p:spPr>
            <p:txBody>
              <a:bodyPr rtlCol="0" anchor="ctr"/>
              <a:lstStyle/>
              <a:p>
                <a:pPr marL="0" marR="0" lvl="0" indent="0" algn="l" defTabSz="913578" rtl="0" eaLnBrk="1" fontAlgn="auto" latinLnBrk="0" hangingPunct="1">
                  <a:lnSpc>
                    <a:spcPct val="100000"/>
                  </a:lnSpc>
                  <a:spcBef>
                    <a:spcPts val="0"/>
                  </a:spcBef>
                  <a:spcAft>
                    <a:spcPts val="0"/>
                  </a:spcAft>
                  <a:buClrTx/>
                  <a:buSzTx/>
                  <a:buFontTx/>
                  <a:buNone/>
                  <a:tabLst/>
                  <a:defRPr/>
                </a:pPr>
                <a:endParaRPr kumimoji="0" lang="en-US" sz="17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441" name="Freeform: Shape 266">
                <a:extLst>
                  <a:ext uri="{FF2B5EF4-FFF2-40B4-BE49-F238E27FC236}">
                    <a16:creationId xmlns:a16="http://schemas.microsoft.com/office/drawing/2014/main" id="{E63CACC3-A016-F8E7-E281-ABC003F6F845}"/>
                  </a:ext>
                </a:extLst>
              </p:cNvPr>
              <p:cNvSpPr/>
              <p:nvPr/>
            </p:nvSpPr>
            <p:spPr>
              <a:xfrm>
                <a:off x="6045803" y="4542853"/>
                <a:ext cx="96964" cy="140017"/>
              </a:xfrm>
              <a:custGeom>
                <a:avLst/>
                <a:gdLst>
                  <a:gd name="connsiteX0" fmla="*/ 18002 w 96964"/>
                  <a:gd name="connsiteY0" fmla="*/ 133350 h 140017"/>
                  <a:gd name="connsiteX1" fmla="*/ 4477 w 96964"/>
                  <a:gd name="connsiteY1" fmla="*/ 114871 h 140017"/>
                  <a:gd name="connsiteX2" fmla="*/ 0 w 96964"/>
                  <a:gd name="connsiteY2" fmla="*/ 87821 h 140017"/>
                  <a:gd name="connsiteX3" fmla="*/ 4763 w 96964"/>
                  <a:gd name="connsiteY3" fmla="*/ 60674 h 140017"/>
                  <a:gd name="connsiteX4" fmla="*/ 18859 w 96964"/>
                  <a:gd name="connsiteY4" fmla="*/ 42291 h 140017"/>
                  <a:gd name="connsiteX5" fmla="*/ 41624 w 96964"/>
                  <a:gd name="connsiteY5" fmla="*/ 35623 h 140017"/>
                  <a:gd name="connsiteX6" fmla="*/ 58293 w 96964"/>
                  <a:gd name="connsiteY6" fmla="*/ 39529 h 140017"/>
                  <a:gd name="connsiteX7" fmla="*/ 70104 w 96964"/>
                  <a:gd name="connsiteY7" fmla="*/ 51435 h 140017"/>
                  <a:gd name="connsiteX8" fmla="*/ 70294 w 96964"/>
                  <a:gd name="connsiteY8" fmla="*/ 51435 h 140017"/>
                  <a:gd name="connsiteX9" fmla="*/ 70294 w 96964"/>
                  <a:gd name="connsiteY9" fmla="*/ 47054 h 140017"/>
                  <a:gd name="connsiteX10" fmla="*/ 70294 w 96964"/>
                  <a:gd name="connsiteY10" fmla="*/ 36766 h 140017"/>
                  <a:gd name="connsiteX11" fmla="*/ 70294 w 96964"/>
                  <a:gd name="connsiteY11" fmla="*/ 0 h 140017"/>
                  <a:gd name="connsiteX12" fmla="*/ 96298 w 96964"/>
                  <a:gd name="connsiteY12" fmla="*/ 0 h 140017"/>
                  <a:gd name="connsiteX13" fmla="*/ 96298 w 96964"/>
                  <a:gd name="connsiteY13" fmla="*/ 116205 h 140017"/>
                  <a:gd name="connsiteX14" fmla="*/ 96488 w 96964"/>
                  <a:gd name="connsiteY14" fmla="*/ 128206 h 140017"/>
                  <a:gd name="connsiteX15" fmla="*/ 96774 w 96964"/>
                  <a:gd name="connsiteY15" fmla="*/ 135064 h 140017"/>
                  <a:gd name="connsiteX16" fmla="*/ 96964 w 96964"/>
                  <a:gd name="connsiteY16" fmla="*/ 138113 h 140017"/>
                  <a:gd name="connsiteX17" fmla="*/ 71628 w 96964"/>
                  <a:gd name="connsiteY17" fmla="*/ 138113 h 140017"/>
                  <a:gd name="connsiteX18" fmla="*/ 70771 w 96964"/>
                  <a:gd name="connsiteY18" fmla="*/ 131921 h 140017"/>
                  <a:gd name="connsiteX19" fmla="*/ 70390 w 96964"/>
                  <a:gd name="connsiteY19" fmla="*/ 123635 h 140017"/>
                  <a:gd name="connsiteX20" fmla="*/ 70009 w 96964"/>
                  <a:gd name="connsiteY20" fmla="*/ 123635 h 140017"/>
                  <a:gd name="connsiteX21" fmla="*/ 57912 w 96964"/>
                  <a:gd name="connsiteY21" fmla="*/ 136017 h 140017"/>
                  <a:gd name="connsiteX22" fmla="*/ 39910 w 96964"/>
                  <a:gd name="connsiteY22" fmla="*/ 140018 h 140017"/>
                  <a:gd name="connsiteX23" fmla="*/ 18097 w 96964"/>
                  <a:gd name="connsiteY23" fmla="*/ 133350 h 140017"/>
                  <a:gd name="connsiteX24" fmla="*/ 58864 w 96964"/>
                  <a:gd name="connsiteY24" fmla="*/ 116205 h 140017"/>
                  <a:gd name="connsiteX25" fmla="*/ 67246 w 96964"/>
                  <a:gd name="connsiteY25" fmla="*/ 106013 h 140017"/>
                  <a:gd name="connsiteX26" fmla="*/ 70485 w 96964"/>
                  <a:gd name="connsiteY26" fmla="*/ 87344 h 140017"/>
                  <a:gd name="connsiteX27" fmla="*/ 64008 w 96964"/>
                  <a:gd name="connsiteY27" fmla="*/ 63437 h 140017"/>
                  <a:gd name="connsiteX28" fmla="*/ 48101 w 96964"/>
                  <a:gd name="connsiteY28" fmla="*/ 56293 h 140017"/>
                  <a:gd name="connsiteX29" fmla="*/ 32861 w 96964"/>
                  <a:gd name="connsiteY29" fmla="*/ 64103 h 140017"/>
                  <a:gd name="connsiteX30" fmla="*/ 27146 w 96964"/>
                  <a:gd name="connsiteY30" fmla="*/ 87916 h 140017"/>
                  <a:gd name="connsiteX31" fmla="*/ 32766 w 96964"/>
                  <a:gd name="connsiteY31" fmla="*/ 111252 h 140017"/>
                  <a:gd name="connsiteX32" fmla="*/ 47911 w 96964"/>
                  <a:gd name="connsiteY32" fmla="*/ 119348 h 140017"/>
                  <a:gd name="connsiteX33" fmla="*/ 58769 w 96964"/>
                  <a:gd name="connsiteY33" fmla="*/ 116300 h 140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96964" h="140017">
                    <a:moveTo>
                      <a:pt x="18002" y="133350"/>
                    </a:moveTo>
                    <a:cubicBezTo>
                      <a:pt x="12001" y="128969"/>
                      <a:pt x="7525" y="122777"/>
                      <a:pt x="4477" y="114871"/>
                    </a:cubicBezTo>
                    <a:cubicBezTo>
                      <a:pt x="1429" y="106966"/>
                      <a:pt x="0" y="98012"/>
                      <a:pt x="0" y="87821"/>
                    </a:cubicBezTo>
                    <a:cubicBezTo>
                      <a:pt x="0" y="77629"/>
                      <a:pt x="1619" y="68580"/>
                      <a:pt x="4763" y="60674"/>
                    </a:cubicBezTo>
                    <a:cubicBezTo>
                      <a:pt x="7906" y="52864"/>
                      <a:pt x="12668" y="46672"/>
                      <a:pt x="18859" y="42291"/>
                    </a:cubicBezTo>
                    <a:cubicBezTo>
                      <a:pt x="25146" y="37910"/>
                      <a:pt x="32766" y="35623"/>
                      <a:pt x="41624" y="35623"/>
                    </a:cubicBezTo>
                    <a:cubicBezTo>
                      <a:pt x="47530" y="35623"/>
                      <a:pt x="53149" y="36957"/>
                      <a:pt x="58293" y="39529"/>
                    </a:cubicBezTo>
                    <a:cubicBezTo>
                      <a:pt x="63437" y="42100"/>
                      <a:pt x="67342" y="46101"/>
                      <a:pt x="70104" y="51435"/>
                    </a:cubicBezTo>
                    <a:lnTo>
                      <a:pt x="70294" y="51435"/>
                    </a:lnTo>
                    <a:cubicBezTo>
                      <a:pt x="70294" y="49816"/>
                      <a:pt x="70294" y="48387"/>
                      <a:pt x="70294" y="47054"/>
                    </a:cubicBezTo>
                    <a:lnTo>
                      <a:pt x="70294" y="36766"/>
                    </a:lnTo>
                    <a:cubicBezTo>
                      <a:pt x="70294" y="36766"/>
                      <a:pt x="70294" y="0"/>
                      <a:pt x="70294" y="0"/>
                    </a:cubicBezTo>
                    <a:lnTo>
                      <a:pt x="96298" y="0"/>
                    </a:lnTo>
                    <a:lnTo>
                      <a:pt x="96298" y="116205"/>
                    </a:lnTo>
                    <a:cubicBezTo>
                      <a:pt x="96298" y="120491"/>
                      <a:pt x="96298" y="124492"/>
                      <a:pt x="96488" y="128206"/>
                    </a:cubicBezTo>
                    <a:cubicBezTo>
                      <a:pt x="96679" y="131921"/>
                      <a:pt x="96774" y="134207"/>
                      <a:pt x="96774" y="135064"/>
                    </a:cubicBezTo>
                    <a:cubicBezTo>
                      <a:pt x="96869" y="136684"/>
                      <a:pt x="96964" y="137731"/>
                      <a:pt x="96964" y="138113"/>
                    </a:cubicBezTo>
                    <a:lnTo>
                      <a:pt x="71628" y="138113"/>
                    </a:lnTo>
                    <a:cubicBezTo>
                      <a:pt x="71342" y="137255"/>
                      <a:pt x="71056" y="135160"/>
                      <a:pt x="70771" y="131921"/>
                    </a:cubicBezTo>
                    <a:cubicBezTo>
                      <a:pt x="70485" y="128683"/>
                      <a:pt x="70390" y="125921"/>
                      <a:pt x="70390" y="123635"/>
                    </a:cubicBezTo>
                    <a:lnTo>
                      <a:pt x="70009" y="123635"/>
                    </a:lnTo>
                    <a:cubicBezTo>
                      <a:pt x="67151" y="129254"/>
                      <a:pt x="63151" y="133350"/>
                      <a:pt x="57912" y="136017"/>
                    </a:cubicBezTo>
                    <a:cubicBezTo>
                      <a:pt x="52673" y="138684"/>
                      <a:pt x="46672" y="140018"/>
                      <a:pt x="39910" y="140018"/>
                    </a:cubicBezTo>
                    <a:cubicBezTo>
                      <a:pt x="31337" y="140018"/>
                      <a:pt x="24098" y="137827"/>
                      <a:pt x="18097" y="133350"/>
                    </a:cubicBezTo>
                    <a:close/>
                    <a:moveTo>
                      <a:pt x="58864" y="116205"/>
                    </a:moveTo>
                    <a:cubicBezTo>
                      <a:pt x="62293" y="114205"/>
                      <a:pt x="65056" y="110776"/>
                      <a:pt x="67246" y="106013"/>
                    </a:cubicBezTo>
                    <a:cubicBezTo>
                      <a:pt x="69437" y="101251"/>
                      <a:pt x="70485" y="94964"/>
                      <a:pt x="70485" y="87344"/>
                    </a:cubicBezTo>
                    <a:cubicBezTo>
                      <a:pt x="70485" y="76200"/>
                      <a:pt x="68294" y="68199"/>
                      <a:pt x="64008" y="63437"/>
                    </a:cubicBezTo>
                    <a:cubicBezTo>
                      <a:pt x="59722" y="58674"/>
                      <a:pt x="54388" y="56293"/>
                      <a:pt x="48101" y="56293"/>
                    </a:cubicBezTo>
                    <a:cubicBezTo>
                      <a:pt x="41815" y="56293"/>
                      <a:pt x="36671" y="58864"/>
                      <a:pt x="32861" y="64103"/>
                    </a:cubicBezTo>
                    <a:cubicBezTo>
                      <a:pt x="29051" y="69342"/>
                      <a:pt x="27146" y="77248"/>
                      <a:pt x="27146" y="87916"/>
                    </a:cubicBezTo>
                    <a:cubicBezTo>
                      <a:pt x="27146" y="98584"/>
                      <a:pt x="29051" y="105823"/>
                      <a:pt x="32766" y="111252"/>
                    </a:cubicBezTo>
                    <a:cubicBezTo>
                      <a:pt x="36481" y="116681"/>
                      <a:pt x="41529" y="119348"/>
                      <a:pt x="47911" y="119348"/>
                    </a:cubicBezTo>
                    <a:cubicBezTo>
                      <a:pt x="51721" y="119348"/>
                      <a:pt x="55340" y="118300"/>
                      <a:pt x="58769" y="116300"/>
                    </a:cubicBezTo>
                    <a:close/>
                  </a:path>
                </a:pathLst>
              </a:custGeom>
              <a:solidFill>
                <a:srgbClr val="FFFFFF"/>
              </a:solidFill>
              <a:ln w="9525" cap="flat">
                <a:noFill/>
                <a:prstDash val="solid"/>
                <a:miter/>
              </a:ln>
            </p:spPr>
            <p:txBody>
              <a:bodyPr rtlCol="0" anchor="ctr"/>
              <a:lstStyle/>
              <a:p>
                <a:pPr marL="0" marR="0" lvl="0" indent="0" algn="l" defTabSz="913578" rtl="0" eaLnBrk="1" fontAlgn="auto" latinLnBrk="0" hangingPunct="1">
                  <a:lnSpc>
                    <a:spcPct val="100000"/>
                  </a:lnSpc>
                  <a:spcBef>
                    <a:spcPts val="0"/>
                  </a:spcBef>
                  <a:spcAft>
                    <a:spcPts val="0"/>
                  </a:spcAft>
                  <a:buClrTx/>
                  <a:buSzTx/>
                  <a:buFontTx/>
                  <a:buNone/>
                  <a:tabLst/>
                  <a:defRPr/>
                </a:pPr>
                <a:endParaRPr kumimoji="0" lang="en-US" sz="17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442" name="Freeform: Shape 267">
                <a:extLst>
                  <a:ext uri="{FF2B5EF4-FFF2-40B4-BE49-F238E27FC236}">
                    <a16:creationId xmlns:a16="http://schemas.microsoft.com/office/drawing/2014/main" id="{8410FB7E-9215-EC42-24D7-BBF0F577D6D4}"/>
                  </a:ext>
                </a:extLst>
              </p:cNvPr>
              <p:cNvSpPr/>
              <p:nvPr/>
            </p:nvSpPr>
            <p:spPr>
              <a:xfrm>
                <a:off x="6221063" y="4549806"/>
                <a:ext cx="98107" cy="131063"/>
              </a:xfrm>
              <a:custGeom>
                <a:avLst/>
                <a:gdLst>
                  <a:gd name="connsiteX0" fmla="*/ 0 w 98107"/>
                  <a:gd name="connsiteY0" fmla="*/ 95 h 131063"/>
                  <a:gd name="connsiteX1" fmla="*/ 94297 w 98107"/>
                  <a:gd name="connsiteY1" fmla="*/ 95 h 131063"/>
                  <a:gd name="connsiteX2" fmla="*/ 94297 w 98107"/>
                  <a:gd name="connsiteY2" fmla="*/ 23146 h 131063"/>
                  <a:gd name="connsiteX3" fmla="*/ 27432 w 98107"/>
                  <a:gd name="connsiteY3" fmla="*/ 23146 h 131063"/>
                  <a:gd name="connsiteX4" fmla="*/ 27432 w 98107"/>
                  <a:gd name="connsiteY4" fmla="*/ 53530 h 131063"/>
                  <a:gd name="connsiteX5" fmla="*/ 88678 w 98107"/>
                  <a:gd name="connsiteY5" fmla="*/ 53530 h 131063"/>
                  <a:gd name="connsiteX6" fmla="*/ 88678 w 98107"/>
                  <a:gd name="connsiteY6" fmla="*/ 76771 h 131063"/>
                  <a:gd name="connsiteX7" fmla="*/ 27432 w 98107"/>
                  <a:gd name="connsiteY7" fmla="*/ 76771 h 131063"/>
                  <a:gd name="connsiteX8" fmla="*/ 27432 w 98107"/>
                  <a:gd name="connsiteY8" fmla="*/ 108013 h 131063"/>
                  <a:gd name="connsiteX9" fmla="*/ 98107 w 98107"/>
                  <a:gd name="connsiteY9" fmla="*/ 108013 h 131063"/>
                  <a:gd name="connsiteX10" fmla="*/ 98107 w 98107"/>
                  <a:gd name="connsiteY10" fmla="*/ 131064 h 131063"/>
                  <a:gd name="connsiteX11" fmla="*/ 0 w 98107"/>
                  <a:gd name="connsiteY11" fmla="*/ 131064 h 131063"/>
                  <a:gd name="connsiteX12" fmla="*/ 0 w 98107"/>
                  <a:gd name="connsiteY12" fmla="*/ 0 h 1310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8107" h="131063">
                    <a:moveTo>
                      <a:pt x="0" y="95"/>
                    </a:moveTo>
                    <a:lnTo>
                      <a:pt x="94297" y="95"/>
                    </a:lnTo>
                    <a:lnTo>
                      <a:pt x="94297" y="23146"/>
                    </a:lnTo>
                    <a:lnTo>
                      <a:pt x="27432" y="23146"/>
                    </a:lnTo>
                    <a:lnTo>
                      <a:pt x="27432" y="53530"/>
                    </a:lnTo>
                    <a:lnTo>
                      <a:pt x="88678" y="53530"/>
                    </a:lnTo>
                    <a:lnTo>
                      <a:pt x="88678" y="76771"/>
                    </a:lnTo>
                    <a:lnTo>
                      <a:pt x="27432" y="76771"/>
                    </a:lnTo>
                    <a:lnTo>
                      <a:pt x="27432" y="108013"/>
                    </a:lnTo>
                    <a:lnTo>
                      <a:pt x="98107" y="108013"/>
                    </a:lnTo>
                    <a:lnTo>
                      <a:pt x="98107" y="131064"/>
                    </a:lnTo>
                    <a:lnTo>
                      <a:pt x="0" y="131064"/>
                    </a:lnTo>
                    <a:lnTo>
                      <a:pt x="0" y="0"/>
                    </a:lnTo>
                    <a:close/>
                  </a:path>
                </a:pathLst>
              </a:custGeom>
              <a:solidFill>
                <a:srgbClr val="FFFFFF"/>
              </a:solidFill>
              <a:ln w="9525" cap="flat">
                <a:noFill/>
                <a:prstDash val="solid"/>
                <a:miter/>
              </a:ln>
            </p:spPr>
            <p:txBody>
              <a:bodyPr rtlCol="0" anchor="ctr"/>
              <a:lstStyle/>
              <a:p>
                <a:pPr marL="0" marR="0" lvl="0" indent="0" algn="l" defTabSz="913578" rtl="0" eaLnBrk="1" fontAlgn="auto" latinLnBrk="0" hangingPunct="1">
                  <a:lnSpc>
                    <a:spcPct val="100000"/>
                  </a:lnSpc>
                  <a:spcBef>
                    <a:spcPts val="0"/>
                  </a:spcBef>
                  <a:spcAft>
                    <a:spcPts val="0"/>
                  </a:spcAft>
                  <a:buClrTx/>
                  <a:buSzTx/>
                  <a:buFontTx/>
                  <a:buNone/>
                  <a:tabLst/>
                  <a:defRPr/>
                </a:pPr>
                <a:endParaRPr kumimoji="0" lang="en-US" sz="17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443" name="Freeform: Shape 268">
                <a:extLst>
                  <a:ext uri="{FF2B5EF4-FFF2-40B4-BE49-F238E27FC236}">
                    <a16:creationId xmlns:a16="http://schemas.microsoft.com/office/drawing/2014/main" id="{3795127C-07D1-A616-9467-7CC4F04A603E}"/>
                  </a:ext>
                </a:extLst>
              </p:cNvPr>
              <p:cNvSpPr/>
              <p:nvPr/>
            </p:nvSpPr>
            <p:spPr>
              <a:xfrm>
                <a:off x="6339268" y="4549901"/>
                <a:ext cx="114109" cy="131254"/>
              </a:xfrm>
              <a:custGeom>
                <a:avLst/>
                <a:gdLst>
                  <a:gd name="connsiteX0" fmla="*/ 95 w 114109"/>
                  <a:gd name="connsiteY0" fmla="*/ 0 h 131254"/>
                  <a:gd name="connsiteX1" fmla="*/ 58769 w 114109"/>
                  <a:gd name="connsiteY1" fmla="*/ 0 h 131254"/>
                  <a:gd name="connsiteX2" fmla="*/ 85725 w 114109"/>
                  <a:gd name="connsiteY2" fmla="*/ 4858 h 131254"/>
                  <a:gd name="connsiteX3" fmla="*/ 102013 w 114109"/>
                  <a:gd name="connsiteY3" fmla="*/ 18669 h 131254"/>
                  <a:gd name="connsiteX4" fmla="*/ 107442 w 114109"/>
                  <a:gd name="connsiteY4" fmla="*/ 40100 h 131254"/>
                  <a:gd name="connsiteX5" fmla="*/ 103727 w 114109"/>
                  <a:gd name="connsiteY5" fmla="*/ 57817 h 131254"/>
                  <a:gd name="connsiteX6" fmla="*/ 93535 w 114109"/>
                  <a:gd name="connsiteY6" fmla="*/ 70771 h 131254"/>
                  <a:gd name="connsiteX7" fmla="*/ 78676 w 114109"/>
                  <a:gd name="connsiteY7" fmla="*/ 78105 h 131254"/>
                  <a:gd name="connsiteX8" fmla="*/ 114110 w 114109"/>
                  <a:gd name="connsiteY8" fmla="*/ 131254 h 131254"/>
                  <a:gd name="connsiteX9" fmla="*/ 83249 w 114109"/>
                  <a:gd name="connsiteY9" fmla="*/ 131254 h 131254"/>
                  <a:gd name="connsiteX10" fmla="*/ 52864 w 114109"/>
                  <a:gd name="connsiteY10" fmla="*/ 83439 h 131254"/>
                  <a:gd name="connsiteX11" fmla="*/ 27432 w 114109"/>
                  <a:gd name="connsiteY11" fmla="*/ 83439 h 131254"/>
                  <a:gd name="connsiteX12" fmla="*/ 27432 w 114109"/>
                  <a:gd name="connsiteY12" fmla="*/ 131254 h 131254"/>
                  <a:gd name="connsiteX13" fmla="*/ 0 w 114109"/>
                  <a:gd name="connsiteY13" fmla="*/ 131254 h 131254"/>
                  <a:gd name="connsiteX14" fmla="*/ 0 w 114109"/>
                  <a:gd name="connsiteY14" fmla="*/ 191 h 131254"/>
                  <a:gd name="connsiteX15" fmla="*/ 56483 w 114109"/>
                  <a:gd name="connsiteY15" fmla="*/ 60008 h 131254"/>
                  <a:gd name="connsiteX16" fmla="*/ 74200 w 114109"/>
                  <a:gd name="connsiteY16" fmla="*/ 54959 h 131254"/>
                  <a:gd name="connsiteX17" fmla="*/ 80010 w 114109"/>
                  <a:gd name="connsiteY17" fmla="*/ 41148 h 131254"/>
                  <a:gd name="connsiteX18" fmla="*/ 73914 w 114109"/>
                  <a:gd name="connsiteY18" fmla="*/ 27718 h 131254"/>
                  <a:gd name="connsiteX19" fmla="*/ 56007 w 114109"/>
                  <a:gd name="connsiteY19" fmla="*/ 23336 h 131254"/>
                  <a:gd name="connsiteX20" fmla="*/ 27622 w 114109"/>
                  <a:gd name="connsiteY20" fmla="*/ 23336 h 131254"/>
                  <a:gd name="connsiteX21" fmla="*/ 27622 w 114109"/>
                  <a:gd name="connsiteY21" fmla="*/ 60103 h 131254"/>
                  <a:gd name="connsiteX22" fmla="*/ 56579 w 114109"/>
                  <a:gd name="connsiteY22" fmla="*/ 60103 h 1312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14109" h="131254">
                    <a:moveTo>
                      <a:pt x="95" y="0"/>
                    </a:moveTo>
                    <a:lnTo>
                      <a:pt x="58769" y="0"/>
                    </a:lnTo>
                    <a:cubicBezTo>
                      <a:pt x="69533" y="0"/>
                      <a:pt x="78486" y="1619"/>
                      <a:pt x="85725" y="4858"/>
                    </a:cubicBezTo>
                    <a:cubicBezTo>
                      <a:pt x="92964" y="8096"/>
                      <a:pt x="98393" y="12668"/>
                      <a:pt x="102013" y="18669"/>
                    </a:cubicBezTo>
                    <a:cubicBezTo>
                      <a:pt x="105632" y="24670"/>
                      <a:pt x="107442" y="31718"/>
                      <a:pt x="107442" y="40100"/>
                    </a:cubicBezTo>
                    <a:cubicBezTo>
                      <a:pt x="107442" y="46672"/>
                      <a:pt x="106204" y="52578"/>
                      <a:pt x="103727" y="57817"/>
                    </a:cubicBezTo>
                    <a:cubicBezTo>
                      <a:pt x="101251" y="63055"/>
                      <a:pt x="97917" y="67342"/>
                      <a:pt x="93535" y="70771"/>
                    </a:cubicBezTo>
                    <a:cubicBezTo>
                      <a:pt x="89154" y="74200"/>
                      <a:pt x="84201" y="76676"/>
                      <a:pt x="78676" y="78105"/>
                    </a:cubicBezTo>
                    <a:lnTo>
                      <a:pt x="114110" y="131254"/>
                    </a:lnTo>
                    <a:lnTo>
                      <a:pt x="83249" y="131254"/>
                    </a:lnTo>
                    <a:lnTo>
                      <a:pt x="52864" y="83439"/>
                    </a:lnTo>
                    <a:lnTo>
                      <a:pt x="27432" y="83439"/>
                    </a:lnTo>
                    <a:lnTo>
                      <a:pt x="27432" y="131254"/>
                    </a:lnTo>
                    <a:lnTo>
                      <a:pt x="0" y="131254"/>
                    </a:lnTo>
                    <a:lnTo>
                      <a:pt x="0" y="191"/>
                    </a:lnTo>
                    <a:close/>
                    <a:moveTo>
                      <a:pt x="56483" y="60008"/>
                    </a:moveTo>
                    <a:cubicBezTo>
                      <a:pt x="64389" y="60008"/>
                      <a:pt x="70294" y="58293"/>
                      <a:pt x="74200" y="54959"/>
                    </a:cubicBezTo>
                    <a:cubicBezTo>
                      <a:pt x="78009" y="51626"/>
                      <a:pt x="80010" y="46958"/>
                      <a:pt x="80010" y="41148"/>
                    </a:cubicBezTo>
                    <a:cubicBezTo>
                      <a:pt x="80010" y="35338"/>
                      <a:pt x="78009" y="30671"/>
                      <a:pt x="73914" y="27718"/>
                    </a:cubicBezTo>
                    <a:cubicBezTo>
                      <a:pt x="69818" y="24765"/>
                      <a:pt x="63913" y="23336"/>
                      <a:pt x="56007" y="23336"/>
                    </a:cubicBezTo>
                    <a:lnTo>
                      <a:pt x="27622" y="23336"/>
                    </a:lnTo>
                    <a:lnTo>
                      <a:pt x="27622" y="60103"/>
                    </a:lnTo>
                    <a:lnTo>
                      <a:pt x="56579" y="60103"/>
                    </a:lnTo>
                    <a:close/>
                  </a:path>
                </a:pathLst>
              </a:custGeom>
              <a:solidFill>
                <a:srgbClr val="FFFFFF"/>
              </a:solidFill>
              <a:ln w="9525" cap="flat">
                <a:noFill/>
                <a:prstDash val="solid"/>
                <a:miter/>
              </a:ln>
            </p:spPr>
            <p:txBody>
              <a:bodyPr rtlCol="0" anchor="ctr"/>
              <a:lstStyle/>
              <a:p>
                <a:pPr marL="0" marR="0" lvl="0" indent="0" algn="l" defTabSz="913578" rtl="0" eaLnBrk="1" fontAlgn="auto" latinLnBrk="0" hangingPunct="1">
                  <a:lnSpc>
                    <a:spcPct val="100000"/>
                  </a:lnSpc>
                  <a:spcBef>
                    <a:spcPts val="0"/>
                  </a:spcBef>
                  <a:spcAft>
                    <a:spcPts val="0"/>
                  </a:spcAft>
                  <a:buClrTx/>
                  <a:buSzTx/>
                  <a:buFontTx/>
                  <a:buNone/>
                  <a:tabLst/>
                  <a:defRPr/>
                </a:pPr>
                <a:endParaRPr kumimoji="0" lang="en-US" sz="17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444" name="Freeform: Shape 269">
                <a:extLst>
                  <a:ext uri="{FF2B5EF4-FFF2-40B4-BE49-F238E27FC236}">
                    <a16:creationId xmlns:a16="http://schemas.microsoft.com/office/drawing/2014/main" id="{5FF694B5-9B2B-9076-CDD3-AAE3551B8715}"/>
                  </a:ext>
                </a:extLst>
              </p:cNvPr>
              <p:cNvSpPr/>
              <p:nvPr/>
            </p:nvSpPr>
            <p:spPr>
              <a:xfrm>
                <a:off x="6470046" y="4549806"/>
                <a:ext cx="107823" cy="131063"/>
              </a:xfrm>
              <a:custGeom>
                <a:avLst/>
                <a:gdLst>
                  <a:gd name="connsiteX0" fmla="*/ 0 w 107823"/>
                  <a:gd name="connsiteY0" fmla="*/ 95 h 131063"/>
                  <a:gd name="connsiteX1" fmla="*/ 58864 w 107823"/>
                  <a:gd name="connsiteY1" fmla="*/ 95 h 131063"/>
                  <a:gd name="connsiteX2" fmla="*/ 86201 w 107823"/>
                  <a:gd name="connsiteY2" fmla="*/ 5429 h 131063"/>
                  <a:gd name="connsiteX3" fmla="*/ 102489 w 107823"/>
                  <a:gd name="connsiteY3" fmla="*/ 20288 h 131063"/>
                  <a:gd name="connsiteX4" fmla="*/ 107823 w 107823"/>
                  <a:gd name="connsiteY4" fmla="*/ 42767 h 131063"/>
                  <a:gd name="connsiteX5" fmla="*/ 102584 w 107823"/>
                  <a:gd name="connsiteY5" fmla="*/ 64770 h 131063"/>
                  <a:gd name="connsiteX6" fmla="*/ 86582 w 107823"/>
                  <a:gd name="connsiteY6" fmla="*/ 80867 h 131063"/>
                  <a:gd name="connsiteX7" fmla="*/ 60007 w 107823"/>
                  <a:gd name="connsiteY7" fmla="*/ 86868 h 131063"/>
                  <a:gd name="connsiteX8" fmla="*/ 27432 w 107823"/>
                  <a:gd name="connsiteY8" fmla="*/ 86868 h 131063"/>
                  <a:gd name="connsiteX9" fmla="*/ 27432 w 107823"/>
                  <a:gd name="connsiteY9" fmla="*/ 131064 h 131063"/>
                  <a:gd name="connsiteX10" fmla="*/ 0 w 107823"/>
                  <a:gd name="connsiteY10" fmla="*/ 131064 h 131063"/>
                  <a:gd name="connsiteX11" fmla="*/ 0 w 107823"/>
                  <a:gd name="connsiteY11" fmla="*/ 0 h 131063"/>
                  <a:gd name="connsiteX12" fmla="*/ 56579 w 107823"/>
                  <a:gd name="connsiteY12" fmla="*/ 63913 h 131063"/>
                  <a:gd name="connsiteX13" fmla="*/ 74295 w 107823"/>
                  <a:gd name="connsiteY13" fmla="*/ 58388 h 131063"/>
                  <a:gd name="connsiteX14" fmla="*/ 80200 w 107823"/>
                  <a:gd name="connsiteY14" fmla="*/ 43148 h 131063"/>
                  <a:gd name="connsiteX15" fmla="*/ 74104 w 107823"/>
                  <a:gd name="connsiteY15" fmla="*/ 28384 h 131063"/>
                  <a:gd name="connsiteX16" fmla="*/ 55912 w 107823"/>
                  <a:gd name="connsiteY16" fmla="*/ 23336 h 131063"/>
                  <a:gd name="connsiteX17" fmla="*/ 27527 w 107823"/>
                  <a:gd name="connsiteY17" fmla="*/ 23336 h 131063"/>
                  <a:gd name="connsiteX18" fmla="*/ 27527 w 107823"/>
                  <a:gd name="connsiteY18" fmla="*/ 63913 h 131063"/>
                  <a:gd name="connsiteX19" fmla="*/ 56673 w 107823"/>
                  <a:gd name="connsiteY19" fmla="*/ 63913 h 1310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07823" h="131063">
                    <a:moveTo>
                      <a:pt x="0" y="95"/>
                    </a:moveTo>
                    <a:lnTo>
                      <a:pt x="58864" y="95"/>
                    </a:lnTo>
                    <a:cubicBezTo>
                      <a:pt x="69818" y="95"/>
                      <a:pt x="78867" y="1905"/>
                      <a:pt x="86201" y="5429"/>
                    </a:cubicBezTo>
                    <a:cubicBezTo>
                      <a:pt x="93536" y="8953"/>
                      <a:pt x="98870" y="13906"/>
                      <a:pt x="102489" y="20288"/>
                    </a:cubicBezTo>
                    <a:cubicBezTo>
                      <a:pt x="106013" y="26670"/>
                      <a:pt x="107823" y="34195"/>
                      <a:pt x="107823" y="42767"/>
                    </a:cubicBezTo>
                    <a:cubicBezTo>
                      <a:pt x="107823" y="50768"/>
                      <a:pt x="106108" y="58102"/>
                      <a:pt x="102584" y="64770"/>
                    </a:cubicBezTo>
                    <a:cubicBezTo>
                      <a:pt x="99060" y="71438"/>
                      <a:pt x="93726" y="76867"/>
                      <a:pt x="86582" y="80867"/>
                    </a:cubicBezTo>
                    <a:cubicBezTo>
                      <a:pt x="79438" y="84867"/>
                      <a:pt x="70580" y="86868"/>
                      <a:pt x="60007" y="86868"/>
                    </a:cubicBezTo>
                    <a:lnTo>
                      <a:pt x="27432" y="86868"/>
                    </a:lnTo>
                    <a:lnTo>
                      <a:pt x="27432" y="131064"/>
                    </a:lnTo>
                    <a:lnTo>
                      <a:pt x="0" y="131064"/>
                    </a:lnTo>
                    <a:lnTo>
                      <a:pt x="0" y="0"/>
                    </a:lnTo>
                    <a:close/>
                    <a:moveTo>
                      <a:pt x="56579" y="63913"/>
                    </a:moveTo>
                    <a:cubicBezTo>
                      <a:pt x="64484" y="63913"/>
                      <a:pt x="70389" y="62103"/>
                      <a:pt x="74295" y="58388"/>
                    </a:cubicBezTo>
                    <a:cubicBezTo>
                      <a:pt x="78200" y="54673"/>
                      <a:pt x="80200" y="49625"/>
                      <a:pt x="80200" y="43148"/>
                    </a:cubicBezTo>
                    <a:cubicBezTo>
                      <a:pt x="80200" y="36671"/>
                      <a:pt x="78200" y="31718"/>
                      <a:pt x="74104" y="28384"/>
                    </a:cubicBezTo>
                    <a:cubicBezTo>
                      <a:pt x="70009" y="25051"/>
                      <a:pt x="63912" y="23336"/>
                      <a:pt x="55912" y="23336"/>
                    </a:cubicBezTo>
                    <a:lnTo>
                      <a:pt x="27527" y="23336"/>
                    </a:lnTo>
                    <a:lnTo>
                      <a:pt x="27527" y="63913"/>
                    </a:lnTo>
                    <a:lnTo>
                      <a:pt x="56673" y="63913"/>
                    </a:lnTo>
                    <a:close/>
                  </a:path>
                </a:pathLst>
              </a:custGeom>
              <a:solidFill>
                <a:srgbClr val="FFFFFF"/>
              </a:solidFill>
              <a:ln w="9525" cap="flat">
                <a:noFill/>
                <a:prstDash val="solid"/>
                <a:miter/>
              </a:ln>
            </p:spPr>
            <p:txBody>
              <a:bodyPr rtlCol="0" anchor="ctr"/>
              <a:lstStyle/>
              <a:p>
                <a:pPr marL="0" marR="0" lvl="0" indent="0" algn="l" defTabSz="913578" rtl="0" eaLnBrk="1" fontAlgn="auto" latinLnBrk="0" hangingPunct="1">
                  <a:lnSpc>
                    <a:spcPct val="100000"/>
                  </a:lnSpc>
                  <a:spcBef>
                    <a:spcPts val="0"/>
                  </a:spcBef>
                  <a:spcAft>
                    <a:spcPts val="0"/>
                  </a:spcAft>
                  <a:buClrTx/>
                  <a:buSzTx/>
                  <a:buFontTx/>
                  <a:buNone/>
                  <a:tabLst/>
                  <a:defRPr/>
                </a:pPr>
                <a:endParaRPr kumimoji="0" lang="en-US" sz="17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grpSp>
        <p:grpSp>
          <p:nvGrpSpPr>
            <p:cNvPr id="269" name="Graphic 2">
              <a:extLst>
                <a:ext uri="{FF2B5EF4-FFF2-40B4-BE49-F238E27FC236}">
                  <a16:creationId xmlns:a16="http://schemas.microsoft.com/office/drawing/2014/main" id="{70828EF4-9576-6D49-928A-D8011F682C8A}"/>
                </a:ext>
              </a:extLst>
            </p:cNvPr>
            <p:cNvGrpSpPr/>
            <p:nvPr/>
          </p:nvGrpSpPr>
          <p:grpSpPr>
            <a:xfrm>
              <a:off x="6846536" y="1582446"/>
              <a:ext cx="1472348" cy="195282"/>
              <a:chOff x="5541930" y="2571178"/>
              <a:chExt cx="1107662" cy="142304"/>
            </a:xfrm>
            <a:solidFill>
              <a:srgbClr val="231F20"/>
            </a:solidFill>
          </p:grpSpPr>
          <p:sp>
            <p:nvSpPr>
              <p:cNvPr id="419" name="Freeform: Shape 244">
                <a:extLst>
                  <a:ext uri="{FF2B5EF4-FFF2-40B4-BE49-F238E27FC236}">
                    <a16:creationId xmlns:a16="http://schemas.microsoft.com/office/drawing/2014/main" id="{FA0B949B-F9DE-4ECC-6B7C-E8AE5448B59E}"/>
                  </a:ext>
                </a:extLst>
              </p:cNvPr>
              <p:cNvSpPr/>
              <p:nvPr/>
            </p:nvSpPr>
            <p:spPr>
              <a:xfrm>
                <a:off x="5541930" y="2623566"/>
                <a:ext cx="76009" cy="89916"/>
              </a:xfrm>
              <a:custGeom>
                <a:avLst/>
                <a:gdLst>
                  <a:gd name="connsiteX0" fmla="*/ 0 w 76009"/>
                  <a:gd name="connsiteY0" fmla="*/ 13525 h 89916"/>
                  <a:gd name="connsiteX1" fmla="*/ 54959 w 76009"/>
                  <a:gd name="connsiteY1" fmla="*/ 0 h 89916"/>
                  <a:gd name="connsiteX2" fmla="*/ 58293 w 76009"/>
                  <a:gd name="connsiteY2" fmla="*/ 13430 h 89916"/>
                  <a:gd name="connsiteX3" fmla="*/ 19336 w 76009"/>
                  <a:gd name="connsiteY3" fmla="*/ 23050 h 89916"/>
                  <a:gd name="connsiteX4" fmla="*/ 23717 w 76009"/>
                  <a:gd name="connsiteY4" fmla="*/ 40767 h 89916"/>
                  <a:gd name="connsiteX5" fmla="*/ 59341 w 76009"/>
                  <a:gd name="connsiteY5" fmla="*/ 32004 h 89916"/>
                  <a:gd name="connsiteX6" fmla="*/ 62675 w 76009"/>
                  <a:gd name="connsiteY6" fmla="*/ 45529 h 89916"/>
                  <a:gd name="connsiteX7" fmla="*/ 27051 w 76009"/>
                  <a:gd name="connsiteY7" fmla="*/ 54292 h 89916"/>
                  <a:gd name="connsiteX8" fmla="*/ 31528 w 76009"/>
                  <a:gd name="connsiteY8" fmla="*/ 72485 h 89916"/>
                  <a:gd name="connsiteX9" fmla="*/ 72676 w 76009"/>
                  <a:gd name="connsiteY9" fmla="*/ 62389 h 89916"/>
                  <a:gd name="connsiteX10" fmla="*/ 76010 w 76009"/>
                  <a:gd name="connsiteY10" fmla="*/ 75819 h 89916"/>
                  <a:gd name="connsiteX11" fmla="*/ 18860 w 76009"/>
                  <a:gd name="connsiteY11" fmla="*/ 89916 h 89916"/>
                  <a:gd name="connsiteX12" fmla="*/ 95 w 76009"/>
                  <a:gd name="connsiteY12" fmla="*/ 13525 h 899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6009" h="89916">
                    <a:moveTo>
                      <a:pt x="0" y="13525"/>
                    </a:moveTo>
                    <a:lnTo>
                      <a:pt x="54959" y="0"/>
                    </a:lnTo>
                    <a:lnTo>
                      <a:pt x="58293" y="13430"/>
                    </a:lnTo>
                    <a:lnTo>
                      <a:pt x="19336" y="23050"/>
                    </a:lnTo>
                    <a:lnTo>
                      <a:pt x="23717" y="40767"/>
                    </a:lnTo>
                    <a:lnTo>
                      <a:pt x="59341" y="32004"/>
                    </a:lnTo>
                    <a:lnTo>
                      <a:pt x="62675" y="45529"/>
                    </a:lnTo>
                    <a:lnTo>
                      <a:pt x="27051" y="54292"/>
                    </a:lnTo>
                    <a:lnTo>
                      <a:pt x="31528" y="72485"/>
                    </a:lnTo>
                    <a:lnTo>
                      <a:pt x="72676" y="62389"/>
                    </a:lnTo>
                    <a:lnTo>
                      <a:pt x="76010" y="75819"/>
                    </a:lnTo>
                    <a:lnTo>
                      <a:pt x="18860" y="89916"/>
                    </a:lnTo>
                    <a:lnTo>
                      <a:pt x="95" y="13525"/>
                    </a:lnTo>
                    <a:close/>
                  </a:path>
                </a:pathLst>
              </a:custGeom>
              <a:solidFill>
                <a:srgbClr val="231F20"/>
              </a:solidFill>
              <a:ln w="9525" cap="flat">
                <a:noFill/>
                <a:prstDash val="solid"/>
                <a:miter/>
              </a:ln>
            </p:spPr>
            <p:txBody>
              <a:bodyPr rtlCol="0" anchor="ctr"/>
              <a:lstStyle/>
              <a:p>
                <a:pPr marL="0" marR="0" lvl="0" indent="0" algn="l" defTabSz="913578" rtl="0" eaLnBrk="1" fontAlgn="auto" latinLnBrk="0" hangingPunct="1">
                  <a:lnSpc>
                    <a:spcPct val="100000"/>
                  </a:lnSpc>
                  <a:spcBef>
                    <a:spcPts val="0"/>
                  </a:spcBef>
                  <a:spcAft>
                    <a:spcPts val="0"/>
                  </a:spcAft>
                  <a:buClrTx/>
                  <a:buSzTx/>
                  <a:buFontTx/>
                  <a:buNone/>
                  <a:tabLst/>
                  <a:defRPr/>
                </a:pPr>
                <a:endParaRPr kumimoji="0" lang="en-US" sz="17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420" name="Freeform: Shape 245">
                <a:extLst>
                  <a:ext uri="{FF2B5EF4-FFF2-40B4-BE49-F238E27FC236}">
                    <a16:creationId xmlns:a16="http://schemas.microsoft.com/office/drawing/2014/main" id="{6A5E6043-B57D-105D-B416-9DC476804A50}"/>
                  </a:ext>
                </a:extLst>
              </p:cNvPr>
              <p:cNvSpPr/>
              <p:nvPr/>
            </p:nvSpPr>
            <p:spPr>
              <a:xfrm>
                <a:off x="5618809" y="2630429"/>
                <a:ext cx="58376" cy="63117"/>
              </a:xfrm>
              <a:custGeom>
                <a:avLst/>
                <a:gdLst>
                  <a:gd name="connsiteX0" fmla="*/ 19991 w 58376"/>
                  <a:gd name="connsiteY0" fmla="*/ 61717 h 63117"/>
                  <a:gd name="connsiteX1" fmla="*/ 7799 w 58376"/>
                  <a:gd name="connsiteY1" fmla="*/ 53240 h 63117"/>
                  <a:gd name="connsiteX2" fmla="*/ 1036 w 58376"/>
                  <a:gd name="connsiteY2" fmla="*/ 38000 h 63117"/>
                  <a:gd name="connsiteX3" fmla="*/ 1036 w 58376"/>
                  <a:gd name="connsiteY3" fmla="*/ 20474 h 63117"/>
                  <a:gd name="connsiteX4" fmla="*/ 9037 w 58376"/>
                  <a:gd name="connsiteY4" fmla="*/ 7710 h 63117"/>
                  <a:gd name="connsiteX5" fmla="*/ 23992 w 58376"/>
                  <a:gd name="connsiteY5" fmla="*/ 757 h 63117"/>
                  <a:gd name="connsiteX6" fmla="*/ 49423 w 58376"/>
                  <a:gd name="connsiteY6" fmla="*/ 8377 h 63117"/>
                  <a:gd name="connsiteX7" fmla="*/ 40279 w 58376"/>
                  <a:gd name="connsiteY7" fmla="*/ 17902 h 63117"/>
                  <a:gd name="connsiteX8" fmla="*/ 33897 w 58376"/>
                  <a:gd name="connsiteY8" fmla="*/ 13425 h 63117"/>
                  <a:gd name="connsiteX9" fmla="*/ 26563 w 58376"/>
                  <a:gd name="connsiteY9" fmla="*/ 12949 h 63117"/>
                  <a:gd name="connsiteX10" fmla="*/ 17514 w 58376"/>
                  <a:gd name="connsiteY10" fmla="*/ 19807 h 63117"/>
                  <a:gd name="connsiteX11" fmla="*/ 16943 w 58376"/>
                  <a:gd name="connsiteY11" fmla="*/ 33999 h 63117"/>
                  <a:gd name="connsiteX12" fmla="*/ 23515 w 58376"/>
                  <a:gd name="connsiteY12" fmla="*/ 47144 h 63117"/>
                  <a:gd name="connsiteX13" fmla="*/ 34660 w 58376"/>
                  <a:gd name="connsiteY13" fmla="*/ 49811 h 63117"/>
                  <a:gd name="connsiteX14" fmla="*/ 41803 w 58376"/>
                  <a:gd name="connsiteY14" fmla="*/ 46191 h 63117"/>
                  <a:gd name="connsiteX15" fmla="*/ 47328 w 58376"/>
                  <a:gd name="connsiteY15" fmla="*/ 39047 h 63117"/>
                  <a:gd name="connsiteX16" fmla="*/ 58377 w 58376"/>
                  <a:gd name="connsiteY16" fmla="*/ 45905 h 63117"/>
                  <a:gd name="connsiteX17" fmla="*/ 49804 w 58376"/>
                  <a:gd name="connsiteY17" fmla="*/ 56288 h 63117"/>
                  <a:gd name="connsiteX18" fmla="*/ 36660 w 58376"/>
                  <a:gd name="connsiteY18" fmla="*/ 62193 h 63117"/>
                  <a:gd name="connsiteX19" fmla="*/ 19991 w 58376"/>
                  <a:gd name="connsiteY19" fmla="*/ 61812 h 631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8376" h="63117">
                    <a:moveTo>
                      <a:pt x="19991" y="61717"/>
                    </a:moveTo>
                    <a:cubicBezTo>
                      <a:pt x="15133" y="60098"/>
                      <a:pt x="11037" y="57335"/>
                      <a:pt x="7799" y="53240"/>
                    </a:cubicBezTo>
                    <a:cubicBezTo>
                      <a:pt x="4560" y="49144"/>
                      <a:pt x="2370" y="44096"/>
                      <a:pt x="1036" y="38000"/>
                    </a:cubicBezTo>
                    <a:cubicBezTo>
                      <a:pt x="-393" y="31523"/>
                      <a:pt x="-297" y="25617"/>
                      <a:pt x="1036" y="20474"/>
                    </a:cubicBezTo>
                    <a:cubicBezTo>
                      <a:pt x="2465" y="15330"/>
                      <a:pt x="5132" y="11044"/>
                      <a:pt x="9037" y="7710"/>
                    </a:cubicBezTo>
                    <a:cubicBezTo>
                      <a:pt x="12943" y="4376"/>
                      <a:pt x="17991" y="1995"/>
                      <a:pt x="23992" y="757"/>
                    </a:cubicBezTo>
                    <a:cubicBezTo>
                      <a:pt x="34088" y="-1434"/>
                      <a:pt x="42565" y="1138"/>
                      <a:pt x="49423" y="8377"/>
                    </a:cubicBezTo>
                    <a:lnTo>
                      <a:pt x="40279" y="17902"/>
                    </a:lnTo>
                    <a:cubicBezTo>
                      <a:pt x="38184" y="15807"/>
                      <a:pt x="36088" y="14378"/>
                      <a:pt x="33897" y="13425"/>
                    </a:cubicBezTo>
                    <a:cubicBezTo>
                      <a:pt x="31802" y="12473"/>
                      <a:pt x="29326" y="12378"/>
                      <a:pt x="26563" y="12949"/>
                    </a:cubicBezTo>
                    <a:cubicBezTo>
                      <a:pt x="22182" y="13901"/>
                      <a:pt x="19134" y="16187"/>
                      <a:pt x="17514" y="19807"/>
                    </a:cubicBezTo>
                    <a:cubicBezTo>
                      <a:pt x="15895" y="23426"/>
                      <a:pt x="15705" y="28189"/>
                      <a:pt x="16943" y="33999"/>
                    </a:cubicBezTo>
                    <a:cubicBezTo>
                      <a:pt x="18277" y="40095"/>
                      <a:pt x="20467" y="44477"/>
                      <a:pt x="23515" y="47144"/>
                    </a:cubicBezTo>
                    <a:cubicBezTo>
                      <a:pt x="26563" y="49811"/>
                      <a:pt x="30278" y="50668"/>
                      <a:pt x="34660" y="49811"/>
                    </a:cubicBezTo>
                    <a:cubicBezTo>
                      <a:pt x="37517" y="49239"/>
                      <a:pt x="39898" y="48001"/>
                      <a:pt x="41803" y="46191"/>
                    </a:cubicBezTo>
                    <a:cubicBezTo>
                      <a:pt x="43613" y="44382"/>
                      <a:pt x="45518" y="42000"/>
                      <a:pt x="47328" y="39047"/>
                    </a:cubicBezTo>
                    <a:lnTo>
                      <a:pt x="58377" y="45905"/>
                    </a:lnTo>
                    <a:cubicBezTo>
                      <a:pt x="56281" y="50001"/>
                      <a:pt x="53424" y="53430"/>
                      <a:pt x="49804" y="56288"/>
                    </a:cubicBezTo>
                    <a:cubicBezTo>
                      <a:pt x="46185" y="59145"/>
                      <a:pt x="41803" y="61050"/>
                      <a:pt x="36660" y="62193"/>
                    </a:cubicBezTo>
                    <a:cubicBezTo>
                      <a:pt x="30469" y="63527"/>
                      <a:pt x="24849" y="63432"/>
                      <a:pt x="19991" y="61812"/>
                    </a:cubicBezTo>
                    <a:close/>
                  </a:path>
                </a:pathLst>
              </a:custGeom>
              <a:solidFill>
                <a:srgbClr val="231F20"/>
              </a:solidFill>
              <a:ln w="9525" cap="flat">
                <a:noFill/>
                <a:prstDash val="solid"/>
                <a:miter/>
              </a:ln>
            </p:spPr>
            <p:txBody>
              <a:bodyPr rtlCol="0" anchor="ctr"/>
              <a:lstStyle/>
              <a:p>
                <a:pPr marL="0" marR="0" lvl="0" indent="0" algn="l" defTabSz="913578" rtl="0" eaLnBrk="1" fontAlgn="auto" latinLnBrk="0" hangingPunct="1">
                  <a:lnSpc>
                    <a:spcPct val="100000"/>
                  </a:lnSpc>
                  <a:spcBef>
                    <a:spcPts val="0"/>
                  </a:spcBef>
                  <a:spcAft>
                    <a:spcPts val="0"/>
                  </a:spcAft>
                  <a:buClrTx/>
                  <a:buSzTx/>
                  <a:buFontTx/>
                  <a:buNone/>
                  <a:tabLst/>
                  <a:defRPr/>
                </a:pPr>
                <a:endParaRPr kumimoji="0" lang="en-US" sz="17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421" name="Freeform: Shape 246">
                <a:extLst>
                  <a:ext uri="{FF2B5EF4-FFF2-40B4-BE49-F238E27FC236}">
                    <a16:creationId xmlns:a16="http://schemas.microsoft.com/office/drawing/2014/main" id="{44B27D7F-84D7-9135-33C6-61CA4EE80BB6}"/>
                  </a:ext>
                </a:extLst>
              </p:cNvPr>
              <p:cNvSpPr/>
              <p:nvPr/>
            </p:nvSpPr>
            <p:spPr>
              <a:xfrm>
                <a:off x="5677092" y="2618721"/>
                <a:ext cx="61337" cy="63113"/>
              </a:xfrm>
              <a:custGeom>
                <a:avLst/>
                <a:gdLst>
                  <a:gd name="connsiteX0" fmla="*/ 19239 w 61337"/>
                  <a:gd name="connsiteY0" fmla="*/ 61327 h 63113"/>
                  <a:gd name="connsiteX1" fmla="*/ 7047 w 61337"/>
                  <a:gd name="connsiteY1" fmla="*/ 52088 h 63113"/>
                  <a:gd name="connsiteX2" fmla="*/ 665 w 61337"/>
                  <a:gd name="connsiteY2" fmla="*/ 36943 h 63113"/>
                  <a:gd name="connsiteX3" fmla="*/ 1236 w 61337"/>
                  <a:gd name="connsiteY3" fmla="*/ 20846 h 63113"/>
                  <a:gd name="connsiteX4" fmla="*/ 9333 w 61337"/>
                  <a:gd name="connsiteY4" fmla="*/ 7892 h 63113"/>
                  <a:gd name="connsiteX5" fmla="*/ 25144 w 61337"/>
                  <a:gd name="connsiteY5" fmla="*/ 748 h 63113"/>
                  <a:gd name="connsiteX6" fmla="*/ 42861 w 61337"/>
                  <a:gd name="connsiteY6" fmla="*/ 1701 h 63113"/>
                  <a:gd name="connsiteX7" fmla="*/ 54672 w 61337"/>
                  <a:gd name="connsiteY7" fmla="*/ 10940 h 63113"/>
                  <a:gd name="connsiteX8" fmla="*/ 60673 w 61337"/>
                  <a:gd name="connsiteY8" fmla="*/ 25990 h 63113"/>
                  <a:gd name="connsiteX9" fmla="*/ 60101 w 61337"/>
                  <a:gd name="connsiteY9" fmla="*/ 42373 h 63113"/>
                  <a:gd name="connsiteX10" fmla="*/ 51909 w 61337"/>
                  <a:gd name="connsiteY10" fmla="*/ 55327 h 63113"/>
                  <a:gd name="connsiteX11" fmla="*/ 36098 w 61337"/>
                  <a:gd name="connsiteY11" fmla="*/ 62470 h 63113"/>
                  <a:gd name="connsiteX12" fmla="*/ 19334 w 61337"/>
                  <a:gd name="connsiteY12" fmla="*/ 61327 h 63113"/>
                  <a:gd name="connsiteX13" fmla="*/ 43337 w 61337"/>
                  <a:gd name="connsiteY13" fmla="*/ 43516 h 63113"/>
                  <a:gd name="connsiteX14" fmla="*/ 44480 w 61337"/>
                  <a:gd name="connsiteY14" fmla="*/ 29037 h 63113"/>
                  <a:gd name="connsiteX15" fmla="*/ 38574 w 61337"/>
                  <a:gd name="connsiteY15" fmla="*/ 15988 h 63113"/>
                  <a:gd name="connsiteX16" fmla="*/ 27621 w 61337"/>
                  <a:gd name="connsiteY16" fmla="*/ 13036 h 63113"/>
                  <a:gd name="connsiteX17" fmla="*/ 18096 w 61337"/>
                  <a:gd name="connsiteY17" fmla="*/ 19703 h 63113"/>
                  <a:gd name="connsiteX18" fmla="*/ 16953 w 61337"/>
                  <a:gd name="connsiteY18" fmla="*/ 33991 h 63113"/>
                  <a:gd name="connsiteX19" fmla="*/ 20477 w 61337"/>
                  <a:gd name="connsiteY19" fmla="*/ 43801 h 63113"/>
                  <a:gd name="connsiteX20" fmla="*/ 26287 w 61337"/>
                  <a:gd name="connsiteY20" fmla="*/ 49326 h 63113"/>
                  <a:gd name="connsiteX21" fmla="*/ 33717 w 61337"/>
                  <a:gd name="connsiteY21" fmla="*/ 50278 h 63113"/>
                  <a:gd name="connsiteX22" fmla="*/ 43337 w 61337"/>
                  <a:gd name="connsiteY22" fmla="*/ 43516 h 63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61337" h="63113">
                    <a:moveTo>
                      <a:pt x="19239" y="61327"/>
                    </a:moveTo>
                    <a:cubicBezTo>
                      <a:pt x="14286" y="59422"/>
                      <a:pt x="10190" y="56374"/>
                      <a:pt x="7047" y="52088"/>
                    </a:cubicBezTo>
                    <a:cubicBezTo>
                      <a:pt x="3903" y="47802"/>
                      <a:pt x="1808" y="42754"/>
                      <a:pt x="665" y="36943"/>
                    </a:cubicBezTo>
                    <a:cubicBezTo>
                      <a:pt x="-383" y="31228"/>
                      <a:pt x="-192" y="25894"/>
                      <a:pt x="1236" y="20846"/>
                    </a:cubicBezTo>
                    <a:cubicBezTo>
                      <a:pt x="2665" y="15798"/>
                      <a:pt x="5332" y="11512"/>
                      <a:pt x="9333" y="7892"/>
                    </a:cubicBezTo>
                    <a:cubicBezTo>
                      <a:pt x="13333" y="4273"/>
                      <a:pt x="18572" y="1987"/>
                      <a:pt x="25144" y="748"/>
                    </a:cubicBezTo>
                    <a:cubicBezTo>
                      <a:pt x="32002" y="-490"/>
                      <a:pt x="37908" y="-204"/>
                      <a:pt x="42861" y="1701"/>
                    </a:cubicBezTo>
                    <a:cubicBezTo>
                      <a:pt x="47814" y="3606"/>
                      <a:pt x="51719" y="6654"/>
                      <a:pt x="54672" y="10940"/>
                    </a:cubicBezTo>
                    <a:cubicBezTo>
                      <a:pt x="57624" y="15131"/>
                      <a:pt x="59625" y="20179"/>
                      <a:pt x="60673" y="25990"/>
                    </a:cubicBezTo>
                    <a:cubicBezTo>
                      <a:pt x="61720" y="31800"/>
                      <a:pt x="61530" y="37229"/>
                      <a:pt x="60101" y="42373"/>
                    </a:cubicBezTo>
                    <a:cubicBezTo>
                      <a:pt x="58672" y="47421"/>
                      <a:pt x="55910" y="51802"/>
                      <a:pt x="51909" y="55327"/>
                    </a:cubicBezTo>
                    <a:cubicBezTo>
                      <a:pt x="47909" y="58851"/>
                      <a:pt x="42575" y="61232"/>
                      <a:pt x="36098" y="62470"/>
                    </a:cubicBezTo>
                    <a:cubicBezTo>
                      <a:pt x="29907" y="63613"/>
                      <a:pt x="24287" y="63232"/>
                      <a:pt x="19334" y="61327"/>
                    </a:cubicBezTo>
                    <a:close/>
                    <a:moveTo>
                      <a:pt x="43337" y="43516"/>
                    </a:moveTo>
                    <a:cubicBezTo>
                      <a:pt x="45242" y="39801"/>
                      <a:pt x="45623" y="35038"/>
                      <a:pt x="44480" y="29037"/>
                    </a:cubicBezTo>
                    <a:cubicBezTo>
                      <a:pt x="43432" y="23132"/>
                      <a:pt x="41432" y="18750"/>
                      <a:pt x="38574" y="15988"/>
                    </a:cubicBezTo>
                    <a:cubicBezTo>
                      <a:pt x="35717" y="13226"/>
                      <a:pt x="32002" y="12274"/>
                      <a:pt x="27621" y="13036"/>
                    </a:cubicBezTo>
                    <a:cubicBezTo>
                      <a:pt x="23049" y="13893"/>
                      <a:pt x="19905" y="16083"/>
                      <a:pt x="18096" y="19703"/>
                    </a:cubicBezTo>
                    <a:cubicBezTo>
                      <a:pt x="16286" y="23323"/>
                      <a:pt x="15905" y="28085"/>
                      <a:pt x="16953" y="33991"/>
                    </a:cubicBezTo>
                    <a:cubicBezTo>
                      <a:pt x="17619" y="37896"/>
                      <a:pt x="18858" y="41134"/>
                      <a:pt x="20477" y="43801"/>
                    </a:cubicBezTo>
                    <a:cubicBezTo>
                      <a:pt x="22096" y="46373"/>
                      <a:pt x="24096" y="48278"/>
                      <a:pt x="26287" y="49326"/>
                    </a:cubicBezTo>
                    <a:cubicBezTo>
                      <a:pt x="28573" y="50469"/>
                      <a:pt x="31050" y="50754"/>
                      <a:pt x="33717" y="50278"/>
                    </a:cubicBezTo>
                    <a:cubicBezTo>
                      <a:pt x="38289" y="49421"/>
                      <a:pt x="41527" y="47230"/>
                      <a:pt x="43337" y="43516"/>
                    </a:cubicBezTo>
                    <a:close/>
                  </a:path>
                </a:pathLst>
              </a:custGeom>
              <a:solidFill>
                <a:srgbClr val="231F20"/>
              </a:solidFill>
              <a:ln w="9525" cap="flat">
                <a:noFill/>
                <a:prstDash val="solid"/>
                <a:miter/>
              </a:ln>
            </p:spPr>
            <p:txBody>
              <a:bodyPr rtlCol="0" anchor="ctr"/>
              <a:lstStyle/>
              <a:p>
                <a:pPr marL="0" marR="0" lvl="0" indent="0" algn="l" defTabSz="913578" rtl="0" eaLnBrk="1" fontAlgn="auto" latinLnBrk="0" hangingPunct="1">
                  <a:lnSpc>
                    <a:spcPct val="100000"/>
                  </a:lnSpc>
                  <a:spcBef>
                    <a:spcPts val="0"/>
                  </a:spcBef>
                  <a:spcAft>
                    <a:spcPts val="0"/>
                  </a:spcAft>
                  <a:buClrTx/>
                  <a:buSzTx/>
                  <a:buFontTx/>
                  <a:buNone/>
                  <a:tabLst/>
                  <a:defRPr/>
                </a:pPr>
                <a:endParaRPr kumimoji="0" lang="en-US" sz="17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422" name="Freeform: Shape 247">
                <a:extLst>
                  <a:ext uri="{FF2B5EF4-FFF2-40B4-BE49-F238E27FC236}">
                    <a16:creationId xmlns:a16="http://schemas.microsoft.com/office/drawing/2014/main" id="{EA1CB252-BBAD-2109-3453-F60B3ADD3DAE}"/>
                  </a:ext>
                </a:extLst>
              </p:cNvPr>
              <p:cNvSpPr/>
              <p:nvPr/>
            </p:nvSpPr>
            <p:spPr>
              <a:xfrm>
                <a:off x="5745320" y="2608285"/>
                <a:ext cx="52114" cy="63095"/>
              </a:xfrm>
              <a:custGeom>
                <a:avLst/>
                <a:gdLst>
                  <a:gd name="connsiteX0" fmla="*/ 15876 w 52114"/>
                  <a:gd name="connsiteY0" fmla="*/ 62524 h 63095"/>
                  <a:gd name="connsiteX1" fmla="*/ 3303 w 52114"/>
                  <a:gd name="connsiteY1" fmla="*/ 57762 h 63095"/>
                  <a:gd name="connsiteX2" fmla="*/ 8732 w 52114"/>
                  <a:gd name="connsiteY2" fmla="*/ 46046 h 63095"/>
                  <a:gd name="connsiteX3" fmla="*/ 18828 w 52114"/>
                  <a:gd name="connsiteY3" fmla="*/ 50332 h 63095"/>
                  <a:gd name="connsiteX4" fmla="*/ 28258 w 52114"/>
                  <a:gd name="connsiteY4" fmla="*/ 50809 h 63095"/>
                  <a:gd name="connsiteX5" fmla="*/ 35688 w 52114"/>
                  <a:gd name="connsiteY5" fmla="*/ 48427 h 63095"/>
                  <a:gd name="connsiteX6" fmla="*/ 37783 w 52114"/>
                  <a:gd name="connsiteY6" fmla="*/ 43570 h 63095"/>
                  <a:gd name="connsiteX7" fmla="*/ 35783 w 52114"/>
                  <a:gd name="connsiteY7" fmla="*/ 40045 h 63095"/>
                  <a:gd name="connsiteX8" fmla="*/ 31782 w 52114"/>
                  <a:gd name="connsiteY8" fmla="*/ 38521 h 63095"/>
                  <a:gd name="connsiteX9" fmla="*/ 25210 w 52114"/>
                  <a:gd name="connsiteY9" fmla="*/ 37759 h 63095"/>
                  <a:gd name="connsiteX10" fmla="*/ 22162 w 52114"/>
                  <a:gd name="connsiteY10" fmla="*/ 37474 h 63095"/>
                  <a:gd name="connsiteX11" fmla="*/ 11589 w 52114"/>
                  <a:gd name="connsiteY11" fmla="*/ 35569 h 63095"/>
                  <a:gd name="connsiteX12" fmla="*/ 4255 w 52114"/>
                  <a:gd name="connsiteY12" fmla="*/ 31092 h 63095"/>
                  <a:gd name="connsiteX13" fmla="*/ 255 w 52114"/>
                  <a:gd name="connsiteY13" fmla="*/ 22138 h 63095"/>
                  <a:gd name="connsiteX14" fmla="*/ 1493 w 52114"/>
                  <a:gd name="connsiteY14" fmla="*/ 12042 h 63095"/>
                  <a:gd name="connsiteX15" fmla="*/ 8541 w 52114"/>
                  <a:gd name="connsiteY15" fmla="*/ 4612 h 63095"/>
                  <a:gd name="connsiteX16" fmla="*/ 20829 w 52114"/>
                  <a:gd name="connsiteY16" fmla="*/ 517 h 63095"/>
                  <a:gd name="connsiteX17" fmla="*/ 34069 w 52114"/>
                  <a:gd name="connsiteY17" fmla="*/ 707 h 63095"/>
                  <a:gd name="connsiteX18" fmla="*/ 45022 w 52114"/>
                  <a:gd name="connsiteY18" fmla="*/ 5660 h 63095"/>
                  <a:gd name="connsiteX19" fmla="*/ 38450 w 52114"/>
                  <a:gd name="connsiteY19" fmla="*/ 16042 h 63095"/>
                  <a:gd name="connsiteX20" fmla="*/ 22734 w 52114"/>
                  <a:gd name="connsiteY20" fmla="*/ 12042 h 63095"/>
                  <a:gd name="connsiteX21" fmla="*/ 14352 w 52114"/>
                  <a:gd name="connsiteY21" fmla="*/ 18709 h 63095"/>
                  <a:gd name="connsiteX22" fmla="*/ 16066 w 52114"/>
                  <a:gd name="connsiteY22" fmla="*/ 21757 h 63095"/>
                  <a:gd name="connsiteX23" fmla="*/ 19495 w 52114"/>
                  <a:gd name="connsiteY23" fmla="*/ 23091 h 63095"/>
                  <a:gd name="connsiteX24" fmla="*/ 25305 w 52114"/>
                  <a:gd name="connsiteY24" fmla="*/ 23758 h 63095"/>
                  <a:gd name="connsiteX25" fmla="*/ 28258 w 52114"/>
                  <a:gd name="connsiteY25" fmla="*/ 23948 h 63095"/>
                  <a:gd name="connsiteX26" fmla="*/ 39688 w 52114"/>
                  <a:gd name="connsiteY26" fmla="*/ 25853 h 63095"/>
                  <a:gd name="connsiteX27" fmla="*/ 47594 w 52114"/>
                  <a:gd name="connsiteY27" fmla="*/ 30520 h 63095"/>
                  <a:gd name="connsiteX28" fmla="*/ 51880 w 52114"/>
                  <a:gd name="connsiteY28" fmla="*/ 40236 h 63095"/>
                  <a:gd name="connsiteX29" fmla="*/ 50452 w 52114"/>
                  <a:gd name="connsiteY29" fmla="*/ 50523 h 63095"/>
                  <a:gd name="connsiteX30" fmla="*/ 43022 w 52114"/>
                  <a:gd name="connsiteY30" fmla="*/ 58238 h 63095"/>
                  <a:gd name="connsiteX31" fmla="*/ 30068 w 52114"/>
                  <a:gd name="connsiteY31" fmla="*/ 62524 h 63095"/>
                  <a:gd name="connsiteX32" fmla="*/ 15971 w 52114"/>
                  <a:gd name="connsiteY32" fmla="*/ 62524 h 63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52114" h="63095">
                    <a:moveTo>
                      <a:pt x="15876" y="62524"/>
                    </a:moveTo>
                    <a:cubicBezTo>
                      <a:pt x="11685" y="61762"/>
                      <a:pt x="7494" y="60143"/>
                      <a:pt x="3303" y="57762"/>
                    </a:cubicBezTo>
                    <a:lnTo>
                      <a:pt x="8732" y="46046"/>
                    </a:lnTo>
                    <a:cubicBezTo>
                      <a:pt x="12447" y="48046"/>
                      <a:pt x="15780" y="49475"/>
                      <a:pt x="18828" y="50332"/>
                    </a:cubicBezTo>
                    <a:cubicBezTo>
                      <a:pt x="21877" y="51190"/>
                      <a:pt x="25020" y="51380"/>
                      <a:pt x="28258" y="50809"/>
                    </a:cubicBezTo>
                    <a:cubicBezTo>
                      <a:pt x="31497" y="50332"/>
                      <a:pt x="33973" y="49475"/>
                      <a:pt x="35688" y="48427"/>
                    </a:cubicBezTo>
                    <a:cubicBezTo>
                      <a:pt x="37402" y="47284"/>
                      <a:pt x="38069" y="45665"/>
                      <a:pt x="37783" y="43570"/>
                    </a:cubicBezTo>
                    <a:cubicBezTo>
                      <a:pt x="37593" y="42046"/>
                      <a:pt x="36926" y="40903"/>
                      <a:pt x="35783" y="40045"/>
                    </a:cubicBezTo>
                    <a:cubicBezTo>
                      <a:pt x="34640" y="39188"/>
                      <a:pt x="33402" y="38712"/>
                      <a:pt x="31782" y="38521"/>
                    </a:cubicBezTo>
                    <a:cubicBezTo>
                      <a:pt x="30163" y="38236"/>
                      <a:pt x="28068" y="38045"/>
                      <a:pt x="25210" y="37759"/>
                    </a:cubicBezTo>
                    <a:lnTo>
                      <a:pt x="22162" y="37474"/>
                    </a:lnTo>
                    <a:cubicBezTo>
                      <a:pt x="17971" y="37093"/>
                      <a:pt x="14447" y="36426"/>
                      <a:pt x="11589" y="35569"/>
                    </a:cubicBezTo>
                    <a:cubicBezTo>
                      <a:pt x="8732" y="34711"/>
                      <a:pt x="6255" y="33187"/>
                      <a:pt x="4255" y="31092"/>
                    </a:cubicBezTo>
                    <a:cubicBezTo>
                      <a:pt x="2255" y="28996"/>
                      <a:pt x="921" y="25948"/>
                      <a:pt x="255" y="22138"/>
                    </a:cubicBezTo>
                    <a:cubicBezTo>
                      <a:pt x="-317" y="18424"/>
                      <a:pt x="64" y="14995"/>
                      <a:pt x="1493" y="12042"/>
                    </a:cubicBezTo>
                    <a:cubicBezTo>
                      <a:pt x="2922" y="9089"/>
                      <a:pt x="5208" y="6613"/>
                      <a:pt x="8541" y="4612"/>
                    </a:cubicBezTo>
                    <a:cubicBezTo>
                      <a:pt x="11780" y="2612"/>
                      <a:pt x="15876" y="1279"/>
                      <a:pt x="20829" y="517"/>
                    </a:cubicBezTo>
                    <a:cubicBezTo>
                      <a:pt x="25496" y="-245"/>
                      <a:pt x="29973" y="-150"/>
                      <a:pt x="34069" y="707"/>
                    </a:cubicBezTo>
                    <a:cubicBezTo>
                      <a:pt x="38164" y="1564"/>
                      <a:pt x="41784" y="3184"/>
                      <a:pt x="45022" y="5660"/>
                    </a:cubicBezTo>
                    <a:lnTo>
                      <a:pt x="38450" y="16042"/>
                    </a:lnTo>
                    <a:cubicBezTo>
                      <a:pt x="33592" y="12518"/>
                      <a:pt x="28353" y="11185"/>
                      <a:pt x="22734" y="12042"/>
                    </a:cubicBezTo>
                    <a:cubicBezTo>
                      <a:pt x="16638" y="12994"/>
                      <a:pt x="13876" y="15185"/>
                      <a:pt x="14352" y="18709"/>
                    </a:cubicBezTo>
                    <a:cubicBezTo>
                      <a:pt x="14542" y="20043"/>
                      <a:pt x="15114" y="21091"/>
                      <a:pt x="16066" y="21757"/>
                    </a:cubicBezTo>
                    <a:cubicBezTo>
                      <a:pt x="17019" y="22424"/>
                      <a:pt x="18066" y="22900"/>
                      <a:pt x="19495" y="23091"/>
                    </a:cubicBezTo>
                    <a:cubicBezTo>
                      <a:pt x="20829" y="23377"/>
                      <a:pt x="22829" y="23567"/>
                      <a:pt x="25305" y="23758"/>
                    </a:cubicBezTo>
                    <a:lnTo>
                      <a:pt x="28258" y="23948"/>
                    </a:lnTo>
                    <a:cubicBezTo>
                      <a:pt x="32830" y="24424"/>
                      <a:pt x="36640" y="24996"/>
                      <a:pt x="39688" y="25853"/>
                    </a:cubicBezTo>
                    <a:cubicBezTo>
                      <a:pt x="42736" y="26710"/>
                      <a:pt x="45403" y="28234"/>
                      <a:pt x="47594" y="30520"/>
                    </a:cubicBezTo>
                    <a:cubicBezTo>
                      <a:pt x="49880" y="32806"/>
                      <a:pt x="51309" y="36045"/>
                      <a:pt x="51880" y="40236"/>
                    </a:cubicBezTo>
                    <a:cubicBezTo>
                      <a:pt x="52452" y="44046"/>
                      <a:pt x="51976" y="47475"/>
                      <a:pt x="50452" y="50523"/>
                    </a:cubicBezTo>
                    <a:cubicBezTo>
                      <a:pt x="48928" y="53571"/>
                      <a:pt x="46451" y="56143"/>
                      <a:pt x="43022" y="58238"/>
                    </a:cubicBezTo>
                    <a:cubicBezTo>
                      <a:pt x="39498" y="60334"/>
                      <a:pt x="35212" y="61667"/>
                      <a:pt x="30068" y="62524"/>
                    </a:cubicBezTo>
                    <a:cubicBezTo>
                      <a:pt x="24924" y="63286"/>
                      <a:pt x="20257" y="63286"/>
                      <a:pt x="15971" y="62524"/>
                    </a:cubicBezTo>
                    <a:close/>
                  </a:path>
                </a:pathLst>
              </a:custGeom>
              <a:solidFill>
                <a:srgbClr val="231F20"/>
              </a:solidFill>
              <a:ln w="9525" cap="flat">
                <a:noFill/>
                <a:prstDash val="solid"/>
                <a:miter/>
              </a:ln>
            </p:spPr>
            <p:txBody>
              <a:bodyPr rtlCol="0" anchor="ctr"/>
              <a:lstStyle/>
              <a:p>
                <a:pPr marL="0" marR="0" lvl="0" indent="0" algn="l" defTabSz="913578" rtl="0" eaLnBrk="1" fontAlgn="auto" latinLnBrk="0" hangingPunct="1">
                  <a:lnSpc>
                    <a:spcPct val="100000"/>
                  </a:lnSpc>
                  <a:spcBef>
                    <a:spcPts val="0"/>
                  </a:spcBef>
                  <a:spcAft>
                    <a:spcPts val="0"/>
                  </a:spcAft>
                  <a:buClrTx/>
                  <a:buSzTx/>
                  <a:buFontTx/>
                  <a:buNone/>
                  <a:tabLst/>
                  <a:defRPr/>
                </a:pPr>
                <a:endParaRPr kumimoji="0" lang="en-US" sz="17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423" name="Freeform: Shape 248">
                <a:extLst>
                  <a:ext uri="{FF2B5EF4-FFF2-40B4-BE49-F238E27FC236}">
                    <a16:creationId xmlns:a16="http://schemas.microsoft.com/office/drawing/2014/main" id="{51EEA7DB-C958-61D1-9BC3-46260BD40103}"/>
                  </a:ext>
                </a:extLst>
              </p:cNvPr>
              <p:cNvSpPr/>
              <p:nvPr/>
            </p:nvSpPr>
            <p:spPr>
              <a:xfrm>
                <a:off x="5796057" y="2597848"/>
                <a:ext cx="61626" cy="89695"/>
              </a:xfrm>
              <a:custGeom>
                <a:avLst/>
                <a:gdLst>
                  <a:gd name="connsiteX0" fmla="*/ 15145 w 61626"/>
                  <a:gd name="connsiteY0" fmla="*/ 89630 h 89695"/>
                  <a:gd name="connsiteX1" fmla="*/ 14764 w 61626"/>
                  <a:gd name="connsiteY1" fmla="*/ 77343 h 89695"/>
                  <a:gd name="connsiteX2" fmla="*/ 19050 w 61626"/>
                  <a:gd name="connsiteY2" fmla="*/ 77343 h 89695"/>
                  <a:gd name="connsiteX3" fmla="*/ 24193 w 61626"/>
                  <a:gd name="connsiteY3" fmla="*/ 75914 h 89695"/>
                  <a:gd name="connsiteX4" fmla="*/ 27718 w 61626"/>
                  <a:gd name="connsiteY4" fmla="*/ 72676 h 89695"/>
                  <a:gd name="connsiteX5" fmla="*/ 30385 w 61626"/>
                  <a:gd name="connsiteY5" fmla="*/ 66865 h 89695"/>
                  <a:gd name="connsiteX6" fmla="*/ 31051 w 61626"/>
                  <a:gd name="connsiteY6" fmla="*/ 64103 h 89695"/>
                  <a:gd name="connsiteX7" fmla="*/ 0 w 61626"/>
                  <a:gd name="connsiteY7" fmla="*/ 7715 h 89695"/>
                  <a:gd name="connsiteX8" fmla="*/ 16573 w 61626"/>
                  <a:gd name="connsiteY8" fmla="*/ 5715 h 89695"/>
                  <a:gd name="connsiteX9" fmla="*/ 29432 w 61626"/>
                  <a:gd name="connsiteY9" fmla="*/ 32290 h 89695"/>
                  <a:gd name="connsiteX10" fmla="*/ 33718 w 61626"/>
                  <a:gd name="connsiteY10" fmla="*/ 41624 h 89695"/>
                  <a:gd name="connsiteX11" fmla="*/ 37052 w 61626"/>
                  <a:gd name="connsiteY11" fmla="*/ 49149 h 89695"/>
                  <a:gd name="connsiteX12" fmla="*/ 38290 w 61626"/>
                  <a:gd name="connsiteY12" fmla="*/ 40100 h 89695"/>
                  <a:gd name="connsiteX13" fmla="*/ 39814 w 61626"/>
                  <a:gd name="connsiteY13" fmla="*/ 31147 h 89695"/>
                  <a:gd name="connsiteX14" fmla="*/ 45148 w 61626"/>
                  <a:gd name="connsiteY14" fmla="*/ 2000 h 89695"/>
                  <a:gd name="connsiteX15" fmla="*/ 61627 w 61626"/>
                  <a:gd name="connsiteY15" fmla="*/ 0 h 89695"/>
                  <a:gd name="connsiteX16" fmla="*/ 45720 w 61626"/>
                  <a:gd name="connsiteY16" fmla="*/ 65913 h 89695"/>
                  <a:gd name="connsiteX17" fmla="*/ 41148 w 61626"/>
                  <a:gd name="connsiteY17" fmla="*/ 78391 h 89695"/>
                  <a:gd name="connsiteX18" fmla="*/ 34766 w 61626"/>
                  <a:gd name="connsiteY18" fmla="*/ 85820 h 89695"/>
                  <a:gd name="connsiteX19" fmla="*/ 25146 w 61626"/>
                  <a:gd name="connsiteY19" fmla="*/ 89249 h 89695"/>
                  <a:gd name="connsiteX20" fmla="*/ 15240 w 61626"/>
                  <a:gd name="connsiteY20" fmla="*/ 89535 h 89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1626" h="89695">
                    <a:moveTo>
                      <a:pt x="15145" y="89630"/>
                    </a:moveTo>
                    <a:lnTo>
                      <a:pt x="14764" y="77343"/>
                    </a:lnTo>
                    <a:cubicBezTo>
                      <a:pt x="16573" y="77438"/>
                      <a:pt x="18002" y="77438"/>
                      <a:pt x="19050" y="77343"/>
                    </a:cubicBezTo>
                    <a:cubicBezTo>
                      <a:pt x="21050" y="77057"/>
                      <a:pt x="22765" y="76581"/>
                      <a:pt x="24193" y="75914"/>
                    </a:cubicBezTo>
                    <a:cubicBezTo>
                      <a:pt x="25527" y="75152"/>
                      <a:pt x="26765" y="74104"/>
                      <a:pt x="27718" y="72676"/>
                    </a:cubicBezTo>
                    <a:cubicBezTo>
                      <a:pt x="28670" y="71247"/>
                      <a:pt x="29527" y="69342"/>
                      <a:pt x="30385" y="66865"/>
                    </a:cubicBezTo>
                    <a:lnTo>
                      <a:pt x="31051" y="64103"/>
                    </a:lnTo>
                    <a:lnTo>
                      <a:pt x="0" y="7715"/>
                    </a:lnTo>
                    <a:lnTo>
                      <a:pt x="16573" y="5715"/>
                    </a:lnTo>
                    <a:lnTo>
                      <a:pt x="29432" y="32290"/>
                    </a:lnTo>
                    <a:cubicBezTo>
                      <a:pt x="30480" y="34480"/>
                      <a:pt x="31909" y="37624"/>
                      <a:pt x="33718" y="41624"/>
                    </a:cubicBezTo>
                    <a:cubicBezTo>
                      <a:pt x="35528" y="45625"/>
                      <a:pt x="36671" y="48196"/>
                      <a:pt x="37052" y="49149"/>
                    </a:cubicBezTo>
                    <a:cubicBezTo>
                      <a:pt x="37147" y="47815"/>
                      <a:pt x="37624" y="44767"/>
                      <a:pt x="38290" y="40100"/>
                    </a:cubicBezTo>
                    <a:cubicBezTo>
                      <a:pt x="38957" y="35433"/>
                      <a:pt x="39529" y="32480"/>
                      <a:pt x="39814" y="31147"/>
                    </a:cubicBezTo>
                    <a:lnTo>
                      <a:pt x="45148" y="2000"/>
                    </a:lnTo>
                    <a:lnTo>
                      <a:pt x="61627" y="0"/>
                    </a:lnTo>
                    <a:lnTo>
                      <a:pt x="45720" y="65913"/>
                    </a:lnTo>
                    <a:cubicBezTo>
                      <a:pt x="44291" y="71056"/>
                      <a:pt x="42767" y="75152"/>
                      <a:pt x="41148" y="78391"/>
                    </a:cubicBezTo>
                    <a:cubicBezTo>
                      <a:pt x="39433" y="81534"/>
                      <a:pt x="37338" y="84106"/>
                      <a:pt x="34766" y="85820"/>
                    </a:cubicBezTo>
                    <a:cubicBezTo>
                      <a:pt x="32195" y="87630"/>
                      <a:pt x="28956" y="88773"/>
                      <a:pt x="25146" y="89249"/>
                    </a:cubicBezTo>
                    <a:cubicBezTo>
                      <a:pt x="21241" y="89725"/>
                      <a:pt x="18002" y="89821"/>
                      <a:pt x="15240" y="89535"/>
                    </a:cubicBezTo>
                    <a:close/>
                  </a:path>
                </a:pathLst>
              </a:custGeom>
              <a:solidFill>
                <a:srgbClr val="231F20"/>
              </a:solidFill>
              <a:ln w="9525" cap="flat">
                <a:noFill/>
                <a:prstDash val="solid"/>
                <a:miter/>
              </a:ln>
            </p:spPr>
            <p:txBody>
              <a:bodyPr rtlCol="0" anchor="ctr"/>
              <a:lstStyle/>
              <a:p>
                <a:pPr marL="0" marR="0" lvl="0" indent="0" algn="l" defTabSz="913578" rtl="0" eaLnBrk="1" fontAlgn="auto" latinLnBrk="0" hangingPunct="1">
                  <a:lnSpc>
                    <a:spcPct val="100000"/>
                  </a:lnSpc>
                  <a:spcBef>
                    <a:spcPts val="0"/>
                  </a:spcBef>
                  <a:spcAft>
                    <a:spcPts val="0"/>
                  </a:spcAft>
                  <a:buClrTx/>
                  <a:buSzTx/>
                  <a:buFontTx/>
                  <a:buNone/>
                  <a:tabLst/>
                  <a:defRPr/>
                </a:pPr>
                <a:endParaRPr kumimoji="0" lang="en-US" sz="17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424" name="Freeform: Shape 249">
                <a:extLst>
                  <a:ext uri="{FF2B5EF4-FFF2-40B4-BE49-F238E27FC236}">
                    <a16:creationId xmlns:a16="http://schemas.microsoft.com/office/drawing/2014/main" id="{FDFD2A1C-ABBF-F1AC-5EC6-2C6580DB093B}"/>
                  </a:ext>
                </a:extLst>
              </p:cNvPr>
              <p:cNvSpPr/>
              <p:nvPr/>
            </p:nvSpPr>
            <p:spPr>
              <a:xfrm>
                <a:off x="5865857" y="2593550"/>
                <a:ext cx="50509" cy="62743"/>
              </a:xfrm>
              <a:custGeom>
                <a:avLst/>
                <a:gdLst>
                  <a:gd name="connsiteX0" fmla="*/ 13544 w 50509"/>
                  <a:gd name="connsiteY0" fmla="*/ 61925 h 62743"/>
                  <a:gd name="connsiteX1" fmla="*/ 1257 w 50509"/>
                  <a:gd name="connsiteY1" fmla="*/ 56496 h 62743"/>
                  <a:gd name="connsiteX2" fmla="*/ 7257 w 50509"/>
                  <a:gd name="connsiteY2" fmla="*/ 45066 h 62743"/>
                  <a:gd name="connsiteX3" fmla="*/ 17068 w 50509"/>
                  <a:gd name="connsiteY3" fmla="*/ 49923 h 62743"/>
                  <a:gd name="connsiteX4" fmla="*/ 26402 w 50509"/>
                  <a:gd name="connsiteY4" fmla="*/ 50971 h 62743"/>
                  <a:gd name="connsiteX5" fmla="*/ 34023 w 50509"/>
                  <a:gd name="connsiteY5" fmla="*/ 48971 h 62743"/>
                  <a:gd name="connsiteX6" fmla="*/ 36308 w 50509"/>
                  <a:gd name="connsiteY6" fmla="*/ 44208 h 62743"/>
                  <a:gd name="connsiteX7" fmla="*/ 34499 w 50509"/>
                  <a:gd name="connsiteY7" fmla="*/ 40589 h 62743"/>
                  <a:gd name="connsiteX8" fmla="*/ 30593 w 50509"/>
                  <a:gd name="connsiteY8" fmla="*/ 38779 h 62743"/>
                  <a:gd name="connsiteX9" fmla="*/ 24116 w 50509"/>
                  <a:gd name="connsiteY9" fmla="*/ 37731 h 62743"/>
                  <a:gd name="connsiteX10" fmla="*/ 21068 w 50509"/>
                  <a:gd name="connsiteY10" fmla="*/ 37255 h 62743"/>
                  <a:gd name="connsiteX11" fmla="*/ 10686 w 50509"/>
                  <a:gd name="connsiteY11" fmla="*/ 34779 h 62743"/>
                  <a:gd name="connsiteX12" fmla="*/ 3542 w 50509"/>
                  <a:gd name="connsiteY12" fmla="*/ 29921 h 62743"/>
                  <a:gd name="connsiteX13" fmla="*/ 114 w 50509"/>
                  <a:gd name="connsiteY13" fmla="*/ 20682 h 62743"/>
                  <a:gd name="connsiteX14" fmla="*/ 1923 w 50509"/>
                  <a:gd name="connsiteY14" fmla="*/ 10680 h 62743"/>
                  <a:gd name="connsiteX15" fmla="*/ 9353 w 50509"/>
                  <a:gd name="connsiteY15" fmla="*/ 3632 h 62743"/>
                  <a:gd name="connsiteX16" fmla="*/ 21831 w 50509"/>
                  <a:gd name="connsiteY16" fmla="*/ 203 h 62743"/>
                  <a:gd name="connsiteX17" fmla="*/ 34975 w 50509"/>
                  <a:gd name="connsiteY17" fmla="*/ 1155 h 62743"/>
                  <a:gd name="connsiteX18" fmla="*/ 45643 w 50509"/>
                  <a:gd name="connsiteY18" fmla="*/ 6680 h 62743"/>
                  <a:gd name="connsiteX19" fmla="*/ 38499 w 50509"/>
                  <a:gd name="connsiteY19" fmla="*/ 16681 h 62743"/>
                  <a:gd name="connsiteX20" fmla="*/ 22974 w 50509"/>
                  <a:gd name="connsiteY20" fmla="*/ 11823 h 62743"/>
                  <a:gd name="connsiteX21" fmla="*/ 14210 w 50509"/>
                  <a:gd name="connsiteY21" fmla="*/ 18014 h 62743"/>
                  <a:gd name="connsiteX22" fmla="*/ 15734 w 50509"/>
                  <a:gd name="connsiteY22" fmla="*/ 21158 h 62743"/>
                  <a:gd name="connsiteX23" fmla="*/ 19068 w 50509"/>
                  <a:gd name="connsiteY23" fmla="*/ 22682 h 62743"/>
                  <a:gd name="connsiteX24" fmla="*/ 24783 w 50509"/>
                  <a:gd name="connsiteY24" fmla="*/ 23634 h 62743"/>
                  <a:gd name="connsiteX25" fmla="*/ 27641 w 50509"/>
                  <a:gd name="connsiteY25" fmla="*/ 24015 h 62743"/>
                  <a:gd name="connsiteX26" fmla="*/ 38975 w 50509"/>
                  <a:gd name="connsiteY26" fmla="*/ 26587 h 62743"/>
                  <a:gd name="connsiteX27" fmla="*/ 46596 w 50509"/>
                  <a:gd name="connsiteY27" fmla="*/ 31635 h 62743"/>
                  <a:gd name="connsiteX28" fmla="*/ 50406 w 50509"/>
                  <a:gd name="connsiteY28" fmla="*/ 41541 h 62743"/>
                  <a:gd name="connsiteX29" fmla="*/ 48405 w 50509"/>
                  <a:gd name="connsiteY29" fmla="*/ 51733 h 62743"/>
                  <a:gd name="connsiteX30" fmla="*/ 40499 w 50509"/>
                  <a:gd name="connsiteY30" fmla="*/ 58972 h 62743"/>
                  <a:gd name="connsiteX31" fmla="*/ 27355 w 50509"/>
                  <a:gd name="connsiteY31" fmla="*/ 62496 h 62743"/>
                  <a:gd name="connsiteX32" fmla="*/ 13258 w 50509"/>
                  <a:gd name="connsiteY32" fmla="*/ 61734 h 627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50509" h="62743">
                    <a:moveTo>
                      <a:pt x="13544" y="61925"/>
                    </a:moveTo>
                    <a:cubicBezTo>
                      <a:pt x="9353" y="60972"/>
                      <a:pt x="5257" y="59162"/>
                      <a:pt x="1257" y="56496"/>
                    </a:cubicBezTo>
                    <a:lnTo>
                      <a:pt x="7257" y="45066"/>
                    </a:lnTo>
                    <a:cubicBezTo>
                      <a:pt x="10877" y="47256"/>
                      <a:pt x="14115" y="48971"/>
                      <a:pt x="17068" y="49923"/>
                    </a:cubicBezTo>
                    <a:cubicBezTo>
                      <a:pt x="20021" y="50971"/>
                      <a:pt x="23164" y="51257"/>
                      <a:pt x="26402" y="50971"/>
                    </a:cubicBezTo>
                    <a:cubicBezTo>
                      <a:pt x="29736" y="50685"/>
                      <a:pt x="32213" y="50018"/>
                      <a:pt x="34023" y="48971"/>
                    </a:cubicBezTo>
                    <a:cubicBezTo>
                      <a:pt x="35737" y="47923"/>
                      <a:pt x="36594" y="46399"/>
                      <a:pt x="36308" y="44208"/>
                    </a:cubicBezTo>
                    <a:cubicBezTo>
                      <a:pt x="36118" y="42684"/>
                      <a:pt x="35547" y="41446"/>
                      <a:pt x="34499" y="40589"/>
                    </a:cubicBezTo>
                    <a:cubicBezTo>
                      <a:pt x="33451" y="39732"/>
                      <a:pt x="32117" y="39160"/>
                      <a:pt x="30593" y="38779"/>
                    </a:cubicBezTo>
                    <a:cubicBezTo>
                      <a:pt x="29070" y="38398"/>
                      <a:pt x="26879" y="38017"/>
                      <a:pt x="24116" y="37731"/>
                    </a:cubicBezTo>
                    <a:lnTo>
                      <a:pt x="21068" y="37255"/>
                    </a:lnTo>
                    <a:cubicBezTo>
                      <a:pt x="16973" y="36588"/>
                      <a:pt x="13449" y="35731"/>
                      <a:pt x="10686" y="34779"/>
                    </a:cubicBezTo>
                    <a:cubicBezTo>
                      <a:pt x="7924" y="33826"/>
                      <a:pt x="5543" y="32112"/>
                      <a:pt x="3542" y="29921"/>
                    </a:cubicBezTo>
                    <a:cubicBezTo>
                      <a:pt x="1542" y="27730"/>
                      <a:pt x="495" y="24587"/>
                      <a:pt x="114" y="20682"/>
                    </a:cubicBezTo>
                    <a:cubicBezTo>
                      <a:pt x="-267" y="16871"/>
                      <a:pt x="304" y="13538"/>
                      <a:pt x="1923" y="10680"/>
                    </a:cubicBezTo>
                    <a:cubicBezTo>
                      <a:pt x="3447" y="7823"/>
                      <a:pt x="5924" y="5442"/>
                      <a:pt x="9353" y="3632"/>
                    </a:cubicBezTo>
                    <a:cubicBezTo>
                      <a:pt x="12782" y="1822"/>
                      <a:pt x="16877" y="679"/>
                      <a:pt x="21831" y="203"/>
                    </a:cubicBezTo>
                    <a:cubicBezTo>
                      <a:pt x="26593" y="-274"/>
                      <a:pt x="30974" y="108"/>
                      <a:pt x="34975" y="1155"/>
                    </a:cubicBezTo>
                    <a:cubicBezTo>
                      <a:pt x="38975" y="2203"/>
                      <a:pt x="42595" y="4108"/>
                      <a:pt x="45643" y="6680"/>
                    </a:cubicBezTo>
                    <a:lnTo>
                      <a:pt x="38499" y="16681"/>
                    </a:lnTo>
                    <a:cubicBezTo>
                      <a:pt x="33832" y="12871"/>
                      <a:pt x="28689" y="11252"/>
                      <a:pt x="22974" y="11823"/>
                    </a:cubicBezTo>
                    <a:cubicBezTo>
                      <a:pt x="16782" y="12395"/>
                      <a:pt x="13925" y="14490"/>
                      <a:pt x="14210" y="18014"/>
                    </a:cubicBezTo>
                    <a:cubicBezTo>
                      <a:pt x="14306" y="19348"/>
                      <a:pt x="14877" y="20396"/>
                      <a:pt x="15734" y="21158"/>
                    </a:cubicBezTo>
                    <a:cubicBezTo>
                      <a:pt x="16592" y="21920"/>
                      <a:pt x="17735" y="22396"/>
                      <a:pt x="19068" y="22682"/>
                    </a:cubicBezTo>
                    <a:cubicBezTo>
                      <a:pt x="20402" y="22967"/>
                      <a:pt x="22307" y="23349"/>
                      <a:pt x="24783" y="23634"/>
                    </a:cubicBezTo>
                    <a:lnTo>
                      <a:pt x="27641" y="24015"/>
                    </a:lnTo>
                    <a:cubicBezTo>
                      <a:pt x="32213" y="24682"/>
                      <a:pt x="35927" y="25539"/>
                      <a:pt x="38975" y="26587"/>
                    </a:cubicBezTo>
                    <a:cubicBezTo>
                      <a:pt x="42024" y="27635"/>
                      <a:pt x="44500" y="29254"/>
                      <a:pt x="46596" y="31635"/>
                    </a:cubicBezTo>
                    <a:cubicBezTo>
                      <a:pt x="48691" y="34017"/>
                      <a:pt x="49929" y="37350"/>
                      <a:pt x="50406" y="41541"/>
                    </a:cubicBezTo>
                    <a:cubicBezTo>
                      <a:pt x="50787" y="45351"/>
                      <a:pt x="50120" y="48780"/>
                      <a:pt x="48405" y="51733"/>
                    </a:cubicBezTo>
                    <a:cubicBezTo>
                      <a:pt x="46691" y="54686"/>
                      <a:pt x="44119" y="57162"/>
                      <a:pt x="40499" y="58972"/>
                    </a:cubicBezTo>
                    <a:cubicBezTo>
                      <a:pt x="36880" y="60782"/>
                      <a:pt x="32499" y="62020"/>
                      <a:pt x="27355" y="62496"/>
                    </a:cubicBezTo>
                    <a:cubicBezTo>
                      <a:pt x="22212" y="62972"/>
                      <a:pt x="17449" y="62782"/>
                      <a:pt x="13258" y="61734"/>
                    </a:cubicBezTo>
                    <a:close/>
                  </a:path>
                </a:pathLst>
              </a:custGeom>
              <a:solidFill>
                <a:srgbClr val="231F20"/>
              </a:solidFill>
              <a:ln w="9525" cap="flat">
                <a:noFill/>
                <a:prstDash val="solid"/>
                <a:miter/>
              </a:ln>
            </p:spPr>
            <p:txBody>
              <a:bodyPr rtlCol="0" anchor="ctr"/>
              <a:lstStyle/>
              <a:p>
                <a:pPr marL="0" marR="0" lvl="0" indent="0" algn="l" defTabSz="913578" rtl="0" eaLnBrk="1" fontAlgn="auto" latinLnBrk="0" hangingPunct="1">
                  <a:lnSpc>
                    <a:spcPct val="100000"/>
                  </a:lnSpc>
                  <a:spcBef>
                    <a:spcPts val="0"/>
                  </a:spcBef>
                  <a:spcAft>
                    <a:spcPts val="0"/>
                  </a:spcAft>
                  <a:buClrTx/>
                  <a:buSzTx/>
                  <a:buFontTx/>
                  <a:buNone/>
                  <a:tabLst/>
                  <a:defRPr/>
                </a:pPr>
                <a:endParaRPr kumimoji="0" lang="en-US" sz="17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425" name="Freeform: Shape 250">
                <a:extLst>
                  <a:ext uri="{FF2B5EF4-FFF2-40B4-BE49-F238E27FC236}">
                    <a16:creationId xmlns:a16="http://schemas.microsoft.com/office/drawing/2014/main" id="{DD30A5AE-576B-2FDD-91ED-0007EB7AAD86}"/>
                  </a:ext>
                </a:extLst>
              </p:cNvPr>
              <p:cNvSpPr/>
              <p:nvPr/>
            </p:nvSpPr>
            <p:spPr>
              <a:xfrm>
                <a:off x="5918358" y="2575845"/>
                <a:ext cx="40004" cy="76081"/>
              </a:xfrm>
              <a:custGeom>
                <a:avLst/>
                <a:gdLst>
                  <a:gd name="connsiteX0" fmla="*/ 15716 w 40004"/>
                  <a:gd name="connsiteY0" fmla="*/ 72581 h 76081"/>
                  <a:gd name="connsiteX1" fmla="*/ 10858 w 40004"/>
                  <a:gd name="connsiteY1" fmla="*/ 60674 h 76081"/>
                  <a:gd name="connsiteX2" fmla="*/ 8477 w 40004"/>
                  <a:gd name="connsiteY2" fmla="*/ 27432 h 76081"/>
                  <a:gd name="connsiteX3" fmla="*/ 857 w 40004"/>
                  <a:gd name="connsiteY3" fmla="*/ 28004 h 76081"/>
                  <a:gd name="connsiteX4" fmla="*/ 0 w 40004"/>
                  <a:gd name="connsiteY4" fmla="*/ 16383 h 76081"/>
                  <a:gd name="connsiteX5" fmla="*/ 8382 w 40004"/>
                  <a:gd name="connsiteY5" fmla="*/ 15812 h 76081"/>
                  <a:gd name="connsiteX6" fmla="*/ 8191 w 40004"/>
                  <a:gd name="connsiteY6" fmla="*/ 2191 h 76081"/>
                  <a:gd name="connsiteX7" fmla="*/ 22003 w 40004"/>
                  <a:gd name="connsiteY7" fmla="*/ 0 h 76081"/>
                  <a:gd name="connsiteX8" fmla="*/ 23050 w 40004"/>
                  <a:gd name="connsiteY8" fmla="*/ 14764 h 76081"/>
                  <a:gd name="connsiteX9" fmla="*/ 35052 w 40004"/>
                  <a:gd name="connsiteY9" fmla="*/ 13907 h 76081"/>
                  <a:gd name="connsiteX10" fmla="*/ 35909 w 40004"/>
                  <a:gd name="connsiteY10" fmla="*/ 25527 h 76081"/>
                  <a:gd name="connsiteX11" fmla="*/ 23908 w 40004"/>
                  <a:gd name="connsiteY11" fmla="*/ 26384 h 76081"/>
                  <a:gd name="connsiteX12" fmla="*/ 26003 w 40004"/>
                  <a:gd name="connsiteY12" fmla="*/ 55436 h 76081"/>
                  <a:gd name="connsiteX13" fmla="*/ 27813 w 40004"/>
                  <a:gd name="connsiteY13" fmla="*/ 61055 h 76081"/>
                  <a:gd name="connsiteX14" fmla="*/ 32385 w 40004"/>
                  <a:gd name="connsiteY14" fmla="*/ 62579 h 76081"/>
                  <a:gd name="connsiteX15" fmla="*/ 38005 w 40004"/>
                  <a:gd name="connsiteY15" fmla="*/ 61532 h 76081"/>
                  <a:gd name="connsiteX16" fmla="*/ 40005 w 40004"/>
                  <a:gd name="connsiteY16" fmla="*/ 73343 h 76081"/>
                  <a:gd name="connsiteX17" fmla="*/ 27432 w 40004"/>
                  <a:gd name="connsiteY17" fmla="*/ 76010 h 76081"/>
                  <a:gd name="connsiteX18" fmla="*/ 15621 w 40004"/>
                  <a:gd name="connsiteY18" fmla="*/ 72771 h 76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0004" h="76081">
                    <a:moveTo>
                      <a:pt x="15716" y="72581"/>
                    </a:moveTo>
                    <a:cubicBezTo>
                      <a:pt x="12859" y="70009"/>
                      <a:pt x="11239" y="66104"/>
                      <a:pt x="10858" y="60674"/>
                    </a:cubicBezTo>
                    <a:lnTo>
                      <a:pt x="8477" y="27432"/>
                    </a:lnTo>
                    <a:lnTo>
                      <a:pt x="857" y="28004"/>
                    </a:lnTo>
                    <a:lnTo>
                      <a:pt x="0" y="16383"/>
                    </a:lnTo>
                    <a:lnTo>
                      <a:pt x="8382" y="15812"/>
                    </a:lnTo>
                    <a:lnTo>
                      <a:pt x="8191" y="2191"/>
                    </a:lnTo>
                    <a:lnTo>
                      <a:pt x="22003" y="0"/>
                    </a:lnTo>
                    <a:lnTo>
                      <a:pt x="23050" y="14764"/>
                    </a:lnTo>
                    <a:lnTo>
                      <a:pt x="35052" y="13907"/>
                    </a:lnTo>
                    <a:lnTo>
                      <a:pt x="35909" y="25527"/>
                    </a:lnTo>
                    <a:lnTo>
                      <a:pt x="23908" y="26384"/>
                    </a:lnTo>
                    <a:lnTo>
                      <a:pt x="26003" y="55436"/>
                    </a:lnTo>
                    <a:cubicBezTo>
                      <a:pt x="26194" y="58007"/>
                      <a:pt x="26765" y="59912"/>
                      <a:pt x="27813" y="61055"/>
                    </a:cubicBezTo>
                    <a:cubicBezTo>
                      <a:pt x="28861" y="62198"/>
                      <a:pt x="30385" y="62675"/>
                      <a:pt x="32385" y="62579"/>
                    </a:cubicBezTo>
                    <a:cubicBezTo>
                      <a:pt x="34004" y="62484"/>
                      <a:pt x="35909" y="62103"/>
                      <a:pt x="38005" y="61532"/>
                    </a:cubicBezTo>
                    <a:lnTo>
                      <a:pt x="40005" y="73343"/>
                    </a:lnTo>
                    <a:cubicBezTo>
                      <a:pt x="35814" y="74867"/>
                      <a:pt x="31623" y="75724"/>
                      <a:pt x="27432" y="76010"/>
                    </a:cubicBezTo>
                    <a:cubicBezTo>
                      <a:pt x="22384" y="76391"/>
                      <a:pt x="18479" y="75248"/>
                      <a:pt x="15621" y="72771"/>
                    </a:cubicBezTo>
                    <a:close/>
                  </a:path>
                </a:pathLst>
              </a:custGeom>
              <a:solidFill>
                <a:srgbClr val="231F20"/>
              </a:solidFill>
              <a:ln w="9525" cap="flat">
                <a:noFill/>
                <a:prstDash val="solid"/>
                <a:miter/>
              </a:ln>
            </p:spPr>
            <p:txBody>
              <a:bodyPr rtlCol="0" anchor="ctr"/>
              <a:lstStyle/>
              <a:p>
                <a:pPr marL="0" marR="0" lvl="0" indent="0" algn="l" defTabSz="913578" rtl="0" eaLnBrk="1" fontAlgn="auto" latinLnBrk="0" hangingPunct="1">
                  <a:lnSpc>
                    <a:spcPct val="100000"/>
                  </a:lnSpc>
                  <a:spcBef>
                    <a:spcPts val="0"/>
                  </a:spcBef>
                  <a:spcAft>
                    <a:spcPts val="0"/>
                  </a:spcAft>
                  <a:buClrTx/>
                  <a:buSzTx/>
                  <a:buFontTx/>
                  <a:buNone/>
                  <a:tabLst/>
                  <a:defRPr/>
                </a:pPr>
                <a:endParaRPr kumimoji="0" lang="en-US" sz="17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426" name="Freeform: Shape 251">
                <a:extLst>
                  <a:ext uri="{FF2B5EF4-FFF2-40B4-BE49-F238E27FC236}">
                    <a16:creationId xmlns:a16="http://schemas.microsoft.com/office/drawing/2014/main" id="{D1120097-A30C-9EBC-E234-B4DF9E81A45D}"/>
                  </a:ext>
                </a:extLst>
              </p:cNvPr>
              <p:cNvSpPr/>
              <p:nvPr/>
            </p:nvSpPr>
            <p:spPr>
              <a:xfrm>
                <a:off x="5962192" y="2586467"/>
                <a:ext cx="55173" cy="62496"/>
              </a:xfrm>
              <a:custGeom>
                <a:avLst/>
                <a:gdLst>
                  <a:gd name="connsiteX0" fmla="*/ 8935 w 55173"/>
                  <a:gd name="connsiteY0" fmla="*/ 55767 h 62496"/>
                  <a:gd name="connsiteX1" fmla="*/ 77 w 55173"/>
                  <a:gd name="connsiteY1" fmla="*/ 32621 h 62496"/>
                  <a:gd name="connsiteX2" fmla="*/ 3029 w 55173"/>
                  <a:gd name="connsiteY2" fmla="*/ 15000 h 62496"/>
                  <a:gd name="connsiteX3" fmla="*/ 12745 w 55173"/>
                  <a:gd name="connsiteY3" fmla="*/ 4141 h 62496"/>
                  <a:gd name="connsiteX4" fmla="*/ 26937 w 55173"/>
                  <a:gd name="connsiteY4" fmla="*/ 46 h 62496"/>
                  <a:gd name="connsiteX5" fmla="*/ 42368 w 55173"/>
                  <a:gd name="connsiteY5" fmla="*/ 3284 h 62496"/>
                  <a:gd name="connsiteX6" fmla="*/ 51607 w 55173"/>
                  <a:gd name="connsiteY6" fmla="*/ 13381 h 62496"/>
                  <a:gd name="connsiteX7" fmla="*/ 55131 w 55173"/>
                  <a:gd name="connsiteY7" fmla="*/ 27859 h 62496"/>
                  <a:gd name="connsiteX8" fmla="*/ 55131 w 55173"/>
                  <a:gd name="connsiteY8" fmla="*/ 34145 h 62496"/>
                  <a:gd name="connsiteX9" fmla="*/ 16745 w 55173"/>
                  <a:gd name="connsiteY9" fmla="*/ 36050 h 62496"/>
                  <a:gd name="connsiteX10" fmla="*/ 20651 w 55173"/>
                  <a:gd name="connsiteY10" fmla="*/ 47004 h 62496"/>
                  <a:gd name="connsiteX11" fmla="*/ 31224 w 55173"/>
                  <a:gd name="connsiteY11" fmla="*/ 50624 h 62496"/>
                  <a:gd name="connsiteX12" fmla="*/ 36938 w 55173"/>
                  <a:gd name="connsiteY12" fmla="*/ 49671 h 62496"/>
                  <a:gd name="connsiteX13" fmla="*/ 41891 w 55173"/>
                  <a:gd name="connsiteY13" fmla="*/ 47385 h 62496"/>
                  <a:gd name="connsiteX14" fmla="*/ 47702 w 55173"/>
                  <a:gd name="connsiteY14" fmla="*/ 43194 h 62496"/>
                  <a:gd name="connsiteX15" fmla="*/ 54560 w 55173"/>
                  <a:gd name="connsiteY15" fmla="*/ 53005 h 62496"/>
                  <a:gd name="connsiteX16" fmla="*/ 44177 w 55173"/>
                  <a:gd name="connsiteY16" fmla="*/ 59672 h 62496"/>
                  <a:gd name="connsiteX17" fmla="*/ 31033 w 55173"/>
                  <a:gd name="connsiteY17" fmla="*/ 62435 h 62496"/>
                  <a:gd name="connsiteX18" fmla="*/ 9030 w 55173"/>
                  <a:gd name="connsiteY18" fmla="*/ 55672 h 62496"/>
                  <a:gd name="connsiteX19" fmla="*/ 39701 w 55173"/>
                  <a:gd name="connsiteY19" fmla="*/ 24144 h 62496"/>
                  <a:gd name="connsiteX20" fmla="*/ 36081 w 55173"/>
                  <a:gd name="connsiteY20" fmla="*/ 14238 h 62496"/>
                  <a:gd name="connsiteX21" fmla="*/ 27413 w 55173"/>
                  <a:gd name="connsiteY21" fmla="*/ 11381 h 62496"/>
                  <a:gd name="connsiteX22" fmla="*/ 19222 w 55173"/>
                  <a:gd name="connsiteY22" fmla="*/ 15095 h 62496"/>
                  <a:gd name="connsiteX23" fmla="*/ 16365 w 55173"/>
                  <a:gd name="connsiteY23" fmla="*/ 25287 h 62496"/>
                  <a:gd name="connsiteX24" fmla="*/ 39796 w 55173"/>
                  <a:gd name="connsiteY24" fmla="*/ 24144 h 624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55173" h="62496">
                    <a:moveTo>
                      <a:pt x="8935" y="55767"/>
                    </a:moveTo>
                    <a:cubicBezTo>
                      <a:pt x="3506" y="50814"/>
                      <a:pt x="553" y="43099"/>
                      <a:pt x="77" y="32621"/>
                    </a:cubicBezTo>
                    <a:cubicBezTo>
                      <a:pt x="-304" y="25668"/>
                      <a:pt x="743" y="19762"/>
                      <a:pt x="3029" y="15000"/>
                    </a:cubicBezTo>
                    <a:cubicBezTo>
                      <a:pt x="5316" y="10237"/>
                      <a:pt x="8554" y="6618"/>
                      <a:pt x="12745" y="4141"/>
                    </a:cubicBezTo>
                    <a:cubicBezTo>
                      <a:pt x="16936" y="1665"/>
                      <a:pt x="21699" y="332"/>
                      <a:pt x="26937" y="46"/>
                    </a:cubicBezTo>
                    <a:cubicBezTo>
                      <a:pt x="33033" y="-240"/>
                      <a:pt x="38177" y="808"/>
                      <a:pt x="42368" y="3284"/>
                    </a:cubicBezTo>
                    <a:cubicBezTo>
                      <a:pt x="46463" y="5761"/>
                      <a:pt x="49607" y="9095"/>
                      <a:pt x="51607" y="13381"/>
                    </a:cubicBezTo>
                    <a:cubicBezTo>
                      <a:pt x="53607" y="17667"/>
                      <a:pt x="54845" y="22525"/>
                      <a:pt x="55131" y="27859"/>
                    </a:cubicBezTo>
                    <a:cubicBezTo>
                      <a:pt x="55226" y="29954"/>
                      <a:pt x="55131" y="32050"/>
                      <a:pt x="55131" y="34145"/>
                    </a:cubicBezTo>
                    <a:lnTo>
                      <a:pt x="16745" y="36050"/>
                    </a:lnTo>
                    <a:cubicBezTo>
                      <a:pt x="16936" y="40718"/>
                      <a:pt x="18269" y="44432"/>
                      <a:pt x="20651" y="47004"/>
                    </a:cubicBezTo>
                    <a:cubicBezTo>
                      <a:pt x="23032" y="49576"/>
                      <a:pt x="26556" y="50814"/>
                      <a:pt x="31224" y="50624"/>
                    </a:cubicBezTo>
                    <a:cubicBezTo>
                      <a:pt x="33319" y="50528"/>
                      <a:pt x="35224" y="50147"/>
                      <a:pt x="36938" y="49671"/>
                    </a:cubicBezTo>
                    <a:cubicBezTo>
                      <a:pt x="38653" y="49195"/>
                      <a:pt x="40272" y="48337"/>
                      <a:pt x="41891" y="47385"/>
                    </a:cubicBezTo>
                    <a:cubicBezTo>
                      <a:pt x="43511" y="46433"/>
                      <a:pt x="45416" y="45004"/>
                      <a:pt x="47702" y="43194"/>
                    </a:cubicBezTo>
                    <a:lnTo>
                      <a:pt x="54560" y="53005"/>
                    </a:lnTo>
                    <a:cubicBezTo>
                      <a:pt x="51131" y="55862"/>
                      <a:pt x="47702" y="58053"/>
                      <a:pt x="44177" y="59672"/>
                    </a:cubicBezTo>
                    <a:cubicBezTo>
                      <a:pt x="40653" y="61291"/>
                      <a:pt x="36272" y="62244"/>
                      <a:pt x="31033" y="62435"/>
                    </a:cubicBezTo>
                    <a:cubicBezTo>
                      <a:pt x="21794" y="62911"/>
                      <a:pt x="14459" y="60625"/>
                      <a:pt x="9030" y="55672"/>
                    </a:cubicBezTo>
                    <a:close/>
                    <a:moveTo>
                      <a:pt x="39701" y="24144"/>
                    </a:moveTo>
                    <a:cubicBezTo>
                      <a:pt x="39320" y="19572"/>
                      <a:pt x="38082" y="16333"/>
                      <a:pt x="36081" y="14238"/>
                    </a:cubicBezTo>
                    <a:cubicBezTo>
                      <a:pt x="33986" y="12143"/>
                      <a:pt x="31128" y="11285"/>
                      <a:pt x="27413" y="11381"/>
                    </a:cubicBezTo>
                    <a:cubicBezTo>
                      <a:pt x="23889" y="11571"/>
                      <a:pt x="21127" y="12809"/>
                      <a:pt x="19222" y="15095"/>
                    </a:cubicBezTo>
                    <a:cubicBezTo>
                      <a:pt x="17222" y="17381"/>
                      <a:pt x="16269" y="20810"/>
                      <a:pt x="16365" y="25287"/>
                    </a:cubicBezTo>
                    <a:lnTo>
                      <a:pt x="39796" y="24144"/>
                    </a:lnTo>
                    <a:close/>
                  </a:path>
                </a:pathLst>
              </a:custGeom>
              <a:solidFill>
                <a:srgbClr val="231F20"/>
              </a:solidFill>
              <a:ln w="9525" cap="flat">
                <a:noFill/>
                <a:prstDash val="solid"/>
                <a:miter/>
              </a:ln>
            </p:spPr>
            <p:txBody>
              <a:bodyPr rtlCol="0" anchor="ctr"/>
              <a:lstStyle/>
              <a:p>
                <a:pPr marL="0" marR="0" lvl="0" indent="0" algn="l" defTabSz="913578" rtl="0" eaLnBrk="1" fontAlgn="auto" latinLnBrk="0" hangingPunct="1">
                  <a:lnSpc>
                    <a:spcPct val="100000"/>
                  </a:lnSpc>
                  <a:spcBef>
                    <a:spcPts val="0"/>
                  </a:spcBef>
                  <a:spcAft>
                    <a:spcPts val="0"/>
                  </a:spcAft>
                  <a:buClrTx/>
                  <a:buSzTx/>
                  <a:buFontTx/>
                  <a:buNone/>
                  <a:tabLst/>
                  <a:defRPr/>
                </a:pPr>
                <a:endParaRPr kumimoji="0" lang="en-US" sz="17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427" name="Freeform: Shape 252">
                <a:extLst>
                  <a:ext uri="{FF2B5EF4-FFF2-40B4-BE49-F238E27FC236}">
                    <a16:creationId xmlns:a16="http://schemas.microsoft.com/office/drawing/2014/main" id="{8073E620-FF19-13F5-8428-E537C0FA71FC}"/>
                  </a:ext>
                </a:extLst>
              </p:cNvPr>
              <p:cNvSpPr/>
              <p:nvPr/>
            </p:nvSpPr>
            <p:spPr>
              <a:xfrm>
                <a:off x="6028753" y="2583557"/>
                <a:ext cx="88201" cy="62677"/>
              </a:xfrm>
              <a:custGeom>
                <a:avLst/>
                <a:gdLst>
                  <a:gd name="connsiteX0" fmla="*/ 667 w 88201"/>
                  <a:gd name="connsiteY0" fmla="*/ 15815 h 62677"/>
                  <a:gd name="connsiteX1" fmla="*/ 381 w 88201"/>
                  <a:gd name="connsiteY1" fmla="*/ 7909 h 62677"/>
                  <a:gd name="connsiteX2" fmla="*/ 0 w 88201"/>
                  <a:gd name="connsiteY2" fmla="*/ 2385 h 62677"/>
                  <a:gd name="connsiteX3" fmla="*/ 14954 w 88201"/>
                  <a:gd name="connsiteY3" fmla="*/ 2099 h 62677"/>
                  <a:gd name="connsiteX4" fmla="*/ 15526 w 88201"/>
                  <a:gd name="connsiteY4" fmla="*/ 7052 h 62677"/>
                  <a:gd name="connsiteX5" fmla="*/ 15907 w 88201"/>
                  <a:gd name="connsiteY5" fmla="*/ 12957 h 62677"/>
                  <a:gd name="connsiteX6" fmla="*/ 16097 w 88201"/>
                  <a:gd name="connsiteY6" fmla="*/ 12957 h 62677"/>
                  <a:gd name="connsiteX7" fmla="*/ 23146 w 88201"/>
                  <a:gd name="connsiteY7" fmla="*/ 3718 h 62677"/>
                  <a:gd name="connsiteX8" fmla="*/ 33433 w 88201"/>
                  <a:gd name="connsiteY8" fmla="*/ 575 h 62677"/>
                  <a:gd name="connsiteX9" fmla="*/ 44577 w 88201"/>
                  <a:gd name="connsiteY9" fmla="*/ 3527 h 62677"/>
                  <a:gd name="connsiteX10" fmla="*/ 50482 w 88201"/>
                  <a:gd name="connsiteY10" fmla="*/ 12481 h 62677"/>
                  <a:gd name="connsiteX11" fmla="*/ 50863 w 88201"/>
                  <a:gd name="connsiteY11" fmla="*/ 12481 h 62677"/>
                  <a:gd name="connsiteX12" fmla="*/ 58198 w 88201"/>
                  <a:gd name="connsiteY12" fmla="*/ 2956 h 62677"/>
                  <a:gd name="connsiteX13" fmla="*/ 69056 w 88201"/>
                  <a:gd name="connsiteY13" fmla="*/ 3 h 62677"/>
                  <a:gd name="connsiteX14" fmla="*/ 82868 w 88201"/>
                  <a:gd name="connsiteY14" fmla="*/ 6099 h 62677"/>
                  <a:gd name="connsiteX15" fmla="*/ 87535 w 88201"/>
                  <a:gd name="connsiteY15" fmla="*/ 22958 h 62677"/>
                  <a:gd name="connsiteX16" fmla="*/ 88202 w 88201"/>
                  <a:gd name="connsiteY16" fmla="*/ 61249 h 62677"/>
                  <a:gd name="connsiteX17" fmla="*/ 72676 w 88201"/>
                  <a:gd name="connsiteY17" fmla="*/ 61535 h 62677"/>
                  <a:gd name="connsiteX18" fmla="*/ 72104 w 88201"/>
                  <a:gd name="connsiteY18" fmla="*/ 27721 h 62677"/>
                  <a:gd name="connsiteX19" fmla="*/ 70009 w 88201"/>
                  <a:gd name="connsiteY19" fmla="*/ 17243 h 62677"/>
                  <a:gd name="connsiteX20" fmla="*/ 63246 w 88201"/>
                  <a:gd name="connsiteY20" fmla="*/ 13624 h 62677"/>
                  <a:gd name="connsiteX21" fmla="*/ 57626 w 88201"/>
                  <a:gd name="connsiteY21" fmla="*/ 15624 h 62677"/>
                  <a:gd name="connsiteX22" fmla="*/ 53721 w 88201"/>
                  <a:gd name="connsiteY22" fmla="*/ 20958 h 62677"/>
                  <a:gd name="connsiteX23" fmla="*/ 52292 w 88201"/>
                  <a:gd name="connsiteY23" fmla="*/ 28673 h 62677"/>
                  <a:gd name="connsiteX24" fmla="*/ 52864 w 88201"/>
                  <a:gd name="connsiteY24" fmla="*/ 61820 h 62677"/>
                  <a:gd name="connsiteX25" fmla="*/ 37338 w 88201"/>
                  <a:gd name="connsiteY25" fmla="*/ 62106 h 62677"/>
                  <a:gd name="connsiteX26" fmla="*/ 36766 w 88201"/>
                  <a:gd name="connsiteY26" fmla="*/ 28293 h 62677"/>
                  <a:gd name="connsiteX27" fmla="*/ 34671 w 88201"/>
                  <a:gd name="connsiteY27" fmla="*/ 17815 h 62677"/>
                  <a:gd name="connsiteX28" fmla="*/ 27908 w 88201"/>
                  <a:gd name="connsiteY28" fmla="*/ 14195 h 62677"/>
                  <a:gd name="connsiteX29" fmla="*/ 22193 w 88201"/>
                  <a:gd name="connsiteY29" fmla="*/ 16291 h 62677"/>
                  <a:gd name="connsiteX30" fmla="*/ 18288 w 88201"/>
                  <a:gd name="connsiteY30" fmla="*/ 21911 h 62677"/>
                  <a:gd name="connsiteX31" fmla="*/ 16954 w 88201"/>
                  <a:gd name="connsiteY31" fmla="*/ 30007 h 62677"/>
                  <a:gd name="connsiteX32" fmla="*/ 17526 w 88201"/>
                  <a:gd name="connsiteY32" fmla="*/ 62392 h 62677"/>
                  <a:gd name="connsiteX33" fmla="*/ 1810 w 88201"/>
                  <a:gd name="connsiteY33" fmla="*/ 62678 h 62677"/>
                  <a:gd name="connsiteX34" fmla="*/ 1048 w 88201"/>
                  <a:gd name="connsiteY34" fmla="*/ 15815 h 626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88201" h="62677">
                    <a:moveTo>
                      <a:pt x="667" y="15815"/>
                    </a:moveTo>
                    <a:cubicBezTo>
                      <a:pt x="667" y="13243"/>
                      <a:pt x="571" y="10576"/>
                      <a:pt x="381" y="7909"/>
                    </a:cubicBezTo>
                    <a:cubicBezTo>
                      <a:pt x="286" y="5242"/>
                      <a:pt x="95" y="3337"/>
                      <a:pt x="0" y="2385"/>
                    </a:cubicBezTo>
                    <a:lnTo>
                      <a:pt x="14954" y="2099"/>
                    </a:lnTo>
                    <a:cubicBezTo>
                      <a:pt x="15145" y="2956"/>
                      <a:pt x="15335" y="4575"/>
                      <a:pt x="15526" y="7052"/>
                    </a:cubicBezTo>
                    <a:cubicBezTo>
                      <a:pt x="15716" y="9528"/>
                      <a:pt x="15812" y="11528"/>
                      <a:pt x="15907" y="12957"/>
                    </a:cubicBezTo>
                    <a:lnTo>
                      <a:pt x="16097" y="12957"/>
                    </a:lnTo>
                    <a:cubicBezTo>
                      <a:pt x="17907" y="8766"/>
                      <a:pt x="20288" y="5718"/>
                      <a:pt x="23146" y="3718"/>
                    </a:cubicBezTo>
                    <a:cubicBezTo>
                      <a:pt x="26003" y="1718"/>
                      <a:pt x="29432" y="670"/>
                      <a:pt x="33433" y="575"/>
                    </a:cubicBezTo>
                    <a:cubicBezTo>
                      <a:pt x="38005" y="575"/>
                      <a:pt x="41720" y="1432"/>
                      <a:pt x="44577" y="3527"/>
                    </a:cubicBezTo>
                    <a:cubicBezTo>
                      <a:pt x="47435" y="5528"/>
                      <a:pt x="49435" y="8480"/>
                      <a:pt x="50482" y="12481"/>
                    </a:cubicBezTo>
                    <a:lnTo>
                      <a:pt x="50863" y="12481"/>
                    </a:lnTo>
                    <a:cubicBezTo>
                      <a:pt x="52864" y="8004"/>
                      <a:pt x="55245" y="4861"/>
                      <a:pt x="58198" y="2956"/>
                    </a:cubicBezTo>
                    <a:cubicBezTo>
                      <a:pt x="61055" y="1051"/>
                      <a:pt x="64675" y="98"/>
                      <a:pt x="69056" y="3"/>
                    </a:cubicBezTo>
                    <a:cubicBezTo>
                      <a:pt x="75343" y="-92"/>
                      <a:pt x="79915" y="1908"/>
                      <a:pt x="82868" y="6099"/>
                    </a:cubicBezTo>
                    <a:cubicBezTo>
                      <a:pt x="85820" y="10290"/>
                      <a:pt x="87344" y="15910"/>
                      <a:pt x="87535" y="22958"/>
                    </a:cubicBezTo>
                    <a:lnTo>
                      <a:pt x="88202" y="61249"/>
                    </a:lnTo>
                    <a:lnTo>
                      <a:pt x="72676" y="61535"/>
                    </a:lnTo>
                    <a:lnTo>
                      <a:pt x="72104" y="27721"/>
                    </a:lnTo>
                    <a:cubicBezTo>
                      <a:pt x="72104" y="23149"/>
                      <a:pt x="71342" y="19720"/>
                      <a:pt x="70009" y="17243"/>
                    </a:cubicBezTo>
                    <a:cubicBezTo>
                      <a:pt x="68675" y="14767"/>
                      <a:pt x="66389" y="13624"/>
                      <a:pt x="63246" y="13624"/>
                    </a:cubicBezTo>
                    <a:cubicBezTo>
                      <a:pt x="61150" y="13624"/>
                      <a:pt x="59246" y="14291"/>
                      <a:pt x="57626" y="15624"/>
                    </a:cubicBezTo>
                    <a:cubicBezTo>
                      <a:pt x="56007" y="16862"/>
                      <a:pt x="54673" y="18672"/>
                      <a:pt x="53721" y="20958"/>
                    </a:cubicBezTo>
                    <a:cubicBezTo>
                      <a:pt x="52769" y="23244"/>
                      <a:pt x="52292" y="25816"/>
                      <a:pt x="52292" y="28673"/>
                    </a:cubicBezTo>
                    <a:lnTo>
                      <a:pt x="52864" y="61820"/>
                    </a:lnTo>
                    <a:lnTo>
                      <a:pt x="37338" y="62106"/>
                    </a:lnTo>
                    <a:lnTo>
                      <a:pt x="36766" y="28293"/>
                    </a:lnTo>
                    <a:cubicBezTo>
                      <a:pt x="36766" y="23720"/>
                      <a:pt x="36004" y="20291"/>
                      <a:pt x="34671" y="17815"/>
                    </a:cubicBezTo>
                    <a:cubicBezTo>
                      <a:pt x="33338" y="15339"/>
                      <a:pt x="31052" y="14195"/>
                      <a:pt x="27908" y="14195"/>
                    </a:cubicBezTo>
                    <a:cubicBezTo>
                      <a:pt x="25813" y="14195"/>
                      <a:pt x="23908" y="14957"/>
                      <a:pt x="22193" y="16291"/>
                    </a:cubicBezTo>
                    <a:cubicBezTo>
                      <a:pt x="20479" y="17624"/>
                      <a:pt x="19240" y="19529"/>
                      <a:pt x="18288" y="21911"/>
                    </a:cubicBezTo>
                    <a:cubicBezTo>
                      <a:pt x="17336" y="24292"/>
                      <a:pt x="16954" y="27054"/>
                      <a:pt x="16954" y="30007"/>
                    </a:cubicBezTo>
                    <a:lnTo>
                      <a:pt x="17526" y="62392"/>
                    </a:lnTo>
                    <a:lnTo>
                      <a:pt x="1810" y="62678"/>
                    </a:lnTo>
                    <a:lnTo>
                      <a:pt x="1048" y="15815"/>
                    </a:lnTo>
                    <a:close/>
                  </a:path>
                </a:pathLst>
              </a:custGeom>
              <a:solidFill>
                <a:srgbClr val="231F20"/>
              </a:solidFill>
              <a:ln w="9525" cap="flat">
                <a:noFill/>
                <a:prstDash val="solid"/>
                <a:miter/>
              </a:ln>
            </p:spPr>
            <p:txBody>
              <a:bodyPr rtlCol="0" anchor="ctr"/>
              <a:lstStyle/>
              <a:p>
                <a:pPr marL="0" marR="0" lvl="0" indent="0" algn="l" defTabSz="913578" rtl="0" eaLnBrk="1" fontAlgn="auto" latinLnBrk="0" hangingPunct="1">
                  <a:lnSpc>
                    <a:spcPct val="100000"/>
                  </a:lnSpc>
                  <a:spcBef>
                    <a:spcPts val="0"/>
                  </a:spcBef>
                  <a:spcAft>
                    <a:spcPts val="0"/>
                  </a:spcAft>
                  <a:buClrTx/>
                  <a:buSzTx/>
                  <a:buFontTx/>
                  <a:buNone/>
                  <a:tabLst/>
                  <a:defRPr/>
                </a:pPr>
                <a:endParaRPr kumimoji="0" lang="en-US" sz="17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428" name="Freeform: Shape 253">
                <a:extLst>
                  <a:ext uri="{FF2B5EF4-FFF2-40B4-BE49-F238E27FC236}">
                    <a16:creationId xmlns:a16="http://schemas.microsoft.com/office/drawing/2014/main" id="{5FD39914-907C-3322-8B07-3017B99FD460}"/>
                  </a:ext>
                </a:extLst>
              </p:cNvPr>
              <p:cNvSpPr/>
              <p:nvPr/>
            </p:nvSpPr>
            <p:spPr>
              <a:xfrm>
                <a:off x="6157531" y="2585430"/>
                <a:ext cx="50987" cy="62555"/>
              </a:xfrm>
              <a:custGeom>
                <a:avLst/>
                <a:gdLst>
                  <a:gd name="connsiteX0" fmla="*/ 11430 w 50987"/>
                  <a:gd name="connsiteY0" fmla="*/ 60138 h 62555"/>
                  <a:gd name="connsiteX1" fmla="*/ 0 w 50987"/>
                  <a:gd name="connsiteY1" fmla="*/ 53090 h 62555"/>
                  <a:gd name="connsiteX2" fmla="*/ 7525 w 50987"/>
                  <a:gd name="connsiteY2" fmla="*/ 42612 h 62555"/>
                  <a:gd name="connsiteX3" fmla="*/ 16574 w 50987"/>
                  <a:gd name="connsiteY3" fmla="*/ 48804 h 62555"/>
                  <a:gd name="connsiteX4" fmla="*/ 25718 w 50987"/>
                  <a:gd name="connsiteY4" fmla="*/ 51090 h 62555"/>
                  <a:gd name="connsiteX5" fmla="*/ 33528 w 50987"/>
                  <a:gd name="connsiteY5" fmla="*/ 50137 h 62555"/>
                  <a:gd name="connsiteX6" fmla="*/ 36481 w 50987"/>
                  <a:gd name="connsiteY6" fmla="*/ 45756 h 62555"/>
                  <a:gd name="connsiteX7" fmla="*/ 35147 w 50987"/>
                  <a:gd name="connsiteY7" fmla="*/ 41946 h 62555"/>
                  <a:gd name="connsiteX8" fmla="*/ 31528 w 50987"/>
                  <a:gd name="connsiteY8" fmla="*/ 39660 h 62555"/>
                  <a:gd name="connsiteX9" fmla="*/ 25241 w 50987"/>
                  <a:gd name="connsiteY9" fmla="*/ 37659 h 62555"/>
                  <a:gd name="connsiteX10" fmla="*/ 22288 w 50987"/>
                  <a:gd name="connsiteY10" fmla="*/ 36802 h 62555"/>
                  <a:gd name="connsiteX11" fmla="*/ 12287 w 50987"/>
                  <a:gd name="connsiteY11" fmla="*/ 32897 h 62555"/>
                  <a:gd name="connsiteX12" fmla="*/ 5905 w 50987"/>
                  <a:gd name="connsiteY12" fmla="*/ 27087 h 62555"/>
                  <a:gd name="connsiteX13" fmla="*/ 3715 w 50987"/>
                  <a:gd name="connsiteY13" fmla="*/ 17467 h 62555"/>
                  <a:gd name="connsiteX14" fmla="*/ 6858 w 50987"/>
                  <a:gd name="connsiteY14" fmla="*/ 7751 h 62555"/>
                  <a:gd name="connsiteX15" fmla="*/ 15145 w 50987"/>
                  <a:gd name="connsiteY15" fmla="*/ 1750 h 62555"/>
                  <a:gd name="connsiteX16" fmla="*/ 28004 w 50987"/>
                  <a:gd name="connsiteY16" fmla="*/ 36 h 62555"/>
                  <a:gd name="connsiteX17" fmla="*/ 40958 w 50987"/>
                  <a:gd name="connsiteY17" fmla="*/ 2703 h 62555"/>
                  <a:gd name="connsiteX18" fmla="*/ 50768 w 50987"/>
                  <a:gd name="connsiteY18" fmla="*/ 9656 h 62555"/>
                  <a:gd name="connsiteX19" fmla="*/ 42386 w 50987"/>
                  <a:gd name="connsiteY19" fmla="*/ 18609 h 62555"/>
                  <a:gd name="connsiteX20" fmla="*/ 27718 w 50987"/>
                  <a:gd name="connsiteY20" fmla="*/ 11751 h 62555"/>
                  <a:gd name="connsiteX21" fmla="*/ 18288 w 50987"/>
                  <a:gd name="connsiteY21" fmla="*/ 16704 h 62555"/>
                  <a:gd name="connsiteX22" fmla="*/ 19336 w 50987"/>
                  <a:gd name="connsiteY22" fmla="*/ 20038 h 62555"/>
                  <a:gd name="connsiteX23" fmla="*/ 22384 w 50987"/>
                  <a:gd name="connsiteY23" fmla="*/ 22038 h 62555"/>
                  <a:gd name="connsiteX24" fmla="*/ 27908 w 50987"/>
                  <a:gd name="connsiteY24" fmla="*/ 23753 h 62555"/>
                  <a:gd name="connsiteX25" fmla="*/ 30766 w 50987"/>
                  <a:gd name="connsiteY25" fmla="*/ 24515 h 62555"/>
                  <a:gd name="connsiteX26" fmla="*/ 41624 w 50987"/>
                  <a:gd name="connsiteY26" fmla="*/ 28515 h 62555"/>
                  <a:gd name="connsiteX27" fmla="*/ 48578 w 50987"/>
                  <a:gd name="connsiteY27" fmla="*/ 34612 h 62555"/>
                  <a:gd name="connsiteX28" fmla="*/ 50959 w 50987"/>
                  <a:gd name="connsiteY28" fmla="*/ 44898 h 62555"/>
                  <a:gd name="connsiteX29" fmla="*/ 47625 w 50987"/>
                  <a:gd name="connsiteY29" fmla="*/ 54709 h 62555"/>
                  <a:gd name="connsiteX30" fmla="*/ 38862 w 50987"/>
                  <a:gd name="connsiteY30" fmla="*/ 60805 h 62555"/>
                  <a:gd name="connsiteX31" fmla="*/ 25337 w 50987"/>
                  <a:gd name="connsiteY31" fmla="*/ 62520 h 62555"/>
                  <a:gd name="connsiteX32" fmla="*/ 11525 w 50987"/>
                  <a:gd name="connsiteY32" fmla="*/ 59948 h 625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50987" h="62555">
                    <a:moveTo>
                      <a:pt x="11430" y="60138"/>
                    </a:moveTo>
                    <a:cubicBezTo>
                      <a:pt x="7429" y="58614"/>
                      <a:pt x="3620" y="56233"/>
                      <a:pt x="0" y="53090"/>
                    </a:cubicBezTo>
                    <a:lnTo>
                      <a:pt x="7525" y="42612"/>
                    </a:lnTo>
                    <a:cubicBezTo>
                      <a:pt x="10763" y="45279"/>
                      <a:pt x="13811" y="47375"/>
                      <a:pt x="16574" y="48804"/>
                    </a:cubicBezTo>
                    <a:cubicBezTo>
                      <a:pt x="19336" y="50233"/>
                      <a:pt x="22384" y="50994"/>
                      <a:pt x="25718" y="51090"/>
                    </a:cubicBezTo>
                    <a:cubicBezTo>
                      <a:pt x="29051" y="51185"/>
                      <a:pt x="31623" y="50899"/>
                      <a:pt x="33528" y="50137"/>
                    </a:cubicBezTo>
                    <a:cubicBezTo>
                      <a:pt x="35433" y="49375"/>
                      <a:pt x="36386" y="47946"/>
                      <a:pt x="36481" y="45756"/>
                    </a:cubicBezTo>
                    <a:cubicBezTo>
                      <a:pt x="36481" y="44232"/>
                      <a:pt x="36100" y="42898"/>
                      <a:pt x="35147" y="41946"/>
                    </a:cubicBezTo>
                    <a:cubicBezTo>
                      <a:pt x="34195" y="40993"/>
                      <a:pt x="33052" y="40231"/>
                      <a:pt x="31528" y="39660"/>
                    </a:cubicBezTo>
                    <a:cubicBezTo>
                      <a:pt x="30004" y="39088"/>
                      <a:pt x="27908" y="38421"/>
                      <a:pt x="25241" y="37659"/>
                    </a:cubicBezTo>
                    <a:lnTo>
                      <a:pt x="22288" y="36802"/>
                    </a:lnTo>
                    <a:cubicBezTo>
                      <a:pt x="18288" y="35564"/>
                      <a:pt x="14954" y="34326"/>
                      <a:pt x="12287" y="32897"/>
                    </a:cubicBezTo>
                    <a:cubicBezTo>
                      <a:pt x="9620" y="31468"/>
                      <a:pt x="7525" y="29563"/>
                      <a:pt x="5905" y="27087"/>
                    </a:cubicBezTo>
                    <a:cubicBezTo>
                      <a:pt x="4286" y="24610"/>
                      <a:pt x="3524" y="21372"/>
                      <a:pt x="3715" y="17467"/>
                    </a:cubicBezTo>
                    <a:cubicBezTo>
                      <a:pt x="3905" y="13656"/>
                      <a:pt x="4858" y="10418"/>
                      <a:pt x="6858" y="7751"/>
                    </a:cubicBezTo>
                    <a:cubicBezTo>
                      <a:pt x="8763" y="5084"/>
                      <a:pt x="11525" y="3084"/>
                      <a:pt x="15145" y="1750"/>
                    </a:cubicBezTo>
                    <a:cubicBezTo>
                      <a:pt x="18764" y="417"/>
                      <a:pt x="23051" y="-155"/>
                      <a:pt x="28004" y="36"/>
                    </a:cubicBezTo>
                    <a:cubicBezTo>
                      <a:pt x="32766" y="226"/>
                      <a:pt x="37052" y="1083"/>
                      <a:pt x="40958" y="2703"/>
                    </a:cubicBezTo>
                    <a:cubicBezTo>
                      <a:pt x="44863" y="4322"/>
                      <a:pt x="48101" y="6608"/>
                      <a:pt x="50768" y="9656"/>
                    </a:cubicBezTo>
                    <a:lnTo>
                      <a:pt x="42386" y="18609"/>
                    </a:lnTo>
                    <a:cubicBezTo>
                      <a:pt x="38291" y="14228"/>
                      <a:pt x="33338" y="11942"/>
                      <a:pt x="27718" y="11751"/>
                    </a:cubicBezTo>
                    <a:cubicBezTo>
                      <a:pt x="21527" y="11466"/>
                      <a:pt x="18383" y="13180"/>
                      <a:pt x="18288" y="16704"/>
                    </a:cubicBezTo>
                    <a:cubicBezTo>
                      <a:pt x="18288" y="18038"/>
                      <a:pt x="18574" y="19181"/>
                      <a:pt x="19336" y="20038"/>
                    </a:cubicBezTo>
                    <a:cubicBezTo>
                      <a:pt x="20098" y="20896"/>
                      <a:pt x="21146" y="21562"/>
                      <a:pt x="22384" y="22038"/>
                    </a:cubicBezTo>
                    <a:cubicBezTo>
                      <a:pt x="23622" y="22515"/>
                      <a:pt x="25527" y="23086"/>
                      <a:pt x="27908" y="23753"/>
                    </a:cubicBezTo>
                    <a:lnTo>
                      <a:pt x="30766" y="24515"/>
                    </a:lnTo>
                    <a:cubicBezTo>
                      <a:pt x="35147" y="25848"/>
                      <a:pt x="38767" y="27182"/>
                      <a:pt x="41624" y="28515"/>
                    </a:cubicBezTo>
                    <a:cubicBezTo>
                      <a:pt x="44482" y="29944"/>
                      <a:pt x="46768" y="31944"/>
                      <a:pt x="48578" y="34612"/>
                    </a:cubicBezTo>
                    <a:cubicBezTo>
                      <a:pt x="50387" y="37279"/>
                      <a:pt x="51149" y="40708"/>
                      <a:pt x="50959" y="44898"/>
                    </a:cubicBezTo>
                    <a:cubicBezTo>
                      <a:pt x="50768" y="48708"/>
                      <a:pt x="49721" y="52042"/>
                      <a:pt x="47625" y="54709"/>
                    </a:cubicBezTo>
                    <a:cubicBezTo>
                      <a:pt x="45529" y="57376"/>
                      <a:pt x="42672" y="59472"/>
                      <a:pt x="38862" y="60805"/>
                    </a:cubicBezTo>
                    <a:cubicBezTo>
                      <a:pt x="35052" y="62139"/>
                      <a:pt x="30575" y="62710"/>
                      <a:pt x="25337" y="62520"/>
                    </a:cubicBezTo>
                    <a:cubicBezTo>
                      <a:pt x="20098" y="62329"/>
                      <a:pt x="15526" y="61472"/>
                      <a:pt x="11525" y="59948"/>
                    </a:cubicBezTo>
                    <a:close/>
                  </a:path>
                </a:pathLst>
              </a:custGeom>
              <a:solidFill>
                <a:srgbClr val="231F20"/>
              </a:solidFill>
              <a:ln w="9525" cap="flat">
                <a:noFill/>
                <a:prstDash val="solid"/>
                <a:miter/>
              </a:ln>
            </p:spPr>
            <p:txBody>
              <a:bodyPr rtlCol="0" anchor="ctr"/>
              <a:lstStyle/>
              <a:p>
                <a:pPr marL="0" marR="0" lvl="0" indent="0" algn="l" defTabSz="913578" rtl="0" eaLnBrk="1" fontAlgn="auto" latinLnBrk="0" hangingPunct="1">
                  <a:lnSpc>
                    <a:spcPct val="100000"/>
                  </a:lnSpc>
                  <a:spcBef>
                    <a:spcPts val="0"/>
                  </a:spcBef>
                  <a:spcAft>
                    <a:spcPts val="0"/>
                  </a:spcAft>
                  <a:buClrTx/>
                  <a:buSzTx/>
                  <a:buFontTx/>
                  <a:buNone/>
                  <a:tabLst/>
                  <a:defRPr/>
                </a:pPr>
                <a:endParaRPr kumimoji="0" lang="en-US" sz="17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429" name="Freeform: Shape 254">
                <a:extLst>
                  <a:ext uri="{FF2B5EF4-FFF2-40B4-BE49-F238E27FC236}">
                    <a16:creationId xmlns:a16="http://schemas.microsoft.com/office/drawing/2014/main" id="{318884E5-290E-B585-674C-6C511F4E0655}"/>
                  </a:ext>
                </a:extLst>
              </p:cNvPr>
              <p:cNvSpPr/>
              <p:nvPr/>
            </p:nvSpPr>
            <p:spPr>
              <a:xfrm>
                <a:off x="6217253" y="2588973"/>
                <a:ext cx="60872" cy="62714"/>
              </a:xfrm>
              <a:custGeom>
                <a:avLst/>
                <a:gdLst>
                  <a:gd name="connsiteX0" fmla="*/ 12001 w 60872"/>
                  <a:gd name="connsiteY0" fmla="*/ 57357 h 62714"/>
                  <a:gd name="connsiteX1" fmla="*/ 2476 w 60872"/>
                  <a:gd name="connsiteY1" fmla="*/ 45356 h 62714"/>
                  <a:gd name="connsiteX2" fmla="*/ 95 w 60872"/>
                  <a:gd name="connsiteY2" fmla="*/ 29163 h 62714"/>
                  <a:gd name="connsiteX3" fmla="*/ 4571 w 60872"/>
                  <a:gd name="connsiteY3" fmla="*/ 13733 h 62714"/>
                  <a:gd name="connsiteX4" fmla="*/ 15621 w 60872"/>
                  <a:gd name="connsiteY4" fmla="*/ 3160 h 62714"/>
                  <a:gd name="connsiteX5" fmla="*/ 32670 w 60872"/>
                  <a:gd name="connsiteY5" fmla="*/ 112 h 62714"/>
                  <a:gd name="connsiteX6" fmla="*/ 49530 w 60872"/>
                  <a:gd name="connsiteY6" fmla="*/ 5446 h 62714"/>
                  <a:gd name="connsiteX7" fmla="*/ 58674 w 60872"/>
                  <a:gd name="connsiteY7" fmla="*/ 17257 h 62714"/>
                  <a:gd name="connsiteX8" fmla="*/ 60769 w 60872"/>
                  <a:gd name="connsiteY8" fmla="*/ 33354 h 62714"/>
                  <a:gd name="connsiteX9" fmla="*/ 56197 w 60872"/>
                  <a:gd name="connsiteY9" fmla="*/ 49070 h 62714"/>
                  <a:gd name="connsiteX10" fmla="*/ 45053 w 60872"/>
                  <a:gd name="connsiteY10" fmla="*/ 59643 h 62714"/>
                  <a:gd name="connsiteX11" fmla="*/ 28003 w 60872"/>
                  <a:gd name="connsiteY11" fmla="*/ 62596 h 62714"/>
                  <a:gd name="connsiteX12" fmla="*/ 12001 w 60872"/>
                  <a:gd name="connsiteY12" fmla="*/ 57357 h 62714"/>
                  <a:gd name="connsiteX13" fmla="*/ 39719 w 60872"/>
                  <a:gd name="connsiteY13" fmla="*/ 46022 h 62714"/>
                  <a:gd name="connsiteX14" fmla="*/ 44386 w 60872"/>
                  <a:gd name="connsiteY14" fmla="*/ 32211 h 62714"/>
                  <a:gd name="connsiteX15" fmla="*/ 41814 w 60872"/>
                  <a:gd name="connsiteY15" fmla="*/ 18114 h 62714"/>
                  <a:gd name="connsiteX16" fmla="*/ 32004 w 60872"/>
                  <a:gd name="connsiteY16" fmla="*/ 12590 h 62714"/>
                  <a:gd name="connsiteX17" fmla="*/ 21050 w 60872"/>
                  <a:gd name="connsiteY17" fmla="*/ 16781 h 62714"/>
                  <a:gd name="connsiteX18" fmla="*/ 16383 w 60872"/>
                  <a:gd name="connsiteY18" fmla="*/ 30401 h 62714"/>
                  <a:gd name="connsiteX19" fmla="*/ 17335 w 60872"/>
                  <a:gd name="connsiteY19" fmla="*/ 40688 h 62714"/>
                  <a:gd name="connsiteX20" fmla="*/ 21621 w 60872"/>
                  <a:gd name="connsiteY20" fmla="*/ 47546 h 62714"/>
                  <a:gd name="connsiteX21" fmla="*/ 28575 w 60872"/>
                  <a:gd name="connsiteY21" fmla="*/ 50213 h 62714"/>
                  <a:gd name="connsiteX22" fmla="*/ 39624 w 60872"/>
                  <a:gd name="connsiteY22" fmla="*/ 46022 h 62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60872" h="62714">
                    <a:moveTo>
                      <a:pt x="12001" y="57357"/>
                    </a:moveTo>
                    <a:cubicBezTo>
                      <a:pt x="7620" y="54309"/>
                      <a:pt x="4476" y="50309"/>
                      <a:pt x="2476" y="45356"/>
                    </a:cubicBezTo>
                    <a:cubicBezTo>
                      <a:pt x="476" y="40403"/>
                      <a:pt x="-286" y="35069"/>
                      <a:pt x="95" y="29163"/>
                    </a:cubicBezTo>
                    <a:cubicBezTo>
                      <a:pt x="476" y="23448"/>
                      <a:pt x="2000" y="18209"/>
                      <a:pt x="4571" y="13733"/>
                    </a:cubicBezTo>
                    <a:cubicBezTo>
                      <a:pt x="7143" y="9161"/>
                      <a:pt x="10858" y="5636"/>
                      <a:pt x="15621" y="3160"/>
                    </a:cubicBezTo>
                    <a:cubicBezTo>
                      <a:pt x="20383" y="683"/>
                      <a:pt x="26098" y="-364"/>
                      <a:pt x="32670" y="112"/>
                    </a:cubicBezTo>
                    <a:cubicBezTo>
                      <a:pt x="39624" y="588"/>
                      <a:pt x="45243" y="2398"/>
                      <a:pt x="49530" y="5446"/>
                    </a:cubicBezTo>
                    <a:cubicBezTo>
                      <a:pt x="53816" y="8494"/>
                      <a:pt x="56864" y="12494"/>
                      <a:pt x="58674" y="17257"/>
                    </a:cubicBezTo>
                    <a:cubicBezTo>
                      <a:pt x="60483" y="22019"/>
                      <a:pt x="61150" y="27449"/>
                      <a:pt x="60769" y="33354"/>
                    </a:cubicBezTo>
                    <a:cubicBezTo>
                      <a:pt x="60388" y="39260"/>
                      <a:pt x="58864" y="44498"/>
                      <a:pt x="56197" y="49070"/>
                    </a:cubicBezTo>
                    <a:cubicBezTo>
                      <a:pt x="53530" y="53642"/>
                      <a:pt x="49815" y="57167"/>
                      <a:pt x="45053" y="59643"/>
                    </a:cubicBezTo>
                    <a:cubicBezTo>
                      <a:pt x="40290" y="62120"/>
                      <a:pt x="34575" y="63072"/>
                      <a:pt x="28003" y="62596"/>
                    </a:cubicBezTo>
                    <a:cubicBezTo>
                      <a:pt x="21717" y="62120"/>
                      <a:pt x="16383" y="60405"/>
                      <a:pt x="12001" y="57357"/>
                    </a:cubicBezTo>
                    <a:close/>
                    <a:moveTo>
                      <a:pt x="39719" y="46022"/>
                    </a:moveTo>
                    <a:cubicBezTo>
                      <a:pt x="42481" y="42879"/>
                      <a:pt x="44005" y="38307"/>
                      <a:pt x="44386" y="32211"/>
                    </a:cubicBezTo>
                    <a:cubicBezTo>
                      <a:pt x="44767" y="26210"/>
                      <a:pt x="43910" y="21543"/>
                      <a:pt x="41814" y="18114"/>
                    </a:cubicBezTo>
                    <a:cubicBezTo>
                      <a:pt x="39719" y="14685"/>
                      <a:pt x="36385" y="12875"/>
                      <a:pt x="32004" y="12590"/>
                    </a:cubicBezTo>
                    <a:cubicBezTo>
                      <a:pt x="27431" y="12304"/>
                      <a:pt x="23717" y="13637"/>
                      <a:pt x="21050" y="16781"/>
                    </a:cubicBezTo>
                    <a:cubicBezTo>
                      <a:pt x="18383" y="19829"/>
                      <a:pt x="16859" y="24401"/>
                      <a:pt x="16383" y="30401"/>
                    </a:cubicBezTo>
                    <a:cubicBezTo>
                      <a:pt x="16097" y="34402"/>
                      <a:pt x="16383" y="37831"/>
                      <a:pt x="17335" y="40688"/>
                    </a:cubicBezTo>
                    <a:cubicBezTo>
                      <a:pt x="18288" y="43546"/>
                      <a:pt x="19716" y="45832"/>
                      <a:pt x="21621" y="47546"/>
                    </a:cubicBezTo>
                    <a:cubicBezTo>
                      <a:pt x="23526" y="49166"/>
                      <a:pt x="25812" y="50118"/>
                      <a:pt x="28575" y="50213"/>
                    </a:cubicBezTo>
                    <a:cubicBezTo>
                      <a:pt x="33242" y="50499"/>
                      <a:pt x="36861" y="49166"/>
                      <a:pt x="39624" y="46022"/>
                    </a:cubicBezTo>
                    <a:close/>
                  </a:path>
                </a:pathLst>
              </a:custGeom>
              <a:solidFill>
                <a:srgbClr val="231F20"/>
              </a:solidFill>
              <a:ln w="9525" cap="flat">
                <a:noFill/>
                <a:prstDash val="solid"/>
                <a:miter/>
              </a:ln>
            </p:spPr>
            <p:txBody>
              <a:bodyPr rtlCol="0" anchor="ctr"/>
              <a:lstStyle/>
              <a:p>
                <a:pPr marL="0" marR="0" lvl="0" indent="0" algn="l" defTabSz="913578" rtl="0" eaLnBrk="1" fontAlgn="auto" latinLnBrk="0" hangingPunct="1">
                  <a:lnSpc>
                    <a:spcPct val="100000"/>
                  </a:lnSpc>
                  <a:spcBef>
                    <a:spcPts val="0"/>
                  </a:spcBef>
                  <a:spcAft>
                    <a:spcPts val="0"/>
                  </a:spcAft>
                  <a:buClrTx/>
                  <a:buSzTx/>
                  <a:buFontTx/>
                  <a:buNone/>
                  <a:tabLst/>
                  <a:defRPr/>
                </a:pPr>
                <a:endParaRPr kumimoji="0" lang="en-US" sz="17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430" name="Freeform: Shape 255">
                <a:extLst>
                  <a:ext uri="{FF2B5EF4-FFF2-40B4-BE49-F238E27FC236}">
                    <a16:creationId xmlns:a16="http://schemas.microsoft.com/office/drawing/2014/main" id="{647B595D-249E-6806-A916-7806083BDFA6}"/>
                  </a:ext>
                </a:extLst>
              </p:cNvPr>
              <p:cNvSpPr/>
              <p:nvPr/>
            </p:nvSpPr>
            <p:spPr>
              <a:xfrm>
                <a:off x="6288609" y="2571178"/>
                <a:ext cx="23608" cy="85082"/>
              </a:xfrm>
              <a:custGeom>
                <a:avLst/>
                <a:gdLst>
                  <a:gd name="connsiteX0" fmla="*/ 3034 w 23608"/>
                  <a:gd name="connsiteY0" fmla="*/ 79534 h 85082"/>
                  <a:gd name="connsiteX1" fmla="*/ 81 w 23608"/>
                  <a:gd name="connsiteY1" fmla="*/ 68008 h 85082"/>
                  <a:gd name="connsiteX2" fmla="*/ 6368 w 23608"/>
                  <a:gd name="connsiteY2" fmla="*/ 0 h 85082"/>
                  <a:gd name="connsiteX3" fmla="*/ 21989 w 23608"/>
                  <a:gd name="connsiteY3" fmla="*/ 1429 h 85082"/>
                  <a:gd name="connsiteX4" fmla="*/ 16083 w 23608"/>
                  <a:gd name="connsiteY4" fmla="*/ 65532 h 85082"/>
                  <a:gd name="connsiteX5" fmla="*/ 16083 w 23608"/>
                  <a:gd name="connsiteY5" fmla="*/ 69628 h 85082"/>
                  <a:gd name="connsiteX6" fmla="*/ 17417 w 23608"/>
                  <a:gd name="connsiteY6" fmla="*/ 71818 h 85082"/>
                  <a:gd name="connsiteX7" fmla="*/ 20750 w 23608"/>
                  <a:gd name="connsiteY7" fmla="*/ 72771 h 85082"/>
                  <a:gd name="connsiteX8" fmla="*/ 23608 w 23608"/>
                  <a:gd name="connsiteY8" fmla="*/ 72771 h 85082"/>
                  <a:gd name="connsiteX9" fmla="*/ 23037 w 23608"/>
                  <a:gd name="connsiteY9" fmla="*/ 84868 h 85082"/>
                  <a:gd name="connsiteX10" fmla="*/ 14655 w 23608"/>
                  <a:gd name="connsiteY10" fmla="*/ 84868 h 85082"/>
                  <a:gd name="connsiteX11" fmla="*/ 2939 w 23608"/>
                  <a:gd name="connsiteY11" fmla="*/ 79534 h 85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608" h="85082">
                    <a:moveTo>
                      <a:pt x="3034" y="79534"/>
                    </a:moveTo>
                    <a:cubicBezTo>
                      <a:pt x="653" y="76486"/>
                      <a:pt x="-300" y="72676"/>
                      <a:pt x="81" y="68008"/>
                    </a:cubicBezTo>
                    <a:lnTo>
                      <a:pt x="6368" y="0"/>
                    </a:lnTo>
                    <a:lnTo>
                      <a:pt x="21989" y="1429"/>
                    </a:lnTo>
                    <a:lnTo>
                      <a:pt x="16083" y="65532"/>
                    </a:lnTo>
                    <a:cubicBezTo>
                      <a:pt x="15893" y="67246"/>
                      <a:pt x="15893" y="68580"/>
                      <a:pt x="16083" y="69628"/>
                    </a:cubicBezTo>
                    <a:cubicBezTo>
                      <a:pt x="16274" y="70580"/>
                      <a:pt x="16750" y="71342"/>
                      <a:pt x="17417" y="71818"/>
                    </a:cubicBezTo>
                    <a:cubicBezTo>
                      <a:pt x="18179" y="72295"/>
                      <a:pt x="19226" y="72676"/>
                      <a:pt x="20750" y="72771"/>
                    </a:cubicBezTo>
                    <a:cubicBezTo>
                      <a:pt x="21608" y="72771"/>
                      <a:pt x="22560" y="72771"/>
                      <a:pt x="23608" y="72771"/>
                    </a:cubicBezTo>
                    <a:lnTo>
                      <a:pt x="23037" y="84868"/>
                    </a:lnTo>
                    <a:cubicBezTo>
                      <a:pt x="20274" y="85154"/>
                      <a:pt x="17512" y="85154"/>
                      <a:pt x="14655" y="84868"/>
                    </a:cubicBezTo>
                    <a:cubicBezTo>
                      <a:pt x="9225" y="84392"/>
                      <a:pt x="5320" y="82582"/>
                      <a:pt x="2939" y="79534"/>
                    </a:cubicBezTo>
                    <a:close/>
                  </a:path>
                </a:pathLst>
              </a:custGeom>
              <a:solidFill>
                <a:srgbClr val="231F20"/>
              </a:solidFill>
              <a:ln w="9525" cap="flat">
                <a:noFill/>
                <a:prstDash val="solid"/>
                <a:miter/>
              </a:ln>
            </p:spPr>
            <p:txBody>
              <a:bodyPr rtlCol="0" anchor="ctr"/>
              <a:lstStyle/>
              <a:p>
                <a:pPr marL="0" marR="0" lvl="0" indent="0" algn="l" defTabSz="913578" rtl="0" eaLnBrk="1" fontAlgn="auto" latinLnBrk="0" hangingPunct="1">
                  <a:lnSpc>
                    <a:spcPct val="100000"/>
                  </a:lnSpc>
                  <a:spcBef>
                    <a:spcPts val="0"/>
                  </a:spcBef>
                  <a:spcAft>
                    <a:spcPts val="0"/>
                  </a:spcAft>
                  <a:buClrTx/>
                  <a:buSzTx/>
                  <a:buFontTx/>
                  <a:buNone/>
                  <a:tabLst/>
                  <a:defRPr/>
                </a:pPr>
                <a:endParaRPr kumimoji="0" lang="en-US" sz="17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431" name="Freeform: Shape 256">
                <a:extLst>
                  <a:ext uri="{FF2B5EF4-FFF2-40B4-BE49-F238E27FC236}">
                    <a16:creationId xmlns:a16="http://schemas.microsoft.com/office/drawing/2014/main" id="{ED5BCBA9-C525-3893-5D68-15D1A46419B3}"/>
                  </a:ext>
                </a:extLst>
              </p:cNvPr>
              <p:cNvSpPr/>
              <p:nvPr/>
            </p:nvSpPr>
            <p:spPr>
              <a:xfrm>
                <a:off x="6322293" y="2596800"/>
                <a:ext cx="59170" cy="66389"/>
              </a:xfrm>
              <a:custGeom>
                <a:avLst/>
                <a:gdLst>
                  <a:gd name="connsiteX0" fmla="*/ 3068 w 59170"/>
                  <a:gd name="connsiteY0" fmla="*/ 55340 h 66389"/>
                  <a:gd name="connsiteX1" fmla="*/ 306 w 59170"/>
                  <a:gd name="connsiteY1" fmla="*/ 38005 h 66389"/>
                  <a:gd name="connsiteX2" fmla="*/ 4783 w 59170"/>
                  <a:gd name="connsiteY2" fmla="*/ 0 h 66389"/>
                  <a:gd name="connsiteX3" fmla="*/ 20403 w 59170"/>
                  <a:gd name="connsiteY3" fmla="*/ 1810 h 66389"/>
                  <a:gd name="connsiteX4" fmla="*/ 16498 w 59170"/>
                  <a:gd name="connsiteY4" fmla="*/ 35433 h 66389"/>
                  <a:gd name="connsiteX5" fmla="*/ 17546 w 59170"/>
                  <a:gd name="connsiteY5" fmla="*/ 46101 h 66389"/>
                  <a:gd name="connsiteX6" fmla="*/ 24976 w 59170"/>
                  <a:gd name="connsiteY6" fmla="*/ 50673 h 66389"/>
                  <a:gd name="connsiteX7" fmla="*/ 31929 w 59170"/>
                  <a:gd name="connsiteY7" fmla="*/ 49530 h 66389"/>
                  <a:gd name="connsiteX8" fmla="*/ 37263 w 59170"/>
                  <a:gd name="connsiteY8" fmla="*/ 44577 h 66389"/>
                  <a:gd name="connsiteX9" fmla="*/ 39930 w 59170"/>
                  <a:gd name="connsiteY9" fmla="*/ 36671 h 66389"/>
                  <a:gd name="connsiteX10" fmla="*/ 43644 w 59170"/>
                  <a:gd name="connsiteY10" fmla="*/ 4572 h 66389"/>
                  <a:gd name="connsiteX11" fmla="*/ 59170 w 59170"/>
                  <a:gd name="connsiteY11" fmla="*/ 6382 h 66389"/>
                  <a:gd name="connsiteX12" fmla="*/ 53741 w 59170"/>
                  <a:gd name="connsiteY12" fmla="*/ 52864 h 66389"/>
                  <a:gd name="connsiteX13" fmla="*/ 52979 w 59170"/>
                  <a:gd name="connsiteY13" fmla="*/ 60769 h 66389"/>
                  <a:gd name="connsiteX14" fmla="*/ 52598 w 59170"/>
                  <a:gd name="connsiteY14" fmla="*/ 66389 h 66389"/>
                  <a:gd name="connsiteX15" fmla="*/ 37739 w 59170"/>
                  <a:gd name="connsiteY15" fmla="*/ 64675 h 66389"/>
                  <a:gd name="connsiteX16" fmla="*/ 37929 w 59170"/>
                  <a:gd name="connsiteY16" fmla="*/ 59626 h 66389"/>
                  <a:gd name="connsiteX17" fmla="*/ 38310 w 59170"/>
                  <a:gd name="connsiteY17" fmla="*/ 53816 h 66389"/>
                  <a:gd name="connsiteX18" fmla="*/ 38025 w 59170"/>
                  <a:gd name="connsiteY18" fmla="*/ 53816 h 66389"/>
                  <a:gd name="connsiteX19" fmla="*/ 29167 w 59170"/>
                  <a:gd name="connsiteY19" fmla="*/ 61913 h 66389"/>
                  <a:gd name="connsiteX20" fmla="*/ 17355 w 59170"/>
                  <a:gd name="connsiteY20" fmla="*/ 63436 h 66389"/>
                  <a:gd name="connsiteX21" fmla="*/ 3068 w 59170"/>
                  <a:gd name="connsiteY21" fmla="*/ 55435 h 66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9170" h="66389">
                    <a:moveTo>
                      <a:pt x="3068" y="55340"/>
                    </a:moveTo>
                    <a:cubicBezTo>
                      <a:pt x="401" y="50768"/>
                      <a:pt x="-551" y="45053"/>
                      <a:pt x="306" y="38005"/>
                    </a:cubicBezTo>
                    <a:lnTo>
                      <a:pt x="4783" y="0"/>
                    </a:lnTo>
                    <a:lnTo>
                      <a:pt x="20403" y="1810"/>
                    </a:lnTo>
                    <a:lnTo>
                      <a:pt x="16498" y="35433"/>
                    </a:lnTo>
                    <a:cubicBezTo>
                      <a:pt x="16022" y="39910"/>
                      <a:pt x="16308" y="43434"/>
                      <a:pt x="17546" y="46101"/>
                    </a:cubicBezTo>
                    <a:cubicBezTo>
                      <a:pt x="18784" y="48768"/>
                      <a:pt x="21261" y="50292"/>
                      <a:pt x="24976" y="50673"/>
                    </a:cubicBezTo>
                    <a:cubicBezTo>
                      <a:pt x="27452" y="50959"/>
                      <a:pt x="29738" y="50578"/>
                      <a:pt x="31929" y="49530"/>
                    </a:cubicBezTo>
                    <a:cubicBezTo>
                      <a:pt x="34119" y="48482"/>
                      <a:pt x="35834" y="46768"/>
                      <a:pt x="37263" y="44577"/>
                    </a:cubicBezTo>
                    <a:cubicBezTo>
                      <a:pt x="38692" y="42386"/>
                      <a:pt x="39549" y="39719"/>
                      <a:pt x="39930" y="36671"/>
                    </a:cubicBezTo>
                    <a:lnTo>
                      <a:pt x="43644" y="4572"/>
                    </a:lnTo>
                    <a:lnTo>
                      <a:pt x="59170" y="6382"/>
                    </a:lnTo>
                    <a:lnTo>
                      <a:pt x="53741" y="52864"/>
                    </a:lnTo>
                    <a:cubicBezTo>
                      <a:pt x="53455" y="55340"/>
                      <a:pt x="53169" y="58007"/>
                      <a:pt x="52979" y="60769"/>
                    </a:cubicBezTo>
                    <a:cubicBezTo>
                      <a:pt x="52788" y="63532"/>
                      <a:pt x="52598" y="65342"/>
                      <a:pt x="52598" y="66389"/>
                    </a:cubicBezTo>
                    <a:lnTo>
                      <a:pt x="37739" y="64675"/>
                    </a:lnTo>
                    <a:cubicBezTo>
                      <a:pt x="37739" y="63817"/>
                      <a:pt x="37739" y="62103"/>
                      <a:pt x="37929" y="59626"/>
                    </a:cubicBezTo>
                    <a:cubicBezTo>
                      <a:pt x="38025" y="57150"/>
                      <a:pt x="38215" y="55245"/>
                      <a:pt x="38310" y="53816"/>
                    </a:cubicBezTo>
                    <a:lnTo>
                      <a:pt x="38025" y="53816"/>
                    </a:lnTo>
                    <a:cubicBezTo>
                      <a:pt x="35548" y="57626"/>
                      <a:pt x="32500" y="60388"/>
                      <a:pt x="29167" y="61913"/>
                    </a:cubicBezTo>
                    <a:cubicBezTo>
                      <a:pt x="25737" y="63436"/>
                      <a:pt x="21832" y="64008"/>
                      <a:pt x="17355" y="63436"/>
                    </a:cubicBezTo>
                    <a:cubicBezTo>
                      <a:pt x="10497" y="62675"/>
                      <a:pt x="5735" y="60007"/>
                      <a:pt x="3068" y="55435"/>
                    </a:cubicBezTo>
                    <a:close/>
                  </a:path>
                </a:pathLst>
              </a:custGeom>
              <a:solidFill>
                <a:srgbClr val="231F20"/>
              </a:solidFill>
              <a:ln w="9525" cap="flat">
                <a:noFill/>
                <a:prstDash val="solid"/>
                <a:miter/>
              </a:ln>
            </p:spPr>
            <p:txBody>
              <a:bodyPr rtlCol="0" anchor="ctr"/>
              <a:lstStyle/>
              <a:p>
                <a:pPr marL="0" marR="0" lvl="0" indent="0" algn="l" defTabSz="913578" rtl="0" eaLnBrk="1" fontAlgn="auto" latinLnBrk="0" hangingPunct="1">
                  <a:lnSpc>
                    <a:spcPct val="100000"/>
                  </a:lnSpc>
                  <a:spcBef>
                    <a:spcPts val="0"/>
                  </a:spcBef>
                  <a:spcAft>
                    <a:spcPts val="0"/>
                  </a:spcAft>
                  <a:buClrTx/>
                  <a:buSzTx/>
                  <a:buFontTx/>
                  <a:buNone/>
                  <a:tabLst/>
                  <a:defRPr/>
                </a:pPr>
                <a:endParaRPr kumimoji="0" lang="en-US" sz="17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432" name="Freeform: Shape 257">
                <a:extLst>
                  <a:ext uri="{FF2B5EF4-FFF2-40B4-BE49-F238E27FC236}">
                    <a16:creationId xmlns:a16="http://schemas.microsoft.com/office/drawing/2014/main" id="{F8577E71-A2C6-FE43-53F4-ABFA91BE9243}"/>
                  </a:ext>
                </a:extLst>
              </p:cNvPr>
              <p:cNvSpPr/>
              <p:nvPr/>
            </p:nvSpPr>
            <p:spPr>
              <a:xfrm>
                <a:off x="6390322" y="2592419"/>
                <a:ext cx="36480" cy="76628"/>
              </a:xfrm>
              <a:custGeom>
                <a:avLst/>
                <a:gdLst>
                  <a:gd name="connsiteX0" fmla="*/ 4953 w 36480"/>
                  <a:gd name="connsiteY0" fmla="*/ 70485 h 76628"/>
                  <a:gd name="connsiteX1" fmla="*/ 2762 w 36480"/>
                  <a:gd name="connsiteY1" fmla="*/ 57817 h 76628"/>
                  <a:gd name="connsiteX2" fmla="*/ 7525 w 36480"/>
                  <a:gd name="connsiteY2" fmla="*/ 24765 h 76628"/>
                  <a:gd name="connsiteX3" fmla="*/ 0 w 36480"/>
                  <a:gd name="connsiteY3" fmla="*/ 23717 h 76628"/>
                  <a:gd name="connsiteX4" fmla="*/ 1619 w 36480"/>
                  <a:gd name="connsiteY4" fmla="*/ 12192 h 76628"/>
                  <a:gd name="connsiteX5" fmla="*/ 10001 w 36480"/>
                  <a:gd name="connsiteY5" fmla="*/ 13335 h 76628"/>
                  <a:gd name="connsiteX6" fmla="*/ 12668 w 36480"/>
                  <a:gd name="connsiteY6" fmla="*/ 0 h 76628"/>
                  <a:gd name="connsiteX7" fmla="*/ 26670 w 36480"/>
                  <a:gd name="connsiteY7" fmla="*/ 857 h 76628"/>
                  <a:gd name="connsiteX8" fmla="*/ 24574 w 36480"/>
                  <a:gd name="connsiteY8" fmla="*/ 15526 h 76628"/>
                  <a:gd name="connsiteX9" fmla="*/ 36481 w 36480"/>
                  <a:gd name="connsiteY9" fmla="*/ 17240 h 76628"/>
                  <a:gd name="connsiteX10" fmla="*/ 34862 w 36480"/>
                  <a:gd name="connsiteY10" fmla="*/ 28766 h 76628"/>
                  <a:gd name="connsiteX11" fmla="*/ 22955 w 36480"/>
                  <a:gd name="connsiteY11" fmla="*/ 27051 h 76628"/>
                  <a:gd name="connsiteX12" fmla="*/ 18860 w 36480"/>
                  <a:gd name="connsiteY12" fmla="*/ 55912 h 76628"/>
                  <a:gd name="connsiteX13" fmla="*/ 19431 w 36480"/>
                  <a:gd name="connsiteY13" fmla="*/ 61817 h 76628"/>
                  <a:gd name="connsiteX14" fmla="*/ 23622 w 36480"/>
                  <a:gd name="connsiteY14" fmla="*/ 64199 h 76628"/>
                  <a:gd name="connsiteX15" fmla="*/ 29337 w 36480"/>
                  <a:gd name="connsiteY15" fmla="*/ 64294 h 76628"/>
                  <a:gd name="connsiteX16" fmla="*/ 28861 w 36480"/>
                  <a:gd name="connsiteY16" fmla="*/ 76200 h 76628"/>
                  <a:gd name="connsiteX17" fmla="*/ 16002 w 36480"/>
                  <a:gd name="connsiteY17" fmla="*/ 76200 h 76628"/>
                  <a:gd name="connsiteX18" fmla="*/ 5144 w 36480"/>
                  <a:gd name="connsiteY18" fmla="*/ 70485 h 766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6480" h="76628">
                    <a:moveTo>
                      <a:pt x="4953" y="70485"/>
                    </a:moveTo>
                    <a:cubicBezTo>
                      <a:pt x="2667" y="67437"/>
                      <a:pt x="2000" y="63151"/>
                      <a:pt x="2762" y="57817"/>
                    </a:cubicBezTo>
                    <a:lnTo>
                      <a:pt x="7525" y="24765"/>
                    </a:lnTo>
                    <a:lnTo>
                      <a:pt x="0" y="23717"/>
                    </a:lnTo>
                    <a:lnTo>
                      <a:pt x="1619" y="12192"/>
                    </a:lnTo>
                    <a:lnTo>
                      <a:pt x="10001" y="13335"/>
                    </a:lnTo>
                    <a:lnTo>
                      <a:pt x="12668" y="0"/>
                    </a:lnTo>
                    <a:lnTo>
                      <a:pt x="26670" y="857"/>
                    </a:lnTo>
                    <a:lnTo>
                      <a:pt x="24574" y="15526"/>
                    </a:lnTo>
                    <a:lnTo>
                      <a:pt x="36481" y="17240"/>
                    </a:lnTo>
                    <a:lnTo>
                      <a:pt x="34862" y="28766"/>
                    </a:lnTo>
                    <a:lnTo>
                      <a:pt x="22955" y="27051"/>
                    </a:lnTo>
                    <a:lnTo>
                      <a:pt x="18860" y="55912"/>
                    </a:lnTo>
                    <a:cubicBezTo>
                      <a:pt x="18479" y="58483"/>
                      <a:pt x="18669" y="60484"/>
                      <a:pt x="19431" y="61817"/>
                    </a:cubicBezTo>
                    <a:cubicBezTo>
                      <a:pt x="20193" y="63151"/>
                      <a:pt x="21526" y="63913"/>
                      <a:pt x="23622" y="64199"/>
                    </a:cubicBezTo>
                    <a:cubicBezTo>
                      <a:pt x="25241" y="64389"/>
                      <a:pt x="27146" y="64484"/>
                      <a:pt x="29337" y="64294"/>
                    </a:cubicBezTo>
                    <a:lnTo>
                      <a:pt x="28861" y="76200"/>
                    </a:lnTo>
                    <a:cubicBezTo>
                      <a:pt x="24479" y="76771"/>
                      <a:pt x="20193" y="76771"/>
                      <a:pt x="16002" y="76200"/>
                    </a:cubicBezTo>
                    <a:cubicBezTo>
                      <a:pt x="11049" y="75533"/>
                      <a:pt x="7429" y="73628"/>
                      <a:pt x="5144" y="70485"/>
                    </a:cubicBezTo>
                    <a:close/>
                  </a:path>
                </a:pathLst>
              </a:custGeom>
              <a:solidFill>
                <a:srgbClr val="231F20"/>
              </a:solidFill>
              <a:ln w="9525" cap="flat">
                <a:noFill/>
                <a:prstDash val="solid"/>
                <a:miter/>
              </a:ln>
            </p:spPr>
            <p:txBody>
              <a:bodyPr rtlCol="0" anchor="ctr"/>
              <a:lstStyle/>
              <a:p>
                <a:pPr marL="0" marR="0" lvl="0" indent="0" algn="l" defTabSz="913578" rtl="0" eaLnBrk="1" fontAlgn="auto" latinLnBrk="0" hangingPunct="1">
                  <a:lnSpc>
                    <a:spcPct val="100000"/>
                  </a:lnSpc>
                  <a:spcBef>
                    <a:spcPts val="0"/>
                  </a:spcBef>
                  <a:spcAft>
                    <a:spcPts val="0"/>
                  </a:spcAft>
                  <a:buClrTx/>
                  <a:buSzTx/>
                  <a:buFontTx/>
                  <a:buNone/>
                  <a:tabLst/>
                  <a:defRPr/>
                </a:pPr>
                <a:endParaRPr kumimoji="0" lang="en-US" sz="17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433" name="Freeform: Shape 258">
                <a:extLst>
                  <a:ext uri="{FF2B5EF4-FFF2-40B4-BE49-F238E27FC236}">
                    <a16:creationId xmlns:a16="http://schemas.microsoft.com/office/drawing/2014/main" id="{D3D937B0-DC0B-D09A-EF77-AF7B5ECB6248}"/>
                  </a:ext>
                </a:extLst>
              </p:cNvPr>
              <p:cNvSpPr/>
              <p:nvPr/>
            </p:nvSpPr>
            <p:spPr>
              <a:xfrm>
                <a:off x="6427660" y="2587040"/>
                <a:ext cx="28714" cy="86246"/>
              </a:xfrm>
              <a:custGeom>
                <a:avLst/>
                <a:gdLst>
                  <a:gd name="connsiteX0" fmla="*/ 9525 w 28714"/>
                  <a:gd name="connsiteY0" fmla="*/ 24238 h 86246"/>
                  <a:gd name="connsiteX1" fmla="*/ 25051 w 28714"/>
                  <a:gd name="connsiteY1" fmla="*/ 26715 h 86246"/>
                  <a:gd name="connsiteX2" fmla="*/ 15526 w 28714"/>
                  <a:gd name="connsiteY2" fmla="*/ 86246 h 86246"/>
                  <a:gd name="connsiteX3" fmla="*/ 0 w 28714"/>
                  <a:gd name="connsiteY3" fmla="*/ 83769 h 86246"/>
                  <a:gd name="connsiteX4" fmla="*/ 9525 w 28714"/>
                  <a:gd name="connsiteY4" fmla="*/ 24238 h 86246"/>
                  <a:gd name="connsiteX5" fmla="*/ 12573 w 28714"/>
                  <a:gd name="connsiteY5" fmla="*/ 14142 h 86246"/>
                  <a:gd name="connsiteX6" fmla="*/ 11239 w 28714"/>
                  <a:gd name="connsiteY6" fmla="*/ 7474 h 86246"/>
                  <a:gd name="connsiteX7" fmla="*/ 14573 w 28714"/>
                  <a:gd name="connsiteY7" fmla="*/ 1473 h 86246"/>
                  <a:gd name="connsiteX8" fmla="*/ 21336 w 28714"/>
                  <a:gd name="connsiteY8" fmla="*/ 140 h 86246"/>
                  <a:gd name="connsiteX9" fmla="*/ 27241 w 28714"/>
                  <a:gd name="connsiteY9" fmla="*/ 3474 h 86246"/>
                  <a:gd name="connsiteX10" fmla="*/ 28575 w 28714"/>
                  <a:gd name="connsiteY10" fmla="*/ 10236 h 86246"/>
                  <a:gd name="connsiteX11" fmla="*/ 25241 w 28714"/>
                  <a:gd name="connsiteY11" fmla="*/ 16142 h 86246"/>
                  <a:gd name="connsiteX12" fmla="*/ 18669 w 28714"/>
                  <a:gd name="connsiteY12" fmla="*/ 17571 h 86246"/>
                  <a:gd name="connsiteX13" fmla="*/ 12668 w 28714"/>
                  <a:gd name="connsiteY13" fmla="*/ 14237 h 8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8714" h="86246">
                    <a:moveTo>
                      <a:pt x="9525" y="24238"/>
                    </a:moveTo>
                    <a:lnTo>
                      <a:pt x="25051" y="26715"/>
                    </a:lnTo>
                    <a:lnTo>
                      <a:pt x="15526" y="86246"/>
                    </a:lnTo>
                    <a:lnTo>
                      <a:pt x="0" y="83769"/>
                    </a:lnTo>
                    <a:lnTo>
                      <a:pt x="9525" y="24238"/>
                    </a:lnTo>
                    <a:close/>
                    <a:moveTo>
                      <a:pt x="12573" y="14142"/>
                    </a:moveTo>
                    <a:cubicBezTo>
                      <a:pt x="11239" y="12332"/>
                      <a:pt x="10859" y="10141"/>
                      <a:pt x="11239" y="7474"/>
                    </a:cubicBezTo>
                    <a:cubicBezTo>
                      <a:pt x="11620" y="4807"/>
                      <a:pt x="12763" y="2807"/>
                      <a:pt x="14573" y="1473"/>
                    </a:cubicBezTo>
                    <a:cubicBezTo>
                      <a:pt x="16383" y="140"/>
                      <a:pt x="18574" y="-241"/>
                      <a:pt x="21336" y="140"/>
                    </a:cubicBezTo>
                    <a:cubicBezTo>
                      <a:pt x="23908" y="521"/>
                      <a:pt x="25908" y="1664"/>
                      <a:pt x="27241" y="3474"/>
                    </a:cubicBezTo>
                    <a:cubicBezTo>
                      <a:pt x="28575" y="5284"/>
                      <a:pt x="28956" y="7569"/>
                      <a:pt x="28575" y="10236"/>
                    </a:cubicBezTo>
                    <a:cubicBezTo>
                      <a:pt x="28194" y="12808"/>
                      <a:pt x="27051" y="14809"/>
                      <a:pt x="25241" y="16142"/>
                    </a:cubicBezTo>
                    <a:cubicBezTo>
                      <a:pt x="23432" y="17476"/>
                      <a:pt x="21241" y="17952"/>
                      <a:pt x="18669" y="17571"/>
                    </a:cubicBezTo>
                    <a:cubicBezTo>
                      <a:pt x="15907" y="17094"/>
                      <a:pt x="13907" y="16047"/>
                      <a:pt x="12668" y="14237"/>
                    </a:cubicBezTo>
                    <a:close/>
                  </a:path>
                </a:pathLst>
              </a:custGeom>
              <a:solidFill>
                <a:srgbClr val="231F20"/>
              </a:solidFill>
              <a:ln w="9525" cap="flat">
                <a:noFill/>
                <a:prstDash val="solid"/>
                <a:miter/>
              </a:ln>
            </p:spPr>
            <p:txBody>
              <a:bodyPr rtlCol="0" anchor="ctr"/>
              <a:lstStyle/>
              <a:p>
                <a:pPr marL="0" marR="0" lvl="0" indent="0" algn="l" defTabSz="913578" rtl="0" eaLnBrk="1" fontAlgn="auto" latinLnBrk="0" hangingPunct="1">
                  <a:lnSpc>
                    <a:spcPct val="100000"/>
                  </a:lnSpc>
                  <a:spcBef>
                    <a:spcPts val="0"/>
                  </a:spcBef>
                  <a:spcAft>
                    <a:spcPts val="0"/>
                  </a:spcAft>
                  <a:buClrTx/>
                  <a:buSzTx/>
                  <a:buFontTx/>
                  <a:buNone/>
                  <a:tabLst/>
                  <a:defRPr/>
                </a:pPr>
                <a:endParaRPr kumimoji="0" lang="en-US" sz="17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434" name="Freeform: Shape 259">
                <a:extLst>
                  <a:ext uri="{FF2B5EF4-FFF2-40B4-BE49-F238E27FC236}">
                    <a16:creationId xmlns:a16="http://schemas.microsoft.com/office/drawing/2014/main" id="{5644AE64-8D21-D932-F040-2F3418E77EB7}"/>
                  </a:ext>
                </a:extLst>
              </p:cNvPr>
              <p:cNvSpPr/>
              <p:nvPr/>
            </p:nvSpPr>
            <p:spPr>
              <a:xfrm>
                <a:off x="6460047" y="2619421"/>
                <a:ext cx="61297" cy="62962"/>
              </a:xfrm>
              <a:custGeom>
                <a:avLst/>
                <a:gdLst>
                  <a:gd name="connsiteX0" fmla="*/ 9333 w 61297"/>
                  <a:gd name="connsiteY0" fmla="*/ 55199 h 62962"/>
                  <a:gd name="connsiteX1" fmla="*/ 1236 w 61297"/>
                  <a:gd name="connsiteY1" fmla="*/ 42245 h 62962"/>
                  <a:gd name="connsiteX2" fmla="*/ 665 w 61297"/>
                  <a:gd name="connsiteY2" fmla="*/ 25862 h 62962"/>
                  <a:gd name="connsiteX3" fmla="*/ 6856 w 61297"/>
                  <a:gd name="connsiteY3" fmla="*/ 11003 h 62962"/>
                  <a:gd name="connsiteX4" fmla="*/ 19048 w 61297"/>
                  <a:gd name="connsiteY4" fmla="*/ 1763 h 62962"/>
                  <a:gd name="connsiteX5" fmla="*/ 36289 w 61297"/>
                  <a:gd name="connsiteY5" fmla="*/ 716 h 62962"/>
                  <a:gd name="connsiteX6" fmla="*/ 52481 w 61297"/>
                  <a:gd name="connsiteY6" fmla="*/ 7955 h 62962"/>
                  <a:gd name="connsiteX7" fmla="*/ 60291 w 61297"/>
                  <a:gd name="connsiteY7" fmla="*/ 20718 h 62962"/>
                  <a:gd name="connsiteX8" fmla="*/ 60577 w 61297"/>
                  <a:gd name="connsiteY8" fmla="*/ 36911 h 62962"/>
                  <a:gd name="connsiteX9" fmla="*/ 54291 w 61297"/>
                  <a:gd name="connsiteY9" fmla="*/ 51960 h 62962"/>
                  <a:gd name="connsiteX10" fmla="*/ 42004 w 61297"/>
                  <a:gd name="connsiteY10" fmla="*/ 61199 h 62962"/>
                  <a:gd name="connsiteX11" fmla="*/ 24763 w 61297"/>
                  <a:gd name="connsiteY11" fmla="*/ 62247 h 62962"/>
                  <a:gd name="connsiteX12" fmla="*/ 9428 w 61297"/>
                  <a:gd name="connsiteY12" fmla="*/ 55199 h 62962"/>
                  <a:gd name="connsiteX13" fmla="*/ 38193 w 61297"/>
                  <a:gd name="connsiteY13" fmla="*/ 47102 h 62962"/>
                  <a:gd name="connsiteX14" fmla="*/ 44385 w 61297"/>
                  <a:gd name="connsiteY14" fmla="*/ 33958 h 62962"/>
                  <a:gd name="connsiteX15" fmla="*/ 43433 w 61297"/>
                  <a:gd name="connsiteY15" fmla="*/ 19670 h 62962"/>
                  <a:gd name="connsiteX16" fmla="*/ 34288 w 61297"/>
                  <a:gd name="connsiteY16" fmla="*/ 13003 h 62962"/>
                  <a:gd name="connsiteX17" fmla="*/ 22954 w 61297"/>
                  <a:gd name="connsiteY17" fmla="*/ 15860 h 62962"/>
                  <a:gd name="connsiteX18" fmla="*/ 16857 w 61297"/>
                  <a:gd name="connsiteY18" fmla="*/ 28814 h 62962"/>
                  <a:gd name="connsiteX19" fmla="*/ 16667 w 61297"/>
                  <a:gd name="connsiteY19" fmla="*/ 39197 h 62962"/>
                  <a:gd name="connsiteX20" fmla="*/ 20191 w 61297"/>
                  <a:gd name="connsiteY20" fmla="*/ 46436 h 62962"/>
                  <a:gd name="connsiteX21" fmla="*/ 26764 w 61297"/>
                  <a:gd name="connsiteY21" fmla="*/ 49960 h 62962"/>
                  <a:gd name="connsiteX22" fmla="*/ 38193 w 61297"/>
                  <a:gd name="connsiteY22" fmla="*/ 47102 h 6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61297" h="62962">
                    <a:moveTo>
                      <a:pt x="9333" y="55199"/>
                    </a:moveTo>
                    <a:cubicBezTo>
                      <a:pt x="5332" y="51674"/>
                      <a:pt x="2665" y="47388"/>
                      <a:pt x="1236" y="42245"/>
                    </a:cubicBezTo>
                    <a:cubicBezTo>
                      <a:pt x="-192" y="37101"/>
                      <a:pt x="-383" y="31672"/>
                      <a:pt x="665" y="25862"/>
                    </a:cubicBezTo>
                    <a:cubicBezTo>
                      <a:pt x="1713" y="20147"/>
                      <a:pt x="3808" y="15194"/>
                      <a:pt x="6856" y="11003"/>
                    </a:cubicBezTo>
                    <a:cubicBezTo>
                      <a:pt x="9904" y="6812"/>
                      <a:pt x="14000" y="3668"/>
                      <a:pt x="19048" y="1763"/>
                    </a:cubicBezTo>
                    <a:cubicBezTo>
                      <a:pt x="24096" y="-142"/>
                      <a:pt x="29811" y="-523"/>
                      <a:pt x="36289" y="716"/>
                    </a:cubicBezTo>
                    <a:cubicBezTo>
                      <a:pt x="43146" y="1954"/>
                      <a:pt x="48480" y="4335"/>
                      <a:pt x="52481" y="7955"/>
                    </a:cubicBezTo>
                    <a:cubicBezTo>
                      <a:pt x="56482" y="11574"/>
                      <a:pt x="59053" y="15765"/>
                      <a:pt x="60291" y="20718"/>
                    </a:cubicBezTo>
                    <a:cubicBezTo>
                      <a:pt x="61530" y="25671"/>
                      <a:pt x="61625" y="31100"/>
                      <a:pt x="60577" y="36911"/>
                    </a:cubicBezTo>
                    <a:cubicBezTo>
                      <a:pt x="59529" y="42721"/>
                      <a:pt x="57434" y="47769"/>
                      <a:pt x="54291" y="51960"/>
                    </a:cubicBezTo>
                    <a:cubicBezTo>
                      <a:pt x="51148" y="56246"/>
                      <a:pt x="47051" y="59294"/>
                      <a:pt x="42004" y="61199"/>
                    </a:cubicBezTo>
                    <a:cubicBezTo>
                      <a:pt x="36955" y="63104"/>
                      <a:pt x="31240" y="63485"/>
                      <a:pt x="24763" y="62247"/>
                    </a:cubicBezTo>
                    <a:cubicBezTo>
                      <a:pt x="18572" y="61104"/>
                      <a:pt x="13429" y="58723"/>
                      <a:pt x="9428" y="55199"/>
                    </a:cubicBezTo>
                    <a:close/>
                    <a:moveTo>
                      <a:pt x="38193" y="47102"/>
                    </a:moveTo>
                    <a:cubicBezTo>
                      <a:pt x="41241" y="44340"/>
                      <a:pt x="43337" y="39959"/>
                      <a:pt x="44385" y="33958"/>
                    </a:cubicBezTo>
                    <a:cubicBezTo>
                      <a:pt x="45432" y="28052"/>
                      <a:pt x="45147" y="23290"/>
                      <a:pt x="43433" y="19670"/>
                    </a:cubicBezTo>
                    <a:cubicBezTo>
                      <a:pt x="41717" y="16051"/>
                      <a:pt x="38670" y="13860"/>
                      <a:pt x="34288" y="13003"/>
                    </a:cubicBezTo>
                    <a:cubicBezTo>
                      <a:pt x="29716" y="12146"/>
                      <a:pt x="26002" y="13098"/>
                      <a:pt x="22954" y="15860"/>
                    </a:cubicBezTo>
                    <a:cubicBezTo>
                      <a:pt x="19905" y="18623"/>
                      <a:pt x="17905" y="22909"/>
                      <a:pt x="16857" y="28814"/>
                    </a:cubicBezTo>
                    <a:cubicBezTo>
                      <a:pt x="16095" y="32720"/>
                      <a:pt x="16095" y="36149"/>
                      <a:pt x="16667" y="39197"/>
                    </a:cubicBezTo>
                    <a:cubicBezTo>
                      <a:pt x="17239" y="42245"/>
                      <a:pt x="18476" y="44626"/>
                      <a:pt x="20191" y="46436"/>
                    </a:cubicBezTo>
                    <a:cubicBezTo>
                      <a:pt x="21906" y="48245"/>
                      <a:pt x="24096" y="49388"/>
                      <a:pt x="26764" y="49960"/>
                    </a:cubicBezTo>
                    <a:cubicBezTo>
                      <a:pt x="31336" y="50817"/>
                      <a:pt x="35145" y="49865"/>
                      <a:pt x="38193" y="47102"/>
                    </a:cubicBezTo>
                    <a:close/>
                  </a:path>
                </a:pathLst>
              </a:custGeom>
              <a:solidFill>
                <a:srgbClr val="231F20"/>
              </a:solidFill>
              <a:ln w="9525" cap="flat">
                <a:noFill/>
                <a:prstDash val="solid"/>
                <a:miter/>
              </a:ln>
            </p:spPr>
            <p:txBody>
              <a:bodyPr rtlCol="0" anchor="ctr"/>
              <a:lstStyle/>
              <a:p>
                <a:pPr marL="0" marR="0" lvl="0" indent="0" algn="l" defTabSz="913578" rtl="0" eaLnBrk="1" fontAlgn="auto" latinLnBrk="0" hangingPunct="1">
                  <a:lnSpc>
                    <a:spcPct val="100000"/>
                  </a:lnSpc>
                  <a:spcBef>
                    <a:spcPts val="0"/>
                  </a:spcBef>
                  <a:spcAft>
                    <a:spcPts val="0"/>
                  </a:spcAft>
                  <a:buClrTx/>
                  <a:buSzTx/>
                  <a:buFontTx/>
                  <a:buNone/>
                  <a:tabLst/>
                  <a:defRPr/>
                </a:pPr>
                <a:endParaRPr kumimoji="0" lang="en-US" sz="17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435" name="Freeform: Shape 260">
                <a:extLst>
                  <a:ext uri="{FF2B5EF4-FFF2-40B4-BE49-F238E27FC236}">
                    <a16:creationId xmlns:a16="http://schemas.microsoft.com/office/drawing/2014/main" id="{AC5C1D78-4A32-BAEE-3F0C-D09A7B2D7B2B}"/>
                  </a:ext>
                </a:extLst>
              </p:cNvPr>
              <p:cNvSpPr/>
              <p:nvPr/>
            </p:nvSpPr>
            <p:spPr>
              <a:xfrm>
                <a:off x="6526625" y="2629471"/>
                <a:ext cx="62451" cy="70675"/>
              </a:xfrm>
              <a:custGeom>
                <a:avLst/>
                <a:gdLst>
                  <a:gd name="connsiteX0" fmla="*/ 10001 w 62451"/>
                  <a:gd name="connsiteY0" fmla="*/ 13240 h 70675"/>
                  <a:gd name="connsiteX1" fmla="*/ 11525 w 62451"/>
                  <a:gd name="connsiteY1" fmla="*/ 5429 h 70675"/>
                  <a:gd name="connsiteX2" fmla="*/ 12382 w 62451"/>
                  <a:gd name="connsiteY2" fmla="*/ 0 h 70675"/>
                  <a:gd name="connsiteX3" fmla="*/ 26955 w 62451"/>
                  <a:gd name="connsiteY3" fmla="*/ 3143 h 70675"/>
                  <a:gd name="connsiteX4" fmla="*/ 26384 w 62451"/>
                  <a:gd name="connsiteY4" fmla="*/ 8096 h 70675"/>
                  <a:gd name="connsiteX5" fmla="*/ 25336 w 62451"/>
                  <a:gd name="connsiteY5" fmla="*/ 13907 h 70675"/>
                  <a:gd name="connsiteX6" fmla="*/ 25527 w 62451"/>
                  <a:gd name="connsiteY6" fmla="*/ 13907 h 70675"/>
                  <a:gd name="connsiteX7" fmla="*/ 35242 w 62451"/>
                  <a:gd name="connsiteY7" fmla="*/ 6667 h 70675"/>
                  <a:gd name="connsiteX8" fmla="*/ 47054 w 62451"/>
                  <a:gd name="connsiteY8" fmla="*/ 6191 h 70675"/>
                  <a:gd name="connsiteX9" fmla="*/ 60484 w 62451"/>
                  <a:gd name="connsiteY9" fmla="*/ 15621 h 70675"/>
                  <a:gd name="connsiteX10" fmla="*/ 61531 w 62451"/>
                  <a:gd name="connsiteY10" fmla="*/ 33242 h 70675"/>
                  <a:gd name="connsiteX11" fmla="*/ 53340 w 62451"/>
                  <a:gd name="connsiteY11" fmla="*/ 70675 h 70675"/>
                  <a:gd name="connsiteX12" fmla="*/ 38100 w 62451"/>
                  <a:gd name="connsiteY12" fmla="*/ 67342 h 70675"/>
                  <a:gd name="connsiteX13" fmla="*/ 45339 w 62451"/>
                  <a:gd name="connsiteY13" fmla="*/ 34290 h 70675"/>
                  <a:gd name="connsiteX14" fmla="*/ 45339 w 62451"/>
                  <a:gd name="connsiteY14" fmla="*/ 23527 h 70675"/>
                  <a:gd name="connsiteX15" fmla="*/ 38481 w 62451"/>
                  <a:gd name="connsiteY15" fmla="*/ 18193 h 70675"/>
                  <a:gd name="connsiteX16" fmla="*/ 31432 w 62451"/>
                  <a:gd name="connsiteY16" fmla="*/ 18669 h 70675"/>
                  <a:gd name="connsiteX17" fmla="*/ 25622 w 62451"/>
                  <a:gd name="connsiteY17" fmla="*/ 23146 h 70675"/>
                  <a:gd name="connsiteX18" fmla="*/ 22193 w 62451"/>
                  <a:gd name="connsiteY18" fmla="*/ 30766 h 70675"/>
                  <a:gd name="connsiteX19" fmla="*/ 15335 w 62451"/>
                  <a:gd name="connsiteY19" fmla="*/ 62389 h 70675"/>
                  <a:gd name="connsiteX20" fmla="*/ 0 w 62451"/>
                  <a:gd name="connsiteY20" fmla="*/ 59055 h 70675"/>
                  <a:gd name="connsiteX21" fmla="*/ 10001 w 62451"/>
                  <a:gd name="connsiteY21" fmla="*/ 13240 h 70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62451" h="70675">
                    <a:moveTo>
                      <a:pt x="10001" y="13240"/>
                    </a:moveTo>
                    <a:cubicBezTo>
                      <a:pt x="10573" y="10763"/>
                      <a:pt x="11049" y="8096"/>
                      <a:pt x="11525" y="5429"/>
                    </a:cubicBezTo>
                    <a:cubicBezTo>
                      <a:pt x="12001" y="2762"/>
                      <a:pt x="12287" y="953"/>
                      <a:pt x="12382" y="0"/>
                    </a:cubicBezTo>
                    <a:lnTo>
                      <a:pt x="26955" y="3143"/>
                    </a:lnTo>
                    <a:cubicBezTo>
                      <a:pt x="26955" y="4000"/>
                      <a:pt x="26765" y="5620"/>
                      <a:pt x="26384" y="8096"/>
                    </a:cubicBezTo>
                    <a:cubicBezTo>
                      <a:pt x="26003" y="10573"/>
                      <a:pt x="25717" y="12478"/>
                      <a:pt x="25336" y="13907"/>
                    </a:cubicBezTo>
                    <a:lnTo>
                      <a:pt x="25527" y="13907"/>
                    </a:lnTo>
                    <a:cubicBezTo>
                      <a:pt x="28480" y="10382"/>
                      <a:pt x="31718" y="8001"/>
                      <a:pt x="35242" y="6667"/>
                    </a:cubicBezTo>
                    <a:cubicBezTo>
                      <a:pt x="38767" y="5429"/>
                      <a:pt x="42767" y="5239"/>
                      <a:pt x="47054" y="6191"/>
                    </a:cubicBezTo>
                    <a:cubicBezTo>
                      <a:pt x="53816" y="7620"/>
                      <a:pt x="58198" y="10763"/>
                      <a:pt x="60484" y="15621"/>
                    </a:cubicBezTo>
                    <a:cubicBezTo>
                      <a:pt x="62674" y="20383"/>
                      <a:pt x="63055" y="26289"/>
                      <a:pt x="61531" y="33242"/>
                    </a:cubicBezTo>
                    <a:lnTo>
                      <a:pt x="53340" y="70675"/>
                    </a:lnTo>
                    <a:lnTo>
                      <a:pt x="38100" y="67342"/>
                    </a:lnTo>
                    <a:lnTo>
                      <a:pt x="45339" y="34290"/>
                    </a:lnTo>
                    <a:cubicBezTo>
                      <a:pt x="46291" y="29813"/>
                      <a:pt x="46291" y="26289"/>
                      <a:pt x="45339" y="23527"/>
                    </a:cubicBezTo>
                    <a:cubicBezTo>
                      <a:pt x="44386" y="20765"/>
                      <a:pt x="42100" y="18955"/>
                      <a:pt x="38481" y="18193"/>
                    </a:cubicBezTo>
                    <a:cubicBezTo>
                      <a:pt x="36004" y="17621"/>
                      <a:pt x="33623" y="17812"/>
                      <a:pt x="31432" y="18669"/>
                    </a:cubicBezTo>
                    <a:cubicBezTo>
                      <a:pt x="29146" y="19526"/>
                      <a:pt x="27241" y="21050"/>
                      <a:pt x="25622" y="23146"/>
                    </a:cubicBezTo>
                    <a:cubicBezTo>
                      <a:pt x="24003" y="25241"/>
                      <a:pt x="22860" y="27813"/>
                      <a:pt x="22193" y="30766"/>
                    </a:cubicBezTo>
                    <a:lnTo>
                      <a:pt x="15335" y="62389"/>
                    </a:lnTo>
                    <a:lnTo>
                      <a:pt x="0" y="59055"/>
                    </a:lnTo>
                    <a:lnTo>
                      <a:pt x="10001" y="13240"/>
                    </a:lnTo>
                    <a:close/>
                  </a:path>
                </a:pathLst>
              </a:custGeom>
              <a:solidFill>
                <a:srgbClr val="231F20"/>
              </a:solidFill>
              <a:ln w="9525" cap="flat">
                <a:noFill/>
                <a:prstDash val="solid"/>
                <a:miter/>
              </a:ln>
            </p:spPr>
            <p:txBody>
              <a:bodyPr rtlCol="0" anchor="ctr"/>
              <a:lstStyle/>
              <a:p>
                <a:pPr marL="0" marR="0" lvl="0" indent="0" algn="l" defTabSz="913578" rtl="0" eaLnBrk="1" fontAlgn="auto" latinLnBrk="0" hangingPunct="1">
                  <a:lnSpc>
                    <a:spcPct val="100000"/>
                  </a:lnSpc>
                  <a:spcBef>
                    <a:spcPts val="0"/>
                  </a:spcBef>
                  <a:spcAft>
                    <a:spcPts val="0"/>
                  </a:spcAft>
                  <a:buClrTx/>
                  <a:buSzTx/>
                  <a:buFontTx/>
                  <a:buNone/>
                  <a:tabLst/>
                  <a:defRPr/>
                </a:pPr>
                <a:endParaRPr kumimoji="0" lang="en-US" sz="17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436" name="Freeform: Shape 261">
                <a:extLst>
                  <a:ext uri="{FF2B5EF4-FFF2-40B4-BE49-F238E27FC236}">
                    <a16:creationId xmlns:a16="http://schemas.microsoft.com/office/drawing/2014/main" id="{4B2B3BE8-8584-B07E-0FAF-7C33830E7A6B}"/>
                  </a:ext>
                </a:extLst>
              </p:cNvPr>
              <p:cNvSpPr/>
              <p:nvPr/>
            </p:nvSpPr>
            <p:spPr>
              <a:xfrm>
                <a:off x="6590919" y="2647667"/>
                <a:ext cx="58673" cy="63216"/>
              </a:xfrm>
              <a:custGeom>
                <a:avLst/>
                <a:gdLst>
                  <a:gd name="connsiteX0" fmla="*/ 9715 w 58673"/>
                  <a:gd name="connsiteY0" fmla="*/ 56575 h 63216"/>
                  <a:gd name="connsiteX1" fmla="*/ 0 w 58673"/>
                  <a:gd name="connsiteY1" fmla="*/ 47336 h 63216"/>
                  <a:gd name="connsiteX2" fmla="*/ 9525 w 58673"/>
                  <a:gd name="connsiteY2" fmla="*/ 38573 h 63216"/>
                  <a:gd name="connsiteX3" fmla="*/ 17145 w 58673"/>
                  <a:gd name="connsiteY3" fmla="*/ 46479 h 63216"/>
                  <a:gd name="connsiteX4" fmla="*/ 25622 w 58673"/>
                  <a:gd name="connsiteY4" fmla="*/ 50574 h 63216"/>
                  <a:gd name="connsiteX5" fmla="*/ 33432 w 58673"/>
                  <a:gd name="connsiteY5" fmla="*/ 51241 h 63216"/>
                  <a:gd name="connsiteX6" fmla="*/ 37242 w 58673"/>
                  <a:gd name="connsiteY6" fmla="*/ 47526 h 63216"/>
                  <a:gd name="connsiteX7" fmla="*/ 36766 w 58673"/>
                  <a:gd name="connsiteY7" fmla="*/ 43526 h 63216"/>
                  <a:gd name="connsiteX8" fmla="*/ 33718 w 58673"/>
                  <a:gd name="connsiteY8" fmla="*/ 40573 h 63216"/>
                  <a:gd name="connsiteX9" fmla="*/ 27908 w 58673"/>
                  <a:gd name="connsiteY9" fmla="*/ 37335 h 63216"/>
                  <a:gd name="connsiteX10" fmla="*/ 25241 w 58673"/>
                  <a:gd name="connsiteY10" fmla="*/ 35906 h 63216"/>
                  <a:gd name="connsiteX11" fmla="*/ 16287 w 58673"/>
                  <a:gd name="connsiteY11" fmla="*/ 30096 h 63216"/>
                  <a:gd name="connsiteX12" fmla="*/ 11239 w 58673"/>
                  <a:gd name="connsiteY12" fmla="*/ 23142 h 63216"/>
                  <a:gd name="connsiteX13" fmla="*/ 11049 w 58673"/>
                  <a:gd name="connsiteY13" fmla="*/ 13332 h 63216"/>
                  <a:gd name="connsiteX14" fmla="*/ 16097 w 58673"/>
                  <a:gd name="connsiteY14" fmla="*/ 4473 h 63216"/>
                  <a:gd name="connsiteX15" fmla="*/ 25432 w 58673"/>
                  <a:gd name="connsiteY15" fmla="*/ 282 h 63216"/>
                  <a:gd name="connsiteX16" fmla="*/ 38385 w 58673"/>
                  <a:gd name="connsiteY16" fmla="*/ 1235 h 63216"/>
                  <a:gd name="connsiteX17" fmla="*/ 50482 w 58673"/>
                  <a:gd name="connsiteY17" fmla="*/ 6473 h 63216"/>
                  <a:gd name="connsiteX18" fmla="*/ 58674 w 58673"/>
                  <a:gd name="connsiteY18" fmla="*/ 15237 h 63216"/>
                  <a:gd name="connsiteX19" fmla="*/ 48673 w 58673"/>
                  <a:gd name="connsiteY19" fmla="*/ 22285 h 63216"/>
                  <a:gd name="connsiteX20" fmla="*/ 35719 w 58673"/>
                  <a:gd name="connsiteY20" fmla="*/ 12569 h 63216"/>
                  <a:gd name="connsiteX21" fmla="*/ 25432 w 58673"/>
                  <a:gd name="connsiteY21" fmla="*/ 15522 h 63216"/>
                  <a:gd name="connsiteX22" fmla="*/ 25812 w 58673"/>
                  <a:gd name="connsiteY22" fmla="*/ 18951 h 63216"/>
                  <a:gd name="connsiteX23" fmla="*/ 28384 w 58673"/>
                  <a:gd name="connsiteY23" fmla="*/ 21523 h 63216"/>
                  <a:gd name="connsiteX24" fmla="*/ 33528 w 58673"/>
                  <a:gd name="connsiteY24" fmla="*/ 24381 h 63216"/>
                  <a:gd name="connsiteX25" fmla="*/ 36100 w 58673"/>
                  <a:gd name="connsiteY25" fmla="*/ 25714 h 63216"/>
                  <a:gd name="connsiteX26" fmla="*/ 45911 w 58673"/>
                  <a:gd name="connsiteY26" fmla="*/ 31905 h 63216"/>
                  <a:gd name="connsiteX27" fmla="*/ 51435 w 58673"/>
                  <a:gd name="connsiteY27" fmla="*/ 39240 h 63216"/>
                  <a:gd name="connsiteX28" fmla="*/ 51721 w 58673"/>
                  <a:gd name="connsiteY28" fmla="*/ 49812 h 63216"/>
                  <a:gd name="connsiteX29" fmla="*/ 46482 w 58673"/>
                  <a:gd name="connsiteY29" fmla="*/ 58766 h 63216"/>
                  <a:gd name="connsiteX30" fmla="*/ 36671 w 58673"/>
                  <a:gd name="connsiteY30" fmla="*/ 62957 h 63216"/>
                  <a:gd name="connsiteX31" fmla="*/ 23146 w 58673"/>
                  <a:gd name="connsiteY31" fmla="*/ 61909 h 63216"/>
                  <a:gd name="connsiteX32" fmla="*/ 10096 w 58673"/>
                  <a:gd name="connsiteY32" fmla="*/ 56575 h 63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58673" h="63216">
                    <a:moveTo>
                      <a:pt x="9715" y="56575"/>
                    </a:moveTo>
                    <a:cubicBezTo>
                      <a:pt x="6096" y="54289"/>
                      <a:pt x="2857" y="51146"/>
                      <a:pt x="0" y="47336"/>
                    </a:cubicBezTo>
                    <a:lnTo>
                      <a:pt x="9525" y="38573"/>
                    </a:lnTo>
                    <a:cubicBezTo>
                      <a:pt x="12192" y="41907"/>
                      <a:pt x="14668" y="44478"/>
                      <a:pt x="17145" y="46479"/>
                    </a:cubicBezTo>
                    <a:cubicBezTo>
                      <a:pt x="19621" y="48384"/>
                      <a:pt x="22479" y="49812"/>
                      <a:pt x="25622" y="50574"/>
                    </a:cubicBezTo>
                    <a:cubicBezTo>
                      <a:pt x="28860" y="51336"/>
                      <a:pt x="31432" y="51622"/>
                      <a:pt x="33432" y="51241"/>
                    </a:cubicBezTo>
                    <a:cubicBezTo>
                      <a:pt x="35433" y="50860"/>
                      <a:pt x="36671" y="49622"/>
                      <a:pt x="37242" y="47526"/>
                    </a:cubicBezTo>
                    <a:cubicBezTo>
                      <a:pt x="37623" y="46002"/>
                      <a:pt x="37433" y="44669"/>
                      <a:pt x="36766" y="43526"/>
                    </a:cubicBezTo>
                    <a:cubicBezTo>
                      <a:pt x="36100" y="42383"/>
                      <a:pt x="35052" y="41430"/>
                      <a:pt x="33718" y="40573"/>
                    </a:cubicBezTo>
                    <a:cubicBezTo>
                      <a:pt x="32385" y="39716"/>
                      <a:pt x="30480" y="38668"/>
                      <a:pt x="27908" y="37335"/>
                    </a:cubicBezTo>
                    <a:lnTo>
                      <a:pt x="25241" y="35906"/>
                    </a:lnTo>
                    <a:cubicBezTo>
                      <a:pt x="21526" y="33906"/>
                      <a:pt x="18573" y="32001"/>
                      <a:pt x="16287" y="30096"/>
                    </a:cubicBezTo>
                    <a:cubicBezTo>
                      <a:pt x="14001" y="28190"/>
                      <a:pt x="12287" y="25905"/>
                      <a:pt x="11239" y="23142"/>
                    </a:cubicBezTo>
                    <a:cubicBezTo>
                      <a:pt x="10192" y="20380"/>
                      <a:pt x="10096" y="17142"/>
                      <a:pt x="11049" y="13332"/>
                    </a:cubicBezTo>
                    <a:cubicBezTo>
                      <a:pt x="12001" y="9617"/>
                      <a:pt x="13621" y="6664"/>
                      <a:pt x="16097" y="4473"/>
                    </a:cubicBezTo>
                    <a:cubicBezTo>
                      <a:pt x="18479" y="2283"/>
                      <a:pt x="21621" y="854"/>
                      <a:pt x="25432" y="282"/>
                    </a:cubicBezTo>
                    <a:cubicBezTo>
                      <a:pt x="29242" y="-289"/>
                      <a:pt x="33528" y="-3"/>
                      <a:pt x="38385" y="1235"/>
                    </a:cubicBezTo>
                    <a:cubicBezTo>
                      <a:pt x="43053" y="2378"/>
                      <a:pt x="47054" y="4188"/>
                      <a:pt x="50482" y="6473"/>
                    </a:cubicBezTo>
                    <a:cubicBezTo>
                      <a:pt x="53911" y="8855"/>
                      <a:pt x="56673" y="11712"/>
                      <a:pt x="58674" y="15237"/>
                    </a:cubicBezTo>
                    <a:lnTo>
                      <a:pt x="48673" y="22285"/>
                    </a:lnTo>
                    <a:cubicBezTo>
                      <a:pt x="45529" y="17142"/>
                      <a:pt x="41243" y="13903"/>
                      <a:pt x="35719" y="12569"/>
                    </a:cubicBezTo>
                    <a:cubicBezTo>
                      <a:pt x="29718" y="11046"/>
                      <a:pt x="26289" y="12093"/>
                      <a:pt x="25432" y="15522"/>
                    </a:cubicBezTo>
                    <a:cubicBezTo>
                      <a:pt x="25051" y="16856"/>
                      <a:pt x="25241" y="17999"/>
                      <a:pt x="25812" y="18951"/>
                    </a:cubicBezTo>
                    <a:cubicBezTo>
                      <a:pt x="26384" y="19904"/>
                      <a:pt x="27241" y="20761"/>
                      <a:pt x="28384" y="21523"/>
                    </a:cubicBezTo>
                    <a:cubicBezTo>
                      <a:pt x="29527" y="22285"/>
                      <a:pt x="31242" y="23238"/>
                      <a:pt x="33528" y="24381"/>
                    </a:cubicBezTo>
                    <a:lnTo>
                      <a:pt x="36100" y="25714"/>
                    </a:lnTo>
                    <a:cubicBezTo>
                      <a:pt x="40195" y="27905"/>
                      <a:pt x="43434" y="29905"/>
                      <a:pt x="45911" y="31905"/>
                    </a:cubicBezTo>
                    <a:cubicBezTo>
                      <a:pt x="48387" y="33810"/>
                      <a:pt x="50292" y="36287"/>
                      <a:pt x="51435" y="39240"/>
                    </a:cubicBezTo>
                    <a:cubicBezTo>
                      <a:pt x="52673" y="42192"/>
                      <a:pt x="52768" y="45717"/>
                      <a:pt x="51721" y="49812"/>
                    </a:cubicBezTo>
                    <a:cubicBezTo>
                      <a:pt x="50768" y="53527"/>
                      <a:pt x="49053" y="56480"/>
                      <a:pt x="46482" y="58766"/>
                    </a:cubicBezTo>
                    <a:cubicBezTo>
                      <a:pt x="43910" y="61052"/>
                      <a:pt x="40671" y="62385"/>
                      <a:pt x="36671" y="62957"/>
                    </a:cubicBezTo>
                    <a:cubicBezTo>
                      <a:pt x="32671" y="63528"/>
                      <a:pt x="28194" y="63147"/>
                      <a:pt x="23146" y="61909"/>
                    </a:cubicBezTo>
                    <a:cubicBezTo>
                      <a:pt x="18097" y="60671"/>
                      <a:pt x="13716" y="58861"/>
                      <a:pt x="10096" y="56575"/>
                    </a:cubicBezTo>
                    <a:close/>
                  </a:path>
                </a:pathLst>
              </a:custGeom>
              <a:solidFill>
                <a:srgbClr val="231F20"/>
              </a:solidFill>
              <a:ln w="9525" cap="flat">
                <a:noFill/>
                <a:prstDash val="solid"/>
                <a:miter/>
              </a:ln>
            </p:spPr>
            <p:txBody>
              <a:bodyPr rtlCol="0" anchor="ctr"/>
              <a:lstStyle/>
              <a:p>
                <a:pPr marL="0" marR="0" lvl="0" indent="0" algn="l" defTabSz="913578" rtl="0" eaLnBrk="1" fontAlgn="auto" latinLnBrk="0" hangingPunct="1">
                  <a:lnSpc>
                    <a:spcPct val="100000"/>
                  </a:lnSpc>
                  <a:spcBef>
                    <a:spcPts val="0"/>
                  </a:spcBef>
                  <a:spcAft>
                    <a:spcPts val="0"/>
                  </a:spcAft>
                  <a:buClrTx/>
                  <a:buSzTx/>
                  <a:buFontTx/>
                  <a:buNone/>
                  <a:tabLst/>
                  <a:defRPr/>
                </a:pPr>
                <a:endParaRPr kumimoji="0" lang="en-US" sz="17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grpSp>
        <p:grpSp>
          <p:nvGrpSpPr>
            <p:cNvPr id="270" name="Graphic 2">
              <a:extLst>
                <a:ext uri="{FF2B5EF4-FFF2-40B4-BE49-F238E27FC236}">
                  <a16:creationId xmlns:a16="http://schemas.microsoft.com/office/drawing/2014/main" id="{7C91E81B-996A-EE8C-0223-F167F4F0E157}"/>
                </a:ext>
              </a:extLst>
            </p:cNvPr>
            <p:cNvGrpSpPr/>
            <p:nvPr/>
          </p:nvGrpSpPr>
          <p:grpSpPr>
            <a:xfrm>
              <a:off x="6515632" y="3403200"/>
              <a:ext cx="2109653" cy="636130"/>
              <a:chOff x="5292947" y="3897945"/>
              <a:chExt cx="1587101" cy="463551"/>
            </a:xfrm>
            <a:solidFill>
              <a:srgbClr val="231F20"/>
            </a:solidFill>
          </p:grpSpPr>
          <p:sp>
            <p:nvSpPr>
              <p:cNvPr id="389" name="Freeform: Shape 214">
                <a:extLst>
                  <a:ext uri="{FF2B5EF4-FFF2-40B4-BE49-F238E27FC236}">
                    <a16:creationId xmlns:a16="http://schemas.microsoft.com/office/drawing/2014/main" id="{867442DC-463D-D80D-7253-64D5B26156BF}"/>
                  </a:ext>
                </a:extLst>
              </p:cNvPr>
              <p:cNvSpPr/>
              <p:nvPr/>
            </p:nvSpPr>
            <p:spPr>
              <a:xfrm>
                <a:off x="5292947" y="4301775"/>
                <a:ext cx="73151" cy="59721"/>
              </a:xfrm>
              <a:custGeom>
                <a:avLst/>
                <a:gdLst>
                  <a:gd name="connsiteX0" fmla="*/ 0 w 73151"/>
                  <a:gd name="connsiteY0" fmla="*/ 13240 h 59721"/>
                  <a:gd name="connsiteX1" fmla="*/ 9715 w 73151"/>
                  <a:gd name="connsiteY1" fmla="*/ 0 h 59721"/>
                  <a:gd name="connsiteX2" fmla="*/ 73152 w 73151"/>
                  <a:gd name="connsiteY2" fmla="*/ 46482 h 59721"/>
                  <a:gd name="connsiteX3" fmla="*/ 63437 w 73151"/>
                  <a:gd name="connsiteY3" fmla="*/ 59722 h 59721"/>
                  <a:gd name="connsiteX4" fmla="*/ 0 w 73151"/>
                  <a:gd name="connsiteY4" fmla="*/ 13240 h 597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151" h="59721">
                    <a:moveTo>
                      <a:pt x="0" y="13240"/>
                    </a:moveTo>
                    <a:lnTo>
                      <a:pt x="9715" y="0"/>
                    </a:lnTo>
                    <a:lnTo>
                      <a:pt x="73152" y="46482"/>
                    </a:lnTo>
                    <a:lnTo>
                      <a:pt x="63437" y="59722"/>
                    </a:lnTo>
                    <a:lnTo>
                      <a:pt x="0" y="13240"/>
                    </a:lnTo>
                    <a:close/>
                  </a:path>
                </a:pathLst>
              </a:custGeom>
              <a:solidFill>
                <a:srgbClr val="231F20"/>
              </a:solidFill>
              <a:ln w="9525" cap="flat">
                <a:noFill/>
                <a:prstDash val="solid"/>
                <a:miter/>
              </a:ln>
            </p:spPr>
            <p:txBody>
              <a:bodyPr rtlCol="0" anchor="ctr"/>
              <a:lstStyle/>
              <a:p>
                <a:pPr marL="0" marR="0" lvl="0" indent="0" algn="l" defTabSz="913578" rtl="0" eaLnBrk="1" fontAlgn="auto" latinLnBrk="0" hangingPunct="1">
                  <a:lnSpc>
                    <a:spcPct val="100000"/>
                  </a:lnSpc>
                  <a:spcBef>
                    <a:spcPts val="0"/>
                  </a:spcBef>
                  <a:spcAft>
                    <a:spcPts val="0"/>
                  </a:spcAft>
                  <a:buClrTx/>
                  <a:buSzTx/>
                  <a:buFontTx/>
                  <a:buNone/>
                  <a:tabLst/>
                  <a:defRPr/>
                </a:pPr>
                <a:endParaRPr kumimoji="0" lang="en-US" sz="17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390" name="Freeform: Shape 215">
                <a:extLst>
                  <a:ext uri="{FF2B5EF4-FFF2-40B4-BE49-F238E27FC236}">
                    <a16:creationId xmlns:a16="http://schemas.microsoft.com/office/drawing/2014/main" id="{17C7C452-9EEB-7F8A-90D8-D39138604023}"/>
                  </a:ext>
                </a:extLst>
              </p:cNvPr>
              <p:cNvSpPr/>
              <p:nvPr/>
            </p:nvSpPr>
            <p:spPr>
              <a:xfrm>
                <a:off x="5327808" y="4262511"/>
                <a:ext cx="81724" cy="73554"/>
              </a:xfrm>
              <a:custGeom>
                <a:avLst/>
                <a:gdLst>
                  <a:gd name="connsiteX0" fmla="*/ 10668 w 81724"/>
                  <a:gd name="connsiteY0" fmla="*/ 44027 h 73554"/>
                  <a:gd name="connsiteX1" fmla="*/ 4477 w 81724"/>
                  <a:gd name="connsiteY1" fmla="*/ 39074 h 73554"/>
                  <a:gd name="connsiteX2" fmla="*/ 0 w 81724"/>
                  <a:gd name="connsiteY2" fmla="*/ 35835 h 73554"/>
                  <a:gd name="connsiteX3" fmla="*/ 9525 w 81724"/>
                  <a:gd name="connsiteY3" fmla="*/ 24310 h 73554"/>
                  <a:gd name="connsiteX4" fmla="*/ 13621 w 81724"/>
                  <a:gd name="connsiteY4" fmla="*/ 27072 h 73554"/>
                  <a:gd name="connsiteX5" fmla="*/ 18383 w 81724"/>
                  <a:gd name="connsiteY5" fmla="*/ 30597 h 73554"/>
                  <a:gd name="connsiteX6" fmla="*/ 18383 w 81724"/>
                  <a:gd name="connsiteY6" fmla="*/ 30406 h 73554"/>
                  <a:gd name="connsiteX7" fmla="*/ 16478 w 81724"/>
                  <a:gd name="connsiteY7" fmla="*/ 18405 h 73554"/>
                  <a:gd name="connsiteX8" fmla="*/ 21431 w 81724"/>
                  <a:gd name="connsiteY8" fmla="*/ 7641 h 73554"/>
                  <a:gd name="connsiteX9" fmla="*/ 35909 w 81724"/>
                  <a:gd name="connsiteY9" fmla="*/ 21 h 73554"/>
                  <a:gd name="connsiteX10" fmla="*/ 52102 w 81724"/>
                  <a:gd name="connsiteY10" fmla="*/ 7070 h 73554"/>
                  <a:gd name="connsiteX11" fmla="*/ 81724 w 81724"/>
                  <a:gd name="connsiteY11" fmla="*/ 31358 h 73554"/>
                  <a:gd name="connsiteX12" fmla="*/ 71819 w 81724"/>
                  <a:gd name="connsiteY12" fmla="*/ 43455 h 73554"/>
                  <a:gd name="connsiteX13" fmla="*/ 45625 w 81724"/>
                  <a:gd name="connsiteY13" fmla="*/ 22024 h 73554"/>
                  <a:gd name="connsiteX14" fmla="*/ 36004 w 81724"/>
                  <a:gd name="connsiteY14" fmla="*/ 17071 h 73554"/>
                  <a:gd name="connsiteX15" fmla="*/ 28099 w 81724"/>
                  <a:gd name="connsiteY15" fmla="*/ 20786 h 73554"/>
                  <a:gd name="connsiteX16" fmla="*/ 25337 w 81724"/>
                  <a:gd name="connsiteY16" fmla="*/ 27263 h 73554"/>
                  <a:gd name="connsiteX17" fmla="*/ 26670 w 81724"/>
                  <a:gd name="connsiteY17" fmla="*/ 34502 h 73554"/>
                  <a:gd name="connsiteX18" fmla="*/ 31909 w 81724"/>
                  <a:gd name="connsiteY18" fmla="*/ 40979 h 73554"/>
                  <a:gd name="connsiteX19" fmla="*/ 56959 w 81724"/>
                  <a:gd name="connsiteY19" fmla="*/ 61458 h 73554"/>
                  <a:gd name="connsiteX20" fmla="*/ 47054 w 81724"/>
                  <a:gd name="connsiteY20" fmla="*/ 73554 h 73554"/>
                  <a:gd name="connsiteX21" fmla="*/ 10763 w 81724"/>
                  <a:gd name="connsiteY21" fmla="*/ 43836 h 735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81724" h="73554">
                    <a:moveTo>
                      <a:pt x="10668" y="44027"/>
                    </a:moveTo>
                    <a:cubicBezTo>
                      <a:pt x="8668" y="42408"/>
                      <a:pt x="6572" y="40788"/>
                      <a:pt x="4477" y="39074"/>
                    </a:cubicBezTo>
                    <a:cubicBezTo>
                      <a:pt x="2286" y="37455"/>
                      <a:pt x="857" y="36312"/>
                      <a:pt x="0" y="35835"/>
                    </a:cubicBezTo>
                    <a:lnTo>
                      <a:pt x="9525" y="24310"/>
                    </a:lnTo>
                    <a:cubicBezTo>
                      <a:pt x="10287" y="24691"/>
                      <a:pt x="11621" y="25644"/>
                      <a:pt x="13621" y="27072"/>
                    </a:cubicBezTo>
                    <a:cubicBezTo>
                      <a:pt x="15621" y="28501"/>
                      <a:pt x="17240" y="29739"/>
                      <a:pt x="18383" y="30597"/>
                    </a:cubicBezTo>
                    <a:lnTo>
                      <a:pt x="18383" y="30406"/>
                    </a:lnTo>
                    <a:cubicBezTo>
                      <a:pt x="16669" y="26120"/>
                      <a:pt x="16002" y="22119"/>
                      <a:pt x="16478" y="18405"/>
                    </a:cubicBezTo>
                    <a:cubicBezTo>
                      <a:pt x="16954" y="14690"/>
                      <a:pt x="18669" y="11070"/>
                      <a:pt x="21431" y="7641"/>
                    </a:cubicBezTo>
                    <a:cubicBezTo>
                      <a:pt x="25813" y="2307"/>
                      <a:pt x="30575" y="-264"/>
                      <a:pt x="35909" y="21"/>
                    </a:cubicBezTo>
                    <a:cubicBezTo>
                      <a:pt x="41243" y="307"/>
                      <a:pt x="46577" y="2593"/>
                      <a:pt x="52102" y="7070"/>
                    </a:cubicBezTo>
                    <a:lnTo>
                      <a:pt x="81724" y="31358"/>
                    </a:lnTo>
                    <a:lnTo>
                      <a:pt x="71819" y="43455"/>
                    </a:lnTo>
                    <a:lnTo>
                      <a:pt x="45625" y="22024"/>
                    </a:lnTo>
                    <a:cubicBezTo>
                      <a:pt x="42100" y="19166"/>
                      <a:pt x="38862" y="17547"/>
                      <a:pt x="36004" y="17071"/>
                    </a:cubicBezTo>
                    <a:cubicBezTo>
                      <a:pt x="33147" y="16595"/>
                      <a:pt x="30480" y="17928"/>
                      <a:pt x="28099" y="20786"/>
                    </a:cubicBezTo>
                    <a:cubicBezTo>
                      <a:pt x="26479" y="22786"/>
                      <a:pt x="25527" y="24882"/>
                      <a:pt x="25337" y="27263"/>
                    </a:cubicBezTo>
                    <a:cubicBezTo>
                      <a:pt x="25051" y="29644"/>
                      <a:pt x="25527" y="32025"/>
                      <a:pt x="26670" y="34502"/>
                    </a:cubicBezTo>
                    <a:cubicBezTo>
                      <a:pt x="27813" y="36883"/>
                      <a:pt x="29528" y="39074"/>
                      <a:pt x="31909" y="40979"/>
                    </a:cubicBezTo>
                    <a:lnTo>
                      <a:pt x="56959" y="61458"/>
                    </a:lnTo>
                    <a:lnTo>
                      <a:pt x="47054" y="73554"/>
                    </a:lnTo>
                    <a:lnTo>
                      <a:pt x="10763" y="43836"/>
                    </a:lnTo>
                    <a:close/>
                  </a:path>
                </a:pathLst>
              </a:custGeom>
              <a:solidFill>
                <a:srgbClr val="231F20"/>
              </a:solidFill>
              <a:ln w="9525" cap="flat">
                <a:noFill/>
                <a:prstDash val="solid"/>
                <a:miter/>
              </a:ln>
            </p:spPr>
            <p:txBody>
              <a:bodyPr rtlCol="0" anchor="ctr"/>
              <a:lstStyle/>
              <a:p>
                <a:pPr marL="0" marR="0" lvl="0" indent="0" algn="l" defTabSz="913578" rtl="0" eaLnBrk="1" fontAlgn="auto" latinLnBrk="0" hangingPunct="1">
                  <a:lnSpc>
                    <a:spcPct val="100000"/>
                  </a:lnSpc>
                  <a:spcBef>
                    <a:spcPts val="0"/>
                  </a:spcBef>
                  <a:spcAft>
                    <a:spcPts val="0"/>
                  </a:spcAft>
                  <a:buClrTx/>
                  <a:buSzTx/>
                  <a:buFontTx/>
                  <a:buNone/>
                  <a:tabLst/>
                  <a:defRPr/>
                </a:pPr>
                <a:endParaRPr kumimoji="0" lang="en-US" sz="17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391" name="Freeform: Shape 216">
                <a:extLst>
                  <a:ext uri="{FF2B5EF4-FFF2-40B4-BE49-F238E27FC236}">
                    <a16:creationId xmlns:a16="http://schemas.microsoft.com/office/drawing/2014/main" id="{FE29944E-FFEE-2D10-BDC4-4B18AC5FEC5F}"/>
                  </a:ext>
                </a:extLst>
              </p:cNvPr>
              <p:cNvSpPr/>
              <p:nvPr/>
            </p:nvSpPr>
            <p:spPr>
              <a:xfrm>
                <a:off x="5382096" y="4187094"/>
                <a:ext cx="74109" cy="89573"/>
              </a:xfrm>
              <a:custGeom>
                <a:avLst/>
                <a:gdLst>
                  <a:gd name="connsiteX0" fmla="*/ 39439 w 74109"/>
                  <a:gd name="connsiteY0" fmla="*/ 89249 h 89573"/>
                  <a:gd name="connsiteX1" fmla="*/ 25818 w 74109"/>
                  <a:gd name="connsiteY1" fmla="*/ 87439 h 89573"/>
                  <a:gd name="connsiteX2" fmla="*/ 12197 w 74109"/>
                  <a:gd name="connsiteY2" fmla="*/ 78200 h 89573"/>
                  <a:gd name="connsiteX3" fmla="*/ 2386 w 74109"/>
                  <a:gd name="connsiteY3" fmla="*/ 64961 h 89573"/>
                  <a:gd name="connsiteX4" fmla="*/ 196 w 74109"/>
                  <a:gd name="connsiteY4" fmla="*/ 51149 h 89573"/>
                  <a:gd name="connsiteX5" fmla="*/ 6768 w 74109"/>
                  <a:gd name="connsiteY5" fmla="*/ 38481 h 89573"/>
                  <a:gd name="connsiteX6" fmla="*/ 15340 w 74109"/>
                  <a:gd name="connsiteY6" fmla="*/ 32861 h 89573"/>
                  <a:gd name="connsiteX7" fmla="*/ 25437 w 74109"/>
                  <a:gd name="connsiteY7" fmla="*/ 32671 h 89573"/>
                  <a:gd name="connsiteX8" fmla="*/ 25437 w 74109"/>
                  <a:gd name="connsiteY8" fmla="*/ 32671 h 89573"/>
                  <a:gd name="connsiteX9" fmla="*/ 23532 w 74109"/>
                  <a:gd name="connsiteY9" fmla="*/ 30861 h 89573"/>
                  <a:gd name="connsiteX10" fmla="*/ 18960 w 74109"/>
                  <a:gd name="connsiteY10" fmla="*/ 26575 h 89573"/>
                  <a:gd name="connsiteX11" fmla="*/ 2958 w 74109"/>
                  <a:gd name="connsiteY11" fmla="*/ 11335 h 89573"/>
                  <a:gd name="connsiteX12" fmla="*/ 13721 w 74109"/>
                  <a:gd name="connsiteY12" fmla="*/ 0 h 89573"/>
                  <a:gd name="connsiteX13" fmla="*/ 64204 w 74109"/>
                  <a:gd name="connsiteY13" fmla="*/ 48101 h 89573"/>
                  <a:gd name="connsiteX14" fmla="*/ 69538 w 74109"/>
                  <a:gd name="connsiteY14" fmla="*/ 52959 h 89573"/>
                  <a:gd name="connsiteX15" fmla="*/ 72681 w 74109"/>
                  <a:gd name="connsiteY15" fmla="*/ 55626 h 89573"/>
                  <a:gd name="connsiteX16" fmla="*/ 74109 w 74109"/>
                  <a:gd name="connsiteY16" fmla="*/ 56769 h 89573"/>
                  <a:gd name="connsiteX17" fmla="*/ 63632 w 74109"/>
                  <a:gd name="connsiteY17" fmla="*/ 67723 h 89573"/>
                  <a:gd name="connsiteX18" fmla="*/ 60584 w 74109"/>
                  <a:gd name="connsiteY18" fmla="*/ 65532 h 89573"/>
                  <a:gd name="connsiteX19" fmla="*/ 56774 w 74109"/>
                  <a:gd name="connsiteY19" fmla="*/ 62294 h 89573"/>
                  <a:gd name="connsiteX20" fmla="*/ 56583 w 74109"/>
                  <a:gd name="connsiteY20" fmla="*/ 62484 h 89573"/>
                  <a:gd name="connsiteX21" fmla="*/ 56964 w 74109"/>
                  <a:gd name="connsiteY21" fmla="*/ 72866 h 89573"/>
                  <a:gd name="connsiteX22" fmla="*/ 51249 w 74109"/>
                  <a:gd name="connsiteY22" fmla="*/ 82391 h 89573"/>
                  <a:gd name="connsiteX23" fmla="*/ 39343 w 74109"/>
                  <a:gd name="connsiteY23" fmla="*/ 89154 h 89573"/>
                  <a:gd name="connsiteX24" fmla="*/ 48868 w 74109"/>
                  <a:gd name="connsiteY24" fmla="*/ 64389 h 89573"/>
                  <a:gd name="connsiteX25" fmla="*/ 47916 w 74109"/>
                  <a:gd name="connsiteY25" fmla="*/ 56483 h 89573"/>
                  <a:gd name="connsiteX26" fmla="*/ 41153 w 74109"/>
                  <a:gd name="connsiteY26" fmla="*/ 47339 h 89573"/>
                  <a:gd name="connsiteX27" fmla="*/ 28104 w 74109"/>
                  <a:gd name="connsiteY27" fmla="*/ 40291 h 89573"/>
                  <a:gd name="connsiteX28" fmla="*/ 18388 w 74109"/>
                  <a:gd name="connsiteY28" fmla="*/ 44196 h 89573"/>
                  <a:gd name="connsiteX29" fmla="*/ 15531 w 74109"/>
                  <a:gd name="connsiteY29" fmla="*/ 54007 h 89573"/>
                  <a:gd name="connsiteX30" fmla="*/ 23532 w 74109"/>
                  <a:gd name="connsiteY30" fmla="*/ 66294 h 89573"/>
                  <a:gd name="connsiteX31" fmla="*/ 36009 w 74109"/>
                  <a:gd name="connsiteY31" fmla="*/ 73533 h 89573"/>
                  <a:gd name="connsiteX32" fmla="*/ 45820 w 74109"/>
                  <a:gd name="connsiteY32" fmla="*/ 70295 h 89573"/>
                  <a:gd name="connsiteX33" fmla="*/ 48964 w 74109"/>
                  <a:gd name="connsiteY33" fmla="*/ 64294 h 895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74109" h="89573">
                    <a:moveTo>
                      <a:pt x="39439" y="89249"/>
                    </a:moveTo>
                    <a:cubicBezTo>
                      <a:pt x="35057" y="90011"/>
                      <a:pt x="30485" y="89440"/>
                      <a:pt x="25818" y="87439"/>
                    </a:cubicBezTo>
                    <a:cubicBezTo>
                      <a:pt x="21150" y="85439"/>
                      <a:pt x="16579" y="82391"/>
                      <a:pt x="12197" y="78200"/>
                    </a:cubicBezTo>
                    <a:cubicBezTo>
                      <a:pt x="7720" y="74009"/>
                      <a:pt x="4482" y="69533"/>
                      <a:pt x="2386" y="64961"/>
                    </a:cubicBezTo>
                    <a:cubicBezTo>
                      <a:pt x="291" y="60293"/>
                      <a:pt x="-376" y="55721"/>
                      <a:pt x="196" y="51149"/>
                    </a:cubicBezTo>
                    <a:cubicBezTo>
                      <a:pt x="862" y="46577"/>
                      <a:pt x="3053" y="42386"/>
                      <a:pt x="6768" y="38481"/>
                    </a:cubicBezTo>
                    <a:cubicBezTo>
                      <a:pt x="9244" y="35909"/>
                      <a:pt x="12102" y="34004"/>
                      <a:pt x="15340" y="32861"/>
                    </a:cubicBezTo>
                    <a:cubicBezTo>
                      <a:pt x="18579" y="31718"/>
                      <a:pt x="21913" y="31623"/>
                      <a:pt x="25437" y="32671"/>
                    </a:cubicBezTo>
                    <a:lnTo>
                      <a:pt x="25437" y="32671"/>
                    </a:lnTo>
                    <a:cubicBezTo>
                      <a:pt x="24770" y="31909"/>
                      <a:pt x="24103" y="31337"/>
                      <a:pt x="23532" y="30861"/>
                    </a:cubicBezTo>
                    <a:lnTo>
                      <a:pt x="18960" y="26575"/>
                    </a:lnTo>
                    <a:lnTo>
                      <a:pt x="2958" y="11335"/>
                    </a:lnTo>
                    <a:lnTo>
                      <a:pt x="13721" y="0"/>
                    </a:lnTo>
                    <a:lnTo>
                      <a:pt x="64204" y="48101"/>
                    </a:lnTo>
                    <a:cubicBezTo>
                      <a:pt x="66108" y="49911"/>
                      <a:pt x="67823" y="51530"/>
                      <a:pt x="69538" y="52959"/>
                    </a:cubicBezTo>
                    <a:cubicBezTo>
                      <a:pt x="71252" y="54483"/>
                      <a:pt x="72300" y="55340"/>
                      <a:pt x="72681" y="55626"/>
                    </a:cubicBezTo>
                    <a:cubicBezTo>
                      <a:pt x="73443" y="56197"/>
                      <a:pt x="73919" y="56674"/>
                      <a:pt x="74109" y="56769"/>
                    </a:cubicBezTo>
                    <a:lnTo>
                      <a:pt x="63632" y="67723"/>
                    </a:lnTo>
                    <a:cubicBezTo>
                      <a:pt x="63156" y="67532"/>
                      <a:pt x="62108" y="66770"/>
                      <a:pt x="60584" y="65532"/>
                    </a:cubicBezTo>
                    <a:cubicBezTo>
                      <a:pt x="59060" y="64294"/>
                      <a:pt x="57822" y="63246"/>
                      <a:pt x="56774" y="62294"/>
                    </a:cubicBezTo>
                    <a:lnTo>
                      <a:pt x="56583" y="62484"/>
                    </a:lnTo>
                    <a:cubicBezTo>
                      <a:pt x="57822" y="66008"/>
                      <a:pt x="57917" y="69533"/>
                      <a:pt x="56964" y="72866"/>
                    </a:cubicBezTo>
                    <a:cubicBezTo>
                      <a:pt x="56012" y="76200"/>
                      <a:pt x="54012" y="79438"/>
                      <a:pt x="51249" y="82391"/>
                    </a:cubicBezTo>
                    <a:cubicBezTo>
                      <a:pt x="47725" y="86106"/>
                      <a:pt x="43725" y="88297"/>
                      <a:pt x="39343" y="89154"/>
                    </a:cubicBezTo>
                    <a:close/>
                    <a:moveTo>
                      <a:pt x="48868" y="64389"/>
                    </a:moveTo>
                    <a:cubicBezTo>
                      <a:pt x="49345" y="62008"/>
                      <a:pt x="49059" y="59436"/>
                      <a:pt x="47916" y="56483"/>
                    </a:cubicBezTo>
                    <a:cubicBezTo>
                      <a:pt x="46773" y="53530"/>
                      <a:pt x="44487" y="50483"/>
                      <a:pt x="41153" y="47339"/>
                    </a:cubicBezTo>
                    <a:cubicBezTo>
                      <a:pt x="36295" y="42767"/>
                      <a:pt x="31914" y="40386"/>
                      <a:pt x="28104" y="40291"/>
                    </a:cubicBezTo>
                    <a:cubicBezTo>
                      <a:pt x="24198" y="40196"/>
                      <a:pt x="21055" y="41529"/>
                      <a:pt x="18388" y="44196"/>
                    </a:cubicBezTo>
                    <a:cubicBezTo>
                      <a:pt x="15816" y="46958"/>
                      <a:pt x="14769" y="50197"/>
                      <a:pt x="15531" y="54007"/>
                    </a:cubicBezTo>
                    <a:cubicBezTo>
                      <a:pt x="16197" y="57817"/>
                      <a:pt x="18864" y="61913"/>
                      <a:pt x="23532" y="66294"/>
                    </a:cubicBezTo>
                    <a:cubicBezTo>
                      <a:pt x="27913" y="70485"/>
                      <a:pt x="32104" y="72962"/>
                      <a:pt x="36009" y="73533"/>
                    </a:cubicBezTo>
                    <a:cubicBezTo>
                      <a:pt x="39915" y="74200"/>
                      <a:pt x="43153" y="73057"/>
                      <a:pt x="45820" y="70295"/>
                    </a:cubicBezTo>
                    <a:cubicBezTo>
                      <a:pt x="47439" y="68675"/>
                      <a:pt x="48487" y="66675"/>
                      <a:pt x="48964" y="64294"/>
                    </a:cubicBezTo>
                    <a:close/>
                  </a:path>
                </a:pathLst>
              </a:custGeom>
              <a:solidFill>
                <a:srgbClr val="231F20"/>
              </a:solidFill>
              <a:ln w="9525" cap="flat">
                <a:noFill/>
                <a:prstDash val="solid"/>
                <a:miter/>
              </a:ln>
            </p:spPr>
            <p:txBody>
              <a:bodyPr rtlCol="0" anchor="ctr"/>
              <a:lstStyle/>
              <a:p>
                <a:pPr marL="0" marR="0" lvl="0" indent="0" algn="l" defTabSz="913578" rtl="0" eaLnBrk="1" fontAlgn="auto" latinLnBrk="0" hangingPunct="1">
                  <a:lnSpc>
                    <a:spcPct val="100000"/>
                  </a:lnSpc>
                  <a:spcBef>
                    <a:spcPts val="0"/>
                  </a:spcBef>
                  <a:spcAft>
                    <a:spcPts val="0"/>
                  </a:spcAft>
                  <a:buClrTx/>
                  <a:buSzTx/>
                  <a:buFontTx/>
                  <a:buNone/>
                  <a:tabLst/>
                  <a:defRPr/>
                </a:pPr>
                <a:endParaRPr kumimoji="0" lang="en-US" sz="17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392" name="Freeform: Shape 217">
                <a:extLst>
                  <a:ext uri="{FF2B5EF4-FFF2-40B4-BE49-F238E27FC236}">
                    <a16:creationId xmlns:a16="http://schemas.microsoft.com/office/drawing/2014/main" id="{AB75F561-FD1B-4549-0A81-AF0F7A92B980}"/>
                  </a:ext>
                </a:extLst>
              </p:cNvPr>
              <p:cNvSpPr/>
              <p:nvPr/>
            </p:nvSpPr>
            <p:spPr>
              <a:xfrm>
                <a:off x="5425249" y="4153281"/>
                <a:ext cx="81534" cy="74765"/>
              </a:xfrm>
              <a:custGeom>
                <a:avLst/>
                <a:gdLst>
                  <a:gd name="connsiteX0" fmla="*/ 40577 w 81534"/>
                  <a:gd name="connsiteY0" fmla="*/ 74485 h 74765"/>
                  <a:gd name="connsiteX1" fmla="*/ 25718 w 81534"/>
                  <a:gd name="connsiteY1" fmla="*/ 65151 h 74765"/>
                  <a:gd name="connsiteX2" fmla="*/ 0 w 81534"/>
                  <a:gd name="connsiteY2" fmla="*/ 36766 h 74765"/>
                  <a:gd name="connsiteX3" fmla="*/ 11621 w 81534"/>
                  <a:gd name="connsiteY3" fmla="*/ 26289 h 74765"/>
                  <a:gd name="connsiteX4" fmla="*/ 34290 w 81534"/>
                  <a:gd name="connsiteY4" fmla="*/ 51340 h 74765"/>
                  <a:gd name="connsiteX5" fmla="*/ 43053 w 81534"/>
                  <a:gd name="connsiteY5" fmla="*/ 57531 h 74765"/>
                  <a:gd name="connsiteX6" fmla="*/ 51340 w 81534"/>
                  <a:gd name="connsiteY6" fmla="*/ 55054 h 74765"/>
                  <a:gd name="connsiteX7" fmla="*/ 55054 w 81534"/>
                  <a:gd name="connsiteY7" fmla="*/ 49054 h 74765"/>
                  <a:gd name="connsiteX8" fmla="*/ 54864 w 81534"/>
                  <a:gd name="connsiteY8" fmla="*/ 41720 h 74765"/>
                  <a:gd name="connsiteX9" fmla="*/ 50673 w 81534"/>
                  <a:gd name="connsiteY9" fmla="*/ 34480 h 74765"/>
                  <a:gd name="connsiteX10" fmla="*/ 29051 w 81534"/>
                  <a:gd name="connsiteY10" fmla="*/ 10478 h 74765"/>
                  <a:gd name="connsiteX11" fmla="*/ 40672 w 81534"/>
                  <a:gd name="connsiteY11" fmla="*/ 0 h 74765"/>
                  <a:gd name="connsiteX12" fmla="*/ 72104 w 81534"/>
                  <a:gd name="connsiteY12" fmla="*/ 34766 h 74765"/>
                  <a:gd name="connsiteX13" fmla="*/ 77534 w 81534"/>
                  <a:gd name="connsiteY13" fmla="*/ 40576 h 74765"/>
                  <a:gd name="connsiteX14" fmla="*/ 81534 w 81534"/>
                  <a:gd name="connsiteY14" fmla="*/ 44577 h 74765"/>
                  <a:gd name="connsiteX15" fmla="*/ 70390 w 81534"/>
                  <a:gd name="connsiteY15" fmla="*/ 54578 h 74765"/>
                  <a:gd name="connsiteX16" fmla="*/ 66675 w 81534"/>
                  <a:gd name="connsiteY16" fmla="*/ 51149 h 74765"/>
                  <a:gd name="connsiteX17" fmla="*/ 62579 w 81534"/>
                  <a:gd name="connsiteY17" fmla="*/ 46958 h 74765"/>
                  <a:gd name="connsiteX18" fmla="*/ 62389 w 81534"/>
                  <a:gd name="connsiteY18" fmla="*/ 47149 h 74765"/>
                  <a:gd name="connsiteX19" fmla="*/ 62675 w 81534"/>
                  <a:gd name="connsiteY19" fmla="*/ 59150 h 74765"/>
                  <a:gd name="connsiteX20" fmla="*/ 56102 w 81534"/>
                  <a:gd name="connsiteY20" fmla="*/ 69056 h 74765"/>
                  <a:gd name="connsiteX21" fmla="*/ 40672 w 81534"/>
                  <a:gd name="connsiteY21" fmla="*/ 74485 h 747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81534" h="74765">
                    <a:moveTo>
                      <a:pt x="40577" y="74485"/>
                    </a:moveTo>
                    <a:cubicBezTo>
                      <a:pt x="35433" y="73533"/>
                      <a:pt x="30480" y="70390"/>
                      <a:pt x="25718" y="65151"/>
                    </a:cubicBezTo>
                    <a:lnTo>
                      <a:pt x="0" y="36766"/>
                    </a:lnTo>
                    <a:lnTo>
                      <a:pt x="11621" y="26289"/>
                    </a:lnTo>
                    <a:lnTo>
                      <a:pt x="34290" y="51340"/>
                    </a:lnTo>
                    <a:cubicBezTo>
                      <a:pt x="37338" y="54673"/>
                      <a:pt x="40196" y="56769"/>
                      <a:pt x="43053" y="57531"/>
                    </a:cubicBezTo>
                    <a:cubicBezTo>
                      <a:pt x="45816" y="58388"/>
                      <a:pt x="48578" y="57531"/>
                      <a:pt x="51340" y="55054"/>
                    </a:cubicBezTo>
                    <a:cubicBezTo>
                      <a:pt x="53150" y="53340"/>
                      <a:pt x="54388" y="51340"/>
                      <a:pt x="55054" y="49054"/>
                    </a:cubicBezTo>
                    <a:cubicBezTo>
                      <a:pt x="55721" y="46768"/>
                      <a:pt x="55626" y="44291"/>
                      <a:pt x="54864" y="41720"/>
                    </a:cubicBezTo>
                    <a:cubicBezTo>
                      <a:pt x="54102" y="39148"/>
                      <a:pt x="52769" y="36766"/>
                      <a:pt x="50673" y="34480"/>
                    </a:cubicBezTo>
                    <a:lnTo>
                      <a:pt x="29051" y="10478"/>
                    </a:lnTo>
                    <a:lnTo>
                      <a:pt x="40672" y="0"/>
                    </a:lnTo>
                    <a:lnTo>
                      <a:pt x="72104" y="34766"/>
                    </a:lnTo>
                    <a:cubicBezTo>
                      <a:pt x="73819" y="36671"/>
                      <a:pt x="75629" y="38576"/>
                      <a:pt x="77534" y="40576"/>
                    </a:cubicBezTo>
                    <a:cubicBezTo>
                      <a:pt x="79439" y="42577"/>
                      <a:pt x="80772" y="43815"/>
                      <a:pt x="81534" y="44577"/>
                    </a:cubicBezTo>
                    <a:lnTo>
                      <a:pt x="70390" y="54578"/>
                    </a:lnTo>
                    <a:cubicBezTo>
                      <a:pt x="69723" y="54007"/>
                      <a:pt x="68485" y="52864"/>
                      <a:pt x="66675" y="51149"/>
                    </a:cubicBezTo>
                    <a:cubicBezTo>
                      <a:pt x="64866" y="49435"/>
                      <a:pt x="63532" y="48006"/>
                      <a:pt x="62579" y="46958"/>
                    </a:cubicBezTo>
                    <a:lnTo>
                      <a:pt x="62389" y="47149"/>
                    </a:lnTo>
                    <a:cubicBezTo>
                      <a:pt x="63627" y="51625"/>
                      <a:pt x="63722" y="55626"/>
                      <a:pt x="62675" y="59150"/>
                    </a:cubicBezTo>
                    <a:cubicBezTo>
                      <a:pt x="61627" y="62674"/>
                      <a:pt x="59341" y="66008"/>
                      <a:pt x="56102" y="69056"/>
                    </a:cubicBezTo>
                    <a:cubicBezTo>
                      <a:pt x="50959" y="73628"/>
                      <a:pt x="45816" y="75533"/>
                      <a:pt x="40672" y="74485"/>
                    </a:cubicBezTo>
                    <a:close/>
                  </a:path>
                </a:pathLst>
              </a:custGeom>
              <a:solidFill>
                <a:srgbClr val="231F20"/>
              </a:solidFill>
              <a:ln w="9525" cap="flat">
                <a:noFill/>
                <a:prstDash val="solid"/>
                <a:miter/>
              </a:ln>
            </p:spPr>
            <p:txBody>
              <a:bodyPr rtlCol="0" anchor="ctr"/>
              <a:lstStyle/>
              <a:p>
                <a:pPr marL="0" marR="0" lvl="0" indent="0" algn="l" defTabSz="913578" rtl="0" eaLnBrk="1" fontAlgn="auto" latinLnBrk="0" hangingPunct="1">
                  <a:lnSpc>
                    <a:spcPct val="100000"/>
                  </a:lnSpc>
                  <a:spcBef>
                    <a:spcPts val="0"/>
                  </a:spcBef>
                  <a:spcAft>
                    <a:spcPts val="0"/>
                  </a:spcAft>
                  <a:buClrTx/>
                  <a:buSzTx/>
                  <a:buFontTx/>
                  <a:buNone/>
                  <a:tabLst/>
                  <a:defRPr/>
                </a:pPr>
                <a:endParaRPr kumimoji="0" lang="en-US" sz="17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393" name="Freeform: Shape 218">
                <a:extLst>
                  <a:ext uri="{FF2B5EF4-FFF2-40B4-BE49-F238E27FC236}">
                    <a16:creationId xmlns:a16="http://schemas.microsoft.com/office/drawing/2014/main" id="{8D024A39-A1F2-C97E-C7F5-D3DFF5D493B5}"/>
                  </a:ext>
                </a:extLst>
              </p:cNvPr>
              <p:cNvSpPr/>
              <p:nvPr/>
            </p:nvSpPr>
            <p:spPr>
              <a:xfrm>
                <a:off x="5484917" y="4119633"/>
                <a:ext cx="61539" cy="66318"/>
              </a:xfrm>
              <a:custGeom>
                <a:avLst/>
                <a:gdLst>
                  <a:gd name="connsiteX0" fmla="*/ 37487 w 61539"/>
                  <a:gd name="connsiteY0" fmla="*/ 64223 h 66318"/>
                  <a:gd name="connsiteX1" fmla="*/ 24248 w 61539"/>
                  <a:gd name="connsiteY1" fmla="*/ 66319 h 66318"/>
                  <a:gd name="connsiteX2" fmla="*/ 23200 w 61539"/>
                  <a:gd name="connsiteY2" fmla="*/ 53460 h 66318"/>
                  <a:gd name="connsiteX3" fmla="*/ 34058 w 61539"/>
                  <a:gd name="connsiteY3" fmla="*/ 52222 h 66318"/>
                  <a:gd name="connsiteX4" fmla="*/ 42440 w 61539"/>
                  <a:gd name="connsiteY4" fmla="*/ 48031 h 66318"/>
                  <a:gd name="connsiteX5" fmla="*/ 47774 w 61539"/>
                  <a:gd name="connsiteY5" fmla="*/ 42220 h 66318"/>
                  <a:gd name="connsiteX6" fmla="*/ 47203 w 61539"/>
                  <a:gd name="connsiteY6" fmla="*/ 36982 h 66318"/>
                  <a:gd name="connsiteX7" fmla="*/ 43774 w 61539"/>
                  <a:gd name="connsiteY7" fmla="*/ 34981 h 66318"/>
                  <a:gd name="connsiteX8" fmla="*/ 39487 w 61539"/>
                  <a:gd name="connsiteY8" fmla="*/ 35553 h 66318"/>
                  <a:gd name="connsiteX9" fmla="*/ 33391 w 61539"/>
                  <a:gd name="connsiteY9" fmla="*/ 38125 h 66318"/>
                  <a:gd name="connsiteX10" fmla="*/ 30629 w 61539"/>
                  <a:gd name="connsiteY10" fmla="*/ 39363 h 66318"/>
                  <a:gd name="connsiteX11" fmla="*/ 20533 w 61539"/>
                  <a:gd name="connsiteY11" fmla="*/ 42887 h 66318"/>
                  <a:gd name="connsiteX12" fmla="*/ 11865 w 61539"/>
                  <a:gd name="connsiteY12" fmla="*/ 42602 h 66318"/>
                  <a:gd name="connsiteX13" fmla="*/ 3959 w 61539"/>
                  <a:gd name="connsiteY13" fmla="*/ 36696 h 66318"/>
                  <a:gd name="connsiteX14" fmla="*/ 54 w 61539"/>
                  <a:gd name="connsiteY14" fmla="*/ 27266 h 66318"/>
                  <a:gd name="connsiteX15" fmla="*/ 2435 w 61539"/>
                  <a:gd name="connsiteY15" fmla="*/ 17360 h 66318"/>
                  <a:gd name="connsiteX16" fmla="*/ 11103 w 61539"/>
                  <a:gd name="connsiteY16" fmla="*/ 7740 h 66318"/>
                  <a:gd name="connsiteX17" fmla="*/ 22724 w 61539"/>
                  <a:gd name="connsiteY17" fmla="*/ 1358 h 66318"/>
                  <a:gd name="connsiteX18" fmla="*/ 34630 w 61539"/>
                  <a:gd name="connsiteY18" fmla="*/ 215 h 66318"/>
                  <a:gd name="connsiteX19" fmla="*/ 34058 w 61539"/>
                  <a:gd name="connsiteY19" fmla="*/ 12502 h 66318"/>
                  <a:gd name="connsiteX20" fmla="*/ 18437 w 61539"/>
                  <a:gd name="connsiteY20" fmla="*/ 16789 h 66318"/>
                  <a:gd name="connsiteX21" fmla="*/ 14437 w 61539"/>
                  <a:gd name="connsiteY21" fmla="*/ 26695 h 66318"/>
                  <a:gd name="connsiteX22" fmla="*/ 17390 w 61539"/>
                  <a:gd name="connsiteY22" fmla="*/ 28504 h 66318"/>
                  <a:gd name="connsiteX23" fmla="*/ 21009 w 61539"/>
                  <a:gd name="connsiteY23" fmla="*/ 28028 h 66318"/>
                  <a:gd name="connsiteX24" fmla="*/ 26343 w 61539"/>
                  <a:gd name="connsiteY24" fmla="*/ 25742 h 66318"/>
                  <a:gd name="connsiteX25" fmla="*/ 29010 w 61539"/>
                  <a:gd name="connsiteY25" fmla="*/ 24504 h 66318"/>
                  <a:gd name="connsiteX26" fmla="*/ 39868 w 61539"/>
                  <a:gd name="connsiteY26" fmla="*/ 20503 h 66318"/>
                  <a:gd name="connsiteX27" fmla="*/ 49012 w 61539"/>
                  <a:gd name="connsiteY27" fmla="*/ 20599 h 66318"/>
                  <a:gd name="connsiteX28" fmla="*/ 57585 w 61539"/>
                  <a:gd name="connsiteY28" fmla="*/ 26885 h 66318"/>
                  <a:gd name="connsiteX29" fmla="*/ 61490 w 61539"/>
                  <a:gd name="connsiteY29" fmla="*/ 36505 h 66318"/>
                  <a:gd name="connsiteX30" fmla="*/ 58823 w 61539"/>
                  <a:gd name="connsiteY30" fmla="*/ 46888 h 66318"/>
                  <a:gd name="connsiteX31" fmla="*/ 49679 w 61539"/>
                  <a:gd name="connsiteY31" fmla="*/ 56984 h 66318"/>
                  <a:gd name="connsiteX32" fmla="*/ 37487 w 61539"/>
                  <a:gd name="connsiteY32" fmla="*/ 63937 h 66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539" h="66318">
                    <a:moveTo>
                      <a:pt x="37487" y="64223"/>
                    </a:moveTo>
                    <a:cubicBezTo>
                      <a:pt x="33391" y="65652"/>
                      <a:pt x="29010" y="66319"/>
                      <a:pt x="24248" y="66319"/>
                    </a:cubicBezTo>
                    <a:lnTo>
                      <a:pt x="23200" y="53460"/>
                    </a:lnTo>
                    <a:cubicBezTo>
                      <a:pt x="27391" y="53460"/>
                      <a:pt x="31010" y="52984"/>
                      <a:pt x="34058" y="52222"/>
                    </a:cubicBezTo>
                    <a:cubicBezTo>
                      <a:pt x="37106" y="51460"/>
                      <a:pt x="39868" y="50031"/>
                      <a:pt x="42440" y="48031"/>
                    </a:cubicBezTo>
                    <a:cubicBezTo>
                      <a:pt x="45012" y="46030"/>
                      <a:pt x="46822" y="44030"/>
                      <a:pt x="47774" y="42220"/>
                    </a:cubicBezTo>
                    <a:cubicBezTo>
                      <a:pt x="48727" y="40411"/>
                      <a:pt x="48536" y="38696"/>
                      <a:pt x="47203" y="36982"/>
                    </a:cubicBezTo>
                    <a:cubicBezTo>
                      <a:pt x="46250" y="35743"/>
                      <a:pt x="45107" y="35077"/>
                      <a:pt x="43774" y="34981"/>
                    </a:cubicBezTo>
                    <a:cubicBezTo>
                      <a:pt x="42440" y="34886"/>
                      <a:pt x="41011" y="34981"/>
                      <a:pt x="39487" y="35553"/>
                    </a:cubicBezTo>
                    <a:cubicBezTo>
                      <a:pt x="37963" y="36124"/>
                      <a:pt x="35963" y="36982"/>
                      <a:pt x="33391" y="38125"/>
                    </a:cubicBezTo>
                    <a:lnTo>
                      <a:pt x="30629" y="39363"/>
                    </a:lnTo>
                    <a:cubicBezTo>
                      <a:pt x="26819" y="41077"/>
                      <a:pt x="23390" y="42220"/>
                      <a:pt x="20533" y="42887"/>
                    </a:cubicBezTo>
                    <a:cubicBezTo>
                      <a:pt x="17675" y="43554"/>
                      <a:pt x="14723" y="43459"/>
                      <a:pt x="11865" y="42602"/>
                    </a:cubicBezTo>
                    <a:cubicBezTo>
                      <a:pt x="9007" y="41744"/>
                      <a:pt x="6436" y="39839"/>
                      <a:pt x="3959" y="36696"/>
                    </a:cubicBezTo>
                    <a:cubicBezTo>
                      <a:pt x="1578" y="33743"/>
                      <a:pt x="340" y="30600"/>
                      <a:pt x="54" y="27266"/>
                    </a:cubicBezTo>
                    <a:cubicBezTo>
                      <a:pt x="-232" y="24028"/>
                      <a:pt x="625" y="20694"/>
                      <a:pt x="2435" y="17360"/>
                    </a:cubicBezTo>
                    <a:cubicBezTo>
                      <a:pt x="4340" y="14027"/>
                      <a:pt x="7198" y="10788"/>
                      <a:pt x="11103" y="7740"/>
                    </a:cubicBezTo>
                    <a:cubicBezTo>
                      <a:pt x="14818" y="4787"/>
                      <a:pt x="18723" y="2692"/>
                      <a:pt x="22724" y="1358"/>
                    </a:cubicBezTo>
                    <a:cubicBezTo>
                      <a:pt x="26724" y="25"/>
                      <a:pt x="30724" y="-261"/>
                      <a:pt x="34630" y="215"/>
                    </a:cubicBezTo>
                    <a:lnTo>
                      <a:pt x="34058" y="12502"/>
                    </a:lnTo>
                    <a:cubicBezTo>
                      <a:pt x="28057" y="11836"/>
                      <a:pt x="22914" y="13264"/>
                      <a:pt x="18437" y="16789"/>
                    </a:cubicBezTo>
                    <a:cubicBezTo>
                      <a:pt x="13579" y="20599"/>
                      <a:pt x="12246" y="23932"/>
                      <a:pt x="14437" y="26695"/>
                    </a:cubicBezTo>
                    <a:cubicBezTo>
                      <a:pt x="15294" y="27743"/>
                      <a:pt x="16246" y="28409"/>
                      <a:pt x="17390" y="28504"/>
                    </a:cubicBezTo>
                    <a:cubicBezTo>
                      <a:pt x="18532" y="28600"/>
                      <a:pt x="19771" y="28504"/>
                      <a:pt x="21009" y="28028"/>
                    </a:cubicBezTo>
                    <a:cubicBezTo>
                      <a:pt x="22342" y="27552"/>
                      <a:pt x="24057" y="26790"/>
                      <a:pt x="26343" y="25742"/>
                    </a:cubicBezTo>
                    <a:lnTo>
                      <a:pt x="29010" y="24504"/>
                    </a:lnTo>
                    <a:cubicBezTo>
                      <a:pt x="33201" y="22599"/>
                      <a:pt x="36820" y="21265"/>
                      <a:pt x="39868" y="20503"/>
                    </a:cubicBezTo>
                    <a:cubicBezTo>
                      <a:pt x="42916" y="19741"/>
                      <a:pt x="45965" y="19741"/>
                      <a:pt x="49012" y="20599"/>
                    </a:cubicBezTo>
                    <a:cubicBezTo>
                      <a:pt x="52060" y="21456"/>
                      <a:pt x="54918" y="23552"/>
                      <a:pt x="57585" y="26885"/>
                    </a:cubicBezTo>
                    <a:cubicBezTo>
                      <a:pt x="59966" y="29933"/>
                      <a:pt x="61204" y="33077"/>
                      <a:pt x="61490" y="36505"/>
                    </a:cubicBezTo>
                    <a:cubicBezTo>
                      <a:pt x="61776" y="39935"/>
                      <a:pt x="60824" y="43363"/>
                      <a:pt x="58823" y="46888"/>
                    </a:cubicBezTo>
                    <a:cubicBezTo>
                      <a:pt x="56823" y="50412"/>
                      <a:pt x="53775" y="53746"/>
                      <a:pt x="49679" y="56984"/>
                    </a:cubicBezTo>
                    <a:cubicBezTo>
                      <a:pt x="45583" y="60223"/>
                      <a:pt x="41488" y="62509"/>
                      <a:pt x="37487" y="63937"/>
                    </a:cubicBezTo>
                    <a:close/>
                  </a:path>
                </a:pathLst>
              </a:custGeom>
              <a:solidFill>
                <a:srgbClr val="231F20"/>
              </a:solidFill>
              <a:ln w="9525" cap="flat">
                <a:noFill/>
                <a:prstDash val="solid"/>
                <a:miter/>
              </a:ln>
            </p:spPr>
            <p:txBody>
              <a:bodyPr rtlCol="0" anchor="ctr"/>
              <a:lstStyle/>
              <a:p>
                <a:pPr marL="0" marR="0" lvl="0" indent="0" algn="l" defTabSz="913578" rtl="0" eaLnBrk="1" fontAlgn="auto" latinLnBrk="0" hangingPunct="1">
                  <a:lnSpc>
                    <a:spcPct val="100000"/>
                  </a:lnSpc>
                  <a:spcBef>
                    <a:spcPts val="0"/>
                  </a:spcBef>
                  <a:spcAft>
                    <a:spcPts val="0"/>
                  </a:spcAft>
                  <a:buClrTx/>
                  <a:buSzTx/>
                  <a:buFontTx/>
                  <a:buNone/>
                  <a:tabLst/>
                  <a:defRPr/>
                </a:pPr>
                <a:endParaRPr kumimoji="0" lang="en-US" sz="17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394" name="Freeform: Shape 219">
                <a:extLst>
                  <a:ext uri="{FF2B5EF4-FFF2-40B4-BE49-F238E27FC236}">
                    <a16:creationId xmlns:a16="http://schemas.microsoft.com/office/drawing/2014/main" id="{D05C3E21-4742-1515-A44C-3113D00AC7B5}"/>
                  </a:ext>
                </a:extLst>
              </p:cNvPr>
              <p:cNvSpPr/>
              <p:nvPr/>
            </p:nvSpPr>
            <p:spPr>
              <a:xfrm>
                <a:off x="5521451" y="4083748"/>
                <a:ext cx="64103" cy="65716"/>
              </a:xfrm>
              <a:custGeom>
                <a:avLst/>
                <a:gdLst>
                  <a:gd name="connsiteX0" fmla="*/ 42958 w 64103"/>
                  <a:gd name="connsiteY0" fmla="*/ 65437 h 65716"/>
                  <a:gd name="connsiteX1" fmla="*/ 32671 w 64103"/>
                  <a:gd name="connsiteY1" fmla="*/ 57817 h 65716"/>
                  <a:gd name="connsiteX2" fmla="*/ 13430 w 64103"/>
                  <a:gd name="connsiteY2" fmla="*/ 30575 h 65716"/>
                  <a:gd name="connsiteX3" fmla="*/ 7144 w 64103"/>
                  <a:gd name="connsiteY3" fmla="*/ 34957 h 65716"/>
                  <a:gd name="connsiteX4" fmla="*/ 381 w 64103"/>
                  <a:gd name="connsiteY4" fmla="*/ 25432 h 65716"/>
                  <a:gd name="connsiteX5" fmla="*/ 7239 w 64103"/>
                  <a:gd name="connsiteY5" fmla="*/ 20574 h 65716"/>
                  <a:gd name="connsiteX6" fmla="*/ 0 w 64103"/>
                  <a:gd name="connsiteY6" fmla="*/ 9049 h 65716"/>
                  <a:gd name="connsiteX7" fmla="*/ 10668 w 64103"/>
                  <a:gd name="connsiteY7" fmla="*/ 0 h 65716"/>
                  <a:gd name="connsiteX8" fmla="*/ 19241 w 64103"/>
                  <a:gd name="connsiteY8" fmla="*/ 12097 h 65716"/>
                  <a:gd name="connsiteX9" fmla="*/ 29051 w 64103"/>
                  <a:gd name="connsiteY9" fmla="*/ 5144 h 65716"/>
                  <a:gd name="connsiteX10" fmla="*/ 35814 w 64103"/>
                  <a:gd name="connsiteY10" fmla="*/ 14669 h 65716"/>
                  <a:gd name="connsiteX11" fmla="*/ 26003 w 64103"/>
                  <a:gd name="connsiteY11" fmla="*/ 21622 h 65716"/>
                  <a:gd name="connsiteX12" fmla="*/ 42863 w 64103"/>
                  <a:gd name="connsiteY12" fmla="*/ 45434 h 65716"/>
                  <a:gd name="connsiteX13" fmla="*/ 47339 w 64103"/>
                  <a:gd name="connsiteY13" fmla="*/ 49340 h 65716"/>
                  <a:gd name="connsiteX14" fmla="*/ 52007 w 64103"/>
                  <a:gd name="connsiteY14" fmla="*/ 48196 h 65716"/>
                  <a:gd name="connsiteX15" fmla="*/ 56293 w 64103"/>
                  <a:gd name="connsiteY15" fmla="*/ 44387 h 65716"/>
                  <a:gd name="connsiteX16" fmla="*/ 64103 w 64103"/>
                  <a:gd name="connsiteY16" fmla="*/ 53435 h 65716"/>
                  <a:gd name="connsiteX17" fmla="*/ 54769 w 64103"/>
                  <a:gd name="connsiteY17" fmla="*/ 62198 h 65716"/>
                  <a:gd name="connsiteX18" fmla="*/ 42958 w 64103"/>
                  <a:gd name="connsiteY18" fmla="*/ 65532 h 657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4103" h="65716">
                    <a:moveTo>
                      <a:pt x="42958" y="65437"/>
                    </a:moveTo>
                    <a:cubicBezTo>
                      <a:pt x="39243" y="64770"/>
                      <a:pt x="35814" y="62198"/>
                      <a:pt x="32671" y="57817"/>
                    </a:cubicBezTo>
                    <a:lnTo>
                      <a:pt x="13430" y="30575"/>
                    </a:lnTo>
                    <a:lnTo>
                      <a:pt x="7144" y="34957"/>
                    </a:lnTo>
                    <a:lnTo>
                      <a:pt x="381" y="25432"/>
                    </a:lnTo>
                    <a:lnTo>
                      <a:pt x="7239" y="20574"/>
                    </a:lnTo>
                    <a:lnTo>
                      <a:pt x="0" y="9049"/>
                    </a:lnTo>
                    <a:lnTo>
                      <a:pt x="10668" y="0"/>
                    </a:lnTo>
                    <a:lnTo>
                      <a:pt x="19241" y="12097"/>
                    </a:lnTo>
                    <a:lnTo>
                      <a:pt x="29051" y="5144"/>
                    </a:lnTo>
                    <a:lnTo>
                      <a:pt x="35814" y="14669"/>
                    </a:lnTo>
                    <a:lnTo>
                      <a:pt x="26003" y="21622"/>
                    </a:lnTo>
                    <a:lnTo>
                      <a:pt x="42863" y="45434"/>
                    </a:lnTo>
                    <a:cubicBezTo>
                      <a:pt x="44387" y="47530"/>
                      <a:pt x="45815" y="48863"/>
                      <a:pt x="47339" y="49340"/>
                    </a:cubicBezTo>
                    <a:cubicBezTo>
                      <a:pt x="48768" y="49816"/>
                      <a:pt x="50387" y="49340"/>
                      <a:pt x="52007" y="48196"/>
                    </a:cubicBezTo>
                    <a:cubicBezTo>
                      <a:pt x="53340" y="47244"/>
                      <a:pt x="54769" y="46006"/>
                      <a:pt x="56293" y="44387"/>
                    </a:cubicBezTo>
                    <a:lnTo>
                      <a:pt x="64103" y="53435"/>
                    </a:lnTo>
                    <a:cubicBezTo>
                      <a:pt x="61341" y="56864"/>
                      <a:pt x="58198" y="59817"/>
                      <a:pt x="54769" y="62198"/>
                    </a:cubicBezTo>
                    <a:cubicBezTo>
                      <a:pt x="50673" y="65056"/>
                      <a:pt x="46768" y="66199"/>
                      <a:pt x="42958" y="65532"/>
                    </a:cubicBezTo>
                    <a:close/>
                  </a:path>
                </a:pathLst>
              </a:custGeom>
              <a:solidFill>
                <a:srgbClr val="231F20"/>
              </a:solidFill>
              <a:ln w="9525" cap="flat">
                <a:noFill/>
                <a:prstDash val="solid"/>
                <a:miter/>
              </a:ln>
            </p:spPr>
            <p:txBody>
              <a:bodyPr rtlCol="0" anchor="ctr"/>
              <a:lstStyle/>
              <a:p>
                <a:pPr marL="0" marR="0" lvl="0" indent="0" algn="l" defTabSz="913578" rtl="0" eaLnBrk="1" fontAlgn="auto" latinLnBrk="0" hangingPunct="1">
                  <a:lnSpc>
                    <a:spcPct val="100000"/>
                  </a:lnSpc>
                  <a:spcBef>
                    <a:spcPts val="0"/>
                  </a:spcBef>
                  <a:spcAft>
                    <a:spcPts val="0"/>
                  </a:spcAft>
                  <a:buClrTx/>
                  <a:buSzTx/>
                  <a:buFontTx/>
                  <a:buNone/>
                  <a:tabLst/>
                  <a:defRPr/>
                </a:pPr>
                <a:endParaRPr kumimoji="0" lang="en-US" sz="17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395" name="Freeform: Shape 220">
                <a:extLst>
                  <a:ext uri="{FF2B5EF4-FFF2-40B4-BE49-F238E27FC236}">
                    <a16:creationId xmlns:a16="http://schemas.microsoft.com/office/drawing/2014/main" id="{B0A96E52-6EA1-6C00-B0B4-679342F6EA1E}"/>
                  </a:ext>
                </a:extLst>
              </p:cNvPr>
              <p:cNvSpPr/>
              <p:nvPr/>
            </p:nvSpPr>
            <p:spPr>
              <a:xfrm>
                <a:off x="5560123" y="4063174"/>
                <a:ext cx="46005" cy="69723"/>
              </a:xfrm>
              <a:custGeom>
                <a:avLst/>
                <a:gdLst>
                  <a:gd name="connsiteX0" fmla="*/ 8096 w 46005"/>
                  <a:gd name="connsiteY0" fmla="*/ 30956 h 69723"/>
                  <a:gd name="connsiteX1" fmla="*/ 3429 w 46005"/>
                  <a:gd name="connsiteY1" fmla="*/ 24003 h 69723"/>
                  <a:gd name="connsiteX2" fmla="*/ 0 w 46005"/>
                  <a:gd name="connsiteY2" fmla="*/ 19241 h 69723"/>
                  <a:gd name="connsiteX3" fmla="*/ 12573 w 46005"/>
                  <a:gd name="connsiteY3" fmla="*/ 11144 h 69723"/>
                  <a:gd name="connsiteX4" fmla="*/ 15526 w 46005"/>
                  <a:gd name="connsiteY4" fmla="*/ 14954 h 69723"/>
                  <a:gd name="connsiteX5" fmla="*/ 18860 w 46005"/>
                  <a:gd name="connsiteY5" fmla="*/ 19622 h 69723"/>
                  <a:gd name="connsiteX6" fmla="*/ 19050 w 46005"/>
                  <a:gd name="connsiteY6" fmla="*/ 19622 h 69723"/>
                  <a:gd name="connsiteX7" fmla="*/ 18288 w 46005"/>
                  <a:gd name="connsiteY7" fmla="*/ 12097 h 69723"/>
                  <a:gd name="connsiteX8" fmla="*/ 19812 w 46005"/>
                  <a:gd name="connsiteY8" fmla="*/ 6668 h 69723"/>
                  <a:gd name="connsiteX9" fmla="*/ 24670 w 46005"/>
                  <a:gd name="connsiteY9" fmla="*/ 1905 h 69723"/>
                  <a:gd name="connsiteX10" fmla="*/ 27242 w 46005"/>
                  <a:gd name="connsiteY10" fmla="*/ 572 h 69723"/>
                  <a:gd name="connsiteX11" fmla="*/ 29337 w 46005"/>
                  <a:gd name="connsiteY11" fmla="*/ 0 h 69723"/>
                  <a:gd name="connsiteX12" fmla="*/ 36290 w 46005"/>
                  <a:gd name="connsiteY12" fmla="*/ 11621 h 69723"/>
                  <a:gd name="connsiteX13" fmla="*/ 35147 w 46005"/>
                  <a:gd name="connsiteY13" fmla="*/ 12097 h 69723"/>
                  <a:gd name="connsiteX14" fmla="*/ 30480 w 46005"/>
                  <a:gd name="connsiteY14" fmla="*/ 14383 h 69723"/>
                  <a:gd name="connsiteX15" fmla="*/ 25432 w 46005"/>
                  <a:gd name="connsiteY15" fmla="*/ 23241 h 69723"/>
                  <a:gd name="connsiteX16" fmla="*/ 30004 w 46005"/>
                  <a:gd name="connsiteY16" fmla="*/ 36386 h 69723"/>
                  <a:gd name="connsiteX17" fmla="*/ 46006 w 46005"/>
                  <a:gd name="connsiteY17" fmla="*/ 61246 h 69723"/>
                  <a:gd name="connsiteX18" fmla="*/ 32861 w 46005"/>
                  <a:gd name="connsiteY18" fmla="*/ 69723 h 69723"/>
                  <a:gd name="connsiteX19" fmla="*/ 7906 w 46005"/>
                  <a:gd name="connsiteY19" fmla="*/ 30861 h 697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6005" h="69723">
                    <a:moveTo>
                      <a:pt x="8096" y="30956"/>
                    </a:moveTo>
                    <a:cubicBezTo>
                      <a:pt x="6668" y="28766"/>
                      <a:pt x="5144" y="26479"/>
                      <a:pt x="3429" y="24003"/>
                    </a:cubicBezTo>
                    <a:cubicBezTo>
                      <a:pt x="1715" y="21527"/>
                      <a:pt x="667" y="20003"/>
                      <a:pt x="0" y="19241"/>
                    </a:cubicBezTo>
                    <a:lnTo>
                      <a:pt x="12573" y="11144"/>
                    </a:lnTo>
                    <a:cubicBezTo>
                      <a:pt x="13049" y="11621"/>
                      <a:pt x="14097" y="12859"/>
                      <a:pt x="15526" y="14954"/>
                    </a:cubicBezTo>
                    <a:cubicBezTo>
                      <a:pt x="16954" y="17050"/>
                      <a:pt x="18098" y="18574"/>
                      <a:pt x="18860" y="19622"/>
                    </a:cubicBezTo>
                    <a:lnTo>
                      <a:pt x="19050" y="19622"/>
                    </a:lnTo>
                    <a:cubicBezTo>
                      <a:pt x="18479" y="16478"/>
                      <a:pt x="18288" y="14002"/>
                      <a:pt x="18288" y="12097"/>
                    </a:cubicBezTo>
                    <a:cubicBezTo>
                      <a:pt x="18288" y="10192"/>
                      <a:pt x="18860" y="8382"/>
                      <a:pt x="19812" y="6668"/>
                    </a:cubicBezTo>
                    <a:cubicBezTo>
                      <a:pt x="20765" y="4953"/>
                      <a:pt x="22384" y="3429"/>
                      <a:pt x="24670" y="1905"/>
                    </a:cubicBezTo>
                    <a:cubicBezTo>
                      <a:pt x="25527" y="1334"/>
                      <a:pt x="26384" y="953"/>
                      <a:pt x="27242" y="572"/>
                    </a:cubicBezTo>
                    <a:cubicBezTo>
                      <a:pt x="28099" y="191"/>
                      <a:pt x="28861" y="0"/>
                      <a:pt x="29337" y="0"/>
                    </a:cubicBezTo>
                    <a:lnTo>
                      <a:pt x="36290" y="11621"/>
                    </a:lnTo>
                    <a:cubicBezTo>
                      <a:pt x="36290" y="11621"/>
                      <a:pt x="35433" y="12002"/>
                      <a:pt x="35147" y="12097"/>
                    </a:cubicBezTo>
                    <a:cubicBezTo>
                      <a:pt x="33242" y="12859"/>
                      <a:pt x="31718" y="13621"/>
                      <a:pt x="30480" y="14383"/>
                    </a:cubicBezTo>
                    <a:cubicBezTo>
                      <a:pt x="27242" y="16478"/>
                      <a:pt x="25527" y="19431"/>
                      <a:pt x="25432" y="23241"/>
                    </a:cubicBezTo>
                    <a:cubicBezTo>
                      <a:pt x="25337" y="27051"/>
                      <a:pt x="26861" y="31433"/>
                      <a:pt x="30004" y="36386"/>
                    </a:cubicBezTo>
                    <a:lnTo>
                      <a:pt x="46006" y="61246"/>
                    </a:lnTo>
                    <a:lnTo>
                      <a:pt x="32861" y="69723"/>
                    </a:lnTo>
                    <a:lnTo>
                      <a:pt x="7906" y="30861"/>
                    </a:lnTo>
                    <a:close/>
                  </a:path>
                </a:pathLst>
              </a:custGeom>
              <a:solidFill>
                <a:srgbClr val="231F20"/>
              </a:solidFill>
              <a:ln w="9525" cap="flat">
                <a:noFill/>
                <a:prstDash val="solid"/>
                <a:miter/>
              </a:ln>
            </p:spPr>
            <p:txBody>
              <a:bodyPr rtlCol="0" anchor="ctr"/>
              <a:lstStyle/>
              <a:p>
                <a:pPr marL="0" marR="0" lvl="0" indent="0" algn="l" defTabSz="913578" rtl="0" eaLnBrk="1" fontAlgn="auto" latinLnBrk="0" hangingPunct="1">
                  <a:lnSpc>
                    <a:spcPct val="100000"/>
                  </a:lnSpc>
                  <a:spcBef>
                    <a:spcPts val="0"/>
                  </a:spcBef>
                  <a:spcAft>
                    <a:spcPts val="0"/>
                  </a:spcAft>
                  <a:buClrTx/>
                  <a:buSzTx/>
                  <a:buFontTx/>
                  <a:buNone/>
                  <a:tabLst/>
                  <a:defRPr/>
                </a:pPr>
                <a:endParaRPr kumimoji="0" lang="en-US" sz="17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396" name="Freeform: Shape 221">
                <a:extLst>
                  <a:ext uri="{FF2B5EF4-FFF2-40B4-BE49-F238E27FC236}">
                    <a16:creationId xmlns:a16="http://schemas.microsoft.com/office/drawing/2014/main" id="{B172C9DD-6726-DA1E-FE5A-194C2F72FA4D}"/>
                  </a:ext>
                </a:extLst>
              </p:cNvPr>
              <p:cNvSpPr/>
              <p:nvPr/>
            </p:nvSpPr>
            <p:spPr>
              <a:xfrm>
                <a:off x="5594032" y="4030122"/>
                <a:ext cx="65250" cy="100488"/>
              </a:xfrm>
              <a:custGeom>
                <a:avLst/>
                <a:gdLst>
                  <a:gd name="connsiteX0" fmla="*/ 45149 w 65250"/>
                  <a:gd name="connsiteY0" fmla="*/ 100489 h 100488"/>
                  <a:gd name="connsiteX1" fmla="*/ 40100 w 65250"/>
                  <a:gd name="connsiteY1" fmla="*/ 89249 h 100488"/>
                  <a:gd name="connsiteX2" fmla="*/ 44006 w 65250"/>
                  <a:gd name="connsiteY2" fmla="*/ 87630 h 100488"/>
                  <a:gd name="connsiteX3" fmla="*/ 48196 w 65250"/>
                  <a:gd name="connsiteY3" fmla="*/ 84296 h 100488"/>
                  <a:gd name="connsiteX4" fmla="*/ 50197 w 65250"/>
                  <a:gd name="connsiteY4" fmla="*/ 79915 h 100488"/>
                  <a:gd name="connsiteX5" fmla="*/ 50483 w 65250"/>
                  <a:gd name="connsiteY5" fmla="*/ 73533 h 100488"/>
                  <a:gd name="connsiteX6" fmla="*/ 50102 w 65250"/>
                  <a:gd name="connsiteY6" fmla="*/ 70771 h 100488"/>
                  <a:gd name="connsiteX7" fmla="*/ 0 w 65250"/>
                  <a:gd name="connsiteY7" fmla="*/ 30385 h 100488"/>
                  <a:gd name="connsiteX8" fmla="*/ 14573 w 65250"/>
                  <a:gd name="connsiteY8" fmla="*/ 22193 h 100488"/>
                  <a:gd name="connsiteX9" fmla="*/ 36576 w 65250"/>
                  <a:gd name="connsiteY9" fmla="*/ 41910 h 100488"/>
                  <a:gd name="connsiteX10" fmla="*/ 44101 w 65250"/>
                  <a:gd name="connsiteY10" fmla="*/ 48959 h 100488"/>
                  <a:gd name="connsiteX11" fmla="*/ 50102 w 65250"/>
                  <a:gd name="connsiteY11" fmla="*/ 54674 h 100488"/>
                  <a:gd name="connsiteX12" fmla="*/ 47816 w 65250"/>
                  <a:gd name="connsiteY12" fmla="*/ 45911 h 100488"/>
                  <a:gd name="connsiteX13" fmla="*/ 45815 w 65250"/>
                  <a:gd name="connsiteY13" fmla="*/ 37052 h 100488"/>
                  <a:gd name="connsiteX14" fmla="*/ 39719 w 65250"/>
                  <a:gd name="connsiteY14" fmla="*/ 8096 h 100488"/>
                  <a:gd name="connsiteX15" fmla="*/ 54197 w 65250"/>
                  <a:gd name="connsiteY15" fmla="*/ 0 h 100488"/>
                  <a:gd name="connsiteX16" fmla="*/ 64579 w 65250"/>
                  <a:gd name="connsiteY16" fmla="*/ 67056 h 100488"/>
                  <a:gd name="connsiteX17" fmla="*/ 65056 w 65250"/>
                  <a:gd name="connsiteY17" fmla="*/ 80296 h 100488"/>
                  <a:gd name="connsiteX18" fmla="*/ 62008 w 65250"/>
                  <a:gd name="connsiteY18" fmla="*/ 89630 h 100488"/>
                  <a:gd name="connsiteX19" fmla="*/ 54388 w 65250"/>
                  <a:gd name="connsiteY19" fmla="*/ 96393 h 100488"/>
                  <a:gd name="connsiteX20" fmla="*/ 45339 w 65250"/>
                  <a:gd name="connsiteY20" fmla="*/ 100489 h 100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5250" h="100488">
                    <a:moveTo>
                      <a:pt x="45149" y="100489"/>
                    </a:moveTo>
                    <a:lnTo>
                      <a:pt x="40100" y="89249"/>
                    </a:lnTo>
                    <a:cubicBezTo>
                      <a:pt x="41815" y="88678"/>
                      <a:pt x="43148" y="88106"/>
                      <a:pt x="44006" y="87630"/>
                    </a:cubicBezTo>
                    <a:cubicBezTo>
                      <a:pt x="45815" y="86583"/>
                      <a:pt x="47149" y="85535"/>
                      <a:pt x="48196" y="84296"/>
                    </a:cubicBezTo>
                    <a:cubicBezTo>
                      <a:pt x="49149" y="83058"/>
                      <a:pt x="49816" y="81629"/>
                      <a:pt x="50197" y="79915"/>
                    </a:cubicBezTo>
                    <a:cubicBezTo>
                      <a:pt x="50578" y="78200"/>
                      <a:pt x="50578" y="76105"/>
                      <a:pt x="50483" y="73533"/>
                    </a:cubicBezTo>
                    <a:lnTo>
                      <a:pt x="50102" y="70771"/>
                    </a:lnTo>
                    <a:lnTo>
                      <a:pt x="0" y="30385"/>
                    </a:lnTo>
                    <a:lnTo>
                      <a:pt x="14573" y="22193"/>
                    </a:lnTo>
                    <a:lnTo>
                      <a:pt x="36576" y="41910"/>
                    </a:lnTo>
                    <a:cubicBezTo>
                      <a:pt x="38386" y="43625"/>
                      <a:pt x="40862" y="45911"/>
                      <a:pt x="44101" y="48959"/>
                    </a:cubicBezTo>
                    <a:cubicBezTo>
                      <a:pt x="47339" y="52007"/>
                      <a:pt x="49340" y="53912"/>
                      <a:pt x="50102" y="54674"/>
                    </a:cubicBezTo>
                    <a:cubicBezTo>
                      <a:pt x="49721" y="53340"/>
                      <a:pt x="48959" y="50387"/>
                      <a:pt x="47816" y="45911"/>
                    </a:cubicBezTo>
                    <a:cubicBezTo>
                      <a:pt x="46673" y="41339"/>
                      <a:pt x="46006" y="38386"/>
                      <a:pt x="45815" y="37052"/>
                    </a:cubicBezTo>
                    <a:lnTo>
                      <a:pt x="39719" y="8096"/>
                    </a:lnTo>
                    <a:lnTo>
                      <a:pt x="54197" y="0"/>
                    </a:lnTo>
                    <a:lnTo>
                      <a:pt x="64579" y="67056"/>
                    </a:lnTo>
                    <a:cubicBezTo>
                      <a:pt x="65246" y="72295"/>
                      <a:pt x="65437" y="76772"/>
                      <a:pt x="65056" y="80296"/>
                    </a:cubicBezTo>
                    <a:cubicBezTo>
                      <a:pt x="64770" y="83916"/>
                      <a:pt x="63722" y="86963"/>
                      <a:pt x="62008" y="89630"/>
                    </a:cubicBezTo>
                    <a:cubicBezTo>
                      <a:pt x="60293" y="92297"/>
                      <a:pt x="57817" y="94488"/>
                      <a:pt x="54388" y="96393"/>
                    </a:cubicBezTo>
                    <a:cubicBezTo>
                      <a:pt x="50959" y="98298"/>
                      <a:pt x="48006" y="99632"/>
                      <a:pt x="45339" y="100489"/>
                    </a:cubicBezTo>
                    <a:close/>
                  </a:path>
                </a:pathLst>
              </a:custGeom>
              <a:solidFill>
                <a:srgbClr val="231F20"/>
              </a:solidFill>
              <a:ln w="9525" cap="flat">
                <a:noFill/>
                <a:prstDash val="solid"/>
                <a:miter/>
              </a:ln>
            </p:spPr>
            <p:txBody>
              <a:bodyPr rtlCol="0" anchor="ctr"/>
              <a:lstStyle/>
              <a:p>
                <a:pPr marL="0" marR="0" lvl="0" indent="0" algn="l" defTabSz="913578" rtl="0" eaLnBrk="1" fontAlgn="auto" latinLnBrk="0" hangingPunct="1">
                  <a:lnSpc>
                    <a:spcPct val="100000"/>
                  </a:lnSpc>
                  <a:spcBef>
                    <a:spcPts val="0"/>
                  </a:spcBef>
                  <a:spcAft>
                    <a:spcPts val="0"/>
                  </a:spcAft>
                  <a:buClrTx/>
                  <a:buSzTx/>
                  <a:buFontTx/>
                  <a:buNone/>
                  <a:tabLst/>
                  <a:defRPr/>
                </a:pPr>
                <a:endParaRPr kumimoji="0" lang="en-US" sz="17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397" name="Freeform: Shape 222">
                <a:extLst>
                  <a:ext uri="{FF2B5EF4-FFF2-40B4-BE49-F238E27FC236}">
                    <a16:creationId xmlns:a16="http://schemas.microsoft.com/office/drawing/2014/main" id="{51237C4A-29FF-B881-FF44-1E2A86BCB656}"/>
                  </a:ext>
                </a:extLst>
              </p:cNvPr>
              <p:cNvSpPr/>
              <p:nvPr/>
            </p:nvSpPr>
            <p:spPr>
              <a:xfrm>
                <a:off x="5664231" y="4036218"/>
                <a:ext cx="32003" cy="25050"/>
              </a:xfrm>
              <a:custGeom>
                <a:avLst/>
                <a:gdLst>
                  <a:gd name="connsiteX0" fmla="*/ 0 w 32003"/>
                  <a:gd name="connsiteY0" fmla="*/ 12859 h 25050"/>
                  <a:gd name="connsiteX1" fmla="*/ 26003 w 32003"/>
                  <a:gd name="connsiteY1" fmla="*/ 0 h 25050"/>
                  <a:gd name="connsiteX2" fmla="*/ 32004 w 32003"/>
                  <a:gd name="connsiteY2" fmla="*/ 12192 h 25050"/>
                  <a:gd name="connsiteX3" fmla="*/ 6001 w 32003"/>
                  <a:gd name="connsiteY3" fmla="*/ 25051 h 25050"/>
                  <a:gd name="connsiteX4" fmla="*/ 0 w 32003"/>
                  <a:gd name="connsiteY4" fmla="*/ 12859 h 25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003" h="25050">
                    <a:moveTo>
                      <a:pt x="0" y="12859"/>
                    </a:moveTo>
                    <a:lnTo>
                      <a:pt x="26003" y="0"/>
                    </a:lnTo>
                    <a:lnTo>
                      <a:pt x="32004" y="12192"/>
                    </a:lnTo>
                    <a:lnTo>
                      <a:pt x="6001" y="25051"/>
                    </a:lnTo>
                    <a:lnTo>
                      <a:pt x="0" y="12859"/>
                    </a:lnTo>
                    <a:close/>
                  </a:path>
                </a:pathLst>
              </a:custGeom>
              <a:solidFill>
                <a:srgbClr val="231F20"/>
              </a:solidFill>
              <a:ln w="9525" cap="flat">
                <a:noFill/>
                <a:prstDash val="solid"/>
                <a:miter/>
              </a:ln>
            </p:spPr>
            <p:txBody>
              <a:bodyPr rtlCol="0" anchor="ctr"/>
              <a:lstStyle/>
              <a:p>
                <a:pPr marL="0" marR="0" lvl="0" indent="0" algn="l" defTabSz="913578" rtl="0" eaLnBrk="1" fontAlgn="auto" latinLnBrk="0" hangingPunct="1">
                  <a:lnSpc>
                    <a:spcPct val="100000"/>
                  </a:lnSpc>
                  <a:spcBef>
                    <a:spcPts val="0"/>
                  </a:spcBef>
                  <a:spcAft>
                    <a:spcPts val="0"/>
                  </a:spcAft>
                  <a:buClrTx/>
                  <a:buSzTx/>
                  <a:buFontTx/>
                  <a:buNone/>
                  <a:tabLst/>
                  <a:defRPr/>
                </a:pPr>
                <a:endParaRPr kumimoji="0" lang="en-US" sz="17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398" name="Freeform: Shape 223">
                <a:extLst>
                  <a:ext uri="{FF2B5EF4-FFF2-40B4-BE49-F238E27FC236}">
                    <a16:creationId xmlns:a16="http://schemas.microsoft.com/office/drawing/2014/main" id="{124EE4ED-75A0-C84E-EB12-24D0FCC7EE38}"/>
                  </a:ext>
                </a:extLst>
              </p:cNvPr>
              <p:cNvSpPr/>
              <p:nvPr/>
            </p:nvSpPr>
            <p:spPr>
              <a:xfrm>
                <a:off x="5695179" y="3995991"/>
                <a:ext cx="57664" cy="64547"/>
              </a:xfrm>
              <a:custGeom>
                <a:avLst/>
                <a:gdLst>
                  <a:gd name="connsiteX0" fmla="*/ 27154 w 57664"/>
                  <a:gd name="connsiteY0" fmla="*/ 64421 h 64547"/>
                  <a:gd name="connsiteX1" fmla="*/ 13820 w 57664"/>
                  <a:gd name="connsiteY1" fmla="*/ 62992 h 64547"/>
                  <a:gd name="connsiteX2" fmla="*/ 16010 w 57664"/>
                  <a:gd name="connsiteY2" fmla="*/ 50324 h 64547"/>
                  <a:gd name="connsiteX3" fmla="*/ 26869 w 57664"/>
                  <a:gd name="connsiteY3" fmla="*/ 51943 h 64547"/>
                  <a:gd name="connsiteX4" fmla="*/ 36108 w 57664"/>
                  <a:gd name="connsiteY4" fmla="*/ 50038 h 64547"/>
                  <a:gd name="connsiteX5" fmla="*/ 42680 w 57664"/>
                  <a:gd name="connsiteY5" fmla="*/ 45847 h 64547"/>
                  <a:gd name="connsiteX6" fmla="*/ 43442 w 57664"/>
                  <a:gd name="connsiteY6" fmla="*/ 40608 h 64547"/>
                  <a:gd name="connsiteX7" fmla="*/ 40585 w 57664"/>
                  <a:gd name="connsiteY7" fmla="*/ 37751 h 64547"/>
                  <a:gd name="connsiteX8" fmla="*/ 36299 w 57664"/>
                  <a:gd name="connsiteY8" fmla="*/ 37275 h 64547"/>
                  <a:gd name="connsiteX9" fmla="*/ 29726 w 57664"/>
                  <a:gd name="connsiteY9" fmla="*/ 38227 h 64547"/>
                  <a:gd name="connsiteX10" fmla="*/ 26678 w 57664"/>
                  <a:gd name="connsiteY10" fmla="*/ 38703 h 64547"/>
                  <a:gd name="connsiteX11" fmla="*/ 16010 w 57664"/>
                  <a:gd name="connsiteY11" fmla="*/ 39560 h 64547"/>
                  <a:gd name="connsiteX12" fmla="*/ 7724 w 57664"/>
                  <a:gd name="connsiteY12" fmla="*/ 37084 h 64547"/>
                  <a:gd name="connsiteX13" fmla="*/ 1628 w 57664"/>
                  <a:gd name="connsiteY13" fmla="*/ 29369 h 64547"/>
                  <a:gd name="connsiteX14" fmla="*/ 294 w 57664"/>
                  <a:gd name="connsiteY14" fmla="*/ 19272 h 64547"/>
                  <a:gd name="connsiteX15" fmla="*/ 5152 w 57664"/>
                  <a:gd name="connsiteY15" fmla="*/ 10319 h 64547"/>
                  <a:gd name="connsiteX16" fmla="*/ 16010 w 57664"/>
                  <a:gd name="connsiteY16" fmla="*/ 3175 h 64547"/>
                  <a:gd name="connsiteX17" fmla="*/ 28869 w 57664"/>
                  <a:gd name="connsiteY17" fmla="*/ 32 h 64547"/>
                  <a:gd name="connsiteX18" fmla="*/ 40680 w 57664"/>
                  <a:gd name="connsiteY18" fmla="*/ 2032 h 64547"/>
                  <a:gd name="connsiteX19" fmla="*/ 36965 w 57664"/>
                  <a:gd name="connsiteY19" fmla="*/ 13748 h 64547"/>
                  <a:gd name="connsiteX20" fmla="*/ 20773 w 57664"/>
                  <a:gd name="connsiteY20" fmla="*/ 13938 h 64547"/>
                  <a:gd name="connsiteX21" fmla="*/ 14391 w 57664"/>
                  <a:gd name="connsiteY21" fmla="*/ 22511 h 64547"/>
                  <a:gd name="connsiteX22" fmla="*/ 16772 w 57664"/>
                  <a:gd name="connsiteY22" fmla="*/ 24987 h 64547"/>
                  <a:gd name="connsiteX23" fmla="*/ 20392 w 57664"/>
                  <a:gd name="connsiteY23" fmla="*/ 25464 h 64547"/>
                  <a:gd name="connsiteX24" fmla="*/ 26202 w 57664"/>
                  <a:gd name="connsiteY24" fmla="*/ 24606 h 64547"/>
                  <a:gd name="connsiteX25" fmla="*/ 29060 w 57664"/>
                  <a:gd name="connsiteY25" fmla="*/ 24130 h 64547"/>
                  <a:gd name="connsiteX26" fmla="*/ 40585 w 57664"/>
                  <a:gd name="connsiteY26" fmla="*/ 23082 h 64547"/>
                  <a:gd name="connsiteX27" fmla="*/ 49443 w 57664"/>
                  <a:gd name="connsiteY27" fmla="*/ 25559 h 64547"/>
                  <a:gd name="connsiteX28" fmla="*/ 56111 w 57664"/>
                  <a:gd name="connsiteY28" fmla="*/ 33845 h 64547"/>
                  <a:gd name="connsiteX29" fmla="*/ 57349 w 57664"/>
                  <a:gd name="connsiteY29" fmla="*/ 44133 h 64547"/>
                  <a:gd name="connsiteX30" fmla="*/ 52110 w 57664"/>
                  <a:gd name="connsiteY30" fmla="*/ 53467 h 64547"/>
                  <a:gd name="connsiteX31" fmla="*/ 40680 w 57664"/>
                  <a:gd name="connsiteY31" fmla="*/ 60897 h 64547"/>
                  <a:gd name="connsiteX32" fmla="*/ 27059 w 57664"/>
                  <a:gd name="connsiteY32" fmla="*/ 64516 h 64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57664" h="64547">
                    <a:moveTo>
                      <a:pt x="27154" y="64421"/>
                    </a:moveTo>
                    <a:cubicBezTo>
                      <a:pt x="22868" y="64802"/>
                      <a:pt x="18392" y="64325"/>
                      <a:pt x="13820" y="62992"/>
                    </a:cubicBezTo>
                    <a:lnTo>
                      <a:pt x="16010" y="50324"/>
                    </a:lnTo>
                    <a:cubicBezTo>
                      <a:pt x="20106" y="51372"/>
                      <a:pt x="23726" y="51848"/>
                      <a:pt x="26869" y="51943"/>
                    </a:cubicBezTo>
                    <a:cubicBezTo>
                      <a:pt x="30012" y="51943"/>
                      <a:pt x="33060" y="51372"/>
                      <a:pt x="36108" y="50038"/>
                    </a:cubicBezTo>
                    <a:cubicBezTo>
                      <a:pt x="39156" y="48705"/>
                      <a:pt x="41347" y="47276"/>
                      <a:pt x="42680" y="45847"/>
                    </a:cubicBezTo>
                    <a:cubicBezTo>
                      <a:pt x="44014" y="44418"/>
                      <a:pt x="44300" y="42608"/>
                      <a:pt x="43442" y="40608"/>
                    </a:cubicBezTo>
                    <a:cubicBezTo>
                      <a:pt x="42776" y="39180"/>
                      <a:pt x="41918" y="38227"/>
                      <a:pt x="40585" y="37751"/>
                    </a:cubicBezTo>
                    <a:cubicBezTo>
                      <a:pt x="39346" y="37275"/>
                      <a:pt x="37918" y="37084"/>
                      <a:pt x="36299" y="37275"/>
                    </a:cubicBezTo>
                    <a:cubicBezTo>
                      <a:pt x="34679" y="37465"/>
                      <a:pt x="32488" y="37751"/>
                      <a:pt x="29726" y="38227"/>
                    </a:cubicBezTo>
                    <a:lnTo>
                      <a:pt x="26678" y="38703"/>
                    </a:lnTo>
                    <a:cubicBezTo>
                      <a:pt x="22583" y="39370"/>
                      <a:pt x="18963" y="39656"/>
                      <a:pt x="16010" y="39560"/>
                    </a:cubicBezTo>
                    <a:cubicBezTo>
                      <a:pt x="13058" y="39465"/>
                      <a:pt x="10295" y="38608"/>
                      <a:pt x="7724" y="37084"/>
                    </a:cubicBezTo>
                    <a:cubicBezTo>
                      <a:pt x="5152" y="35560"/>
                      <a:pt x="3152" y="32988"/>
                      <a:pt x="1628" y="29369"/>
                    </a:cubicBezTo>
                    <a:cubicBezTo>
                      <a:pt x="103" y="25844"/>
                      <a:pt x="-373" y="22511"/>
                      <a:pt x="294" y="19272"/>
                    </a:cubicBezTo>
                    <a:cubicBezTo>
                      <a:pt x="866" y="16034"/>
                      <a:pt x="2485" y="13081"/>
                      <a:pt x="5152" y="10319"/>
                    </a:cubicBezTo>
                    <a:cubicBezTo>
                      <a:pt x="7819" y="7557"/>
                      <a:pt x="11438" y="5175"/>
                      <a:pt x="16010" y="3175"/>
                    </a:cubicBezTo>
                    <a:cubicBezTo>
                      <a:pt x="20392" y="1270"/>
                      <a:pt x="24678" y="222"/>
                      <a:pt x="28869" y="32"/>
                    </a:cubicBezTo>
                    <a:cubicBezTo>
                      <a:pt x="33060" y="-159"/>
                      <a:pt x="36965" y="508"/>
                      <a:pt x="40680" y="2032"/>
                    </a:cubicBezTo>
                    <a:lnTo>
                      <a:pt x="36965" y="13748"/>
                    </a:lnTo>
                    <a:cubicBezTo>
                      <a:pt x="31345" y="11557"/>
                      <a:pt x="25916" y="11652"/>
                      <a:pt x="20773" y="13938"/>
                    </a:cubicBezTo>
                    <a:cubicBezTo>
                      <a:pt x="15153" y="16415"/>
                      <a:pt x="12962" y="19272"/>
                      <a:pt x="14391" y="22511"/>
                    </a:cubicBezTo>
                    <a:cubicBezTo>
                      <a:pt x="14962" y="23749"/>
                      <a:pt x="15725" y="24606"/>
                      <a:pt x="16772" y="24987"/>
                    </a:cubicBezTo>
                    <a:cubicBezTo>
                      <a:pt x="17820" y="25368"/>
                      <a:pt x="19058" y="25559"/>
                      <a:pt x="20392" y="25464"/>
                    </a:cubicBezTo>
                    <a:cubicBezTo>
                      <a:pt x="21725" y="25368"/>
                      <a:pt x="23726" y="25083"/>
                      <a:pt x="26202" y="24606"/>
                    </a:cubicBezTo>
                    <a:lnTo>
                      <a:pt x="29060" y="24130"/>
                    </a:lnTo>
                    <a:cubicBezTo>
                      <a:pt x="33632" y="23368"/>
                      <a:pt x="37442" y="22987"/>
                      <a:pt x="40585" y="23082"/>
                    </a:cubicBezTo>
                    <a:cubicBezTo>
                      <a:pt x="43728" y="23082"/>
                      <a:pt x="46681" y="23940"/>
                      <a:pt x="49443" y="25559"/>
                    </a:cubicBezTo>
                    <a:cubicBezTo>
                      <a:pt x="52205" y="27178"/>
                      <a:pt x="54396" y="29940"/>
                      <a:pt x="56111" y="33845"/>
                    </a:cubicBezTo>
                    <a:cubicBezTo>
                      <a:pt x="57635" y="37370"/>
                      <a:pt x="58016" y="40799"/>
                      <a:pt x="57349" y="44133"/>
                    </a:cubicBezTo>
                    <a:cubicBezTo>
                      <a:pt x="56682" y="47466"/>
                      <a:pt x="54968" y="50609"/>
                      <a:pt x="52110" y="53467"/>
                    </a:cubicBezTo>
                    <a:cubicBezTo>
                      <a:pt x="49253" y="56325"/>
                      <a:pt x="45443" y="58801"/>
                      <a:pt x="40680" y="60897"/>
                    </a:cubicBezTo>
                    <a:cubicBezTo>
                      <a:pt x="35918" y="62992"/>
                      <a:pt x="31345" y="64135"/>
                      <a:pt x="27059" y="64516"/>
                    </a:cubicBezTo>
                    <a:close/>
                  </a:path>
                </a:pathLst>
              </a:custGeom>
              <a:solidFill>
                <a:srgbClr val="231F20"/>
              </a:solidFill>
              <a:ln w="9525" cap="flat">
                <a:noFill/>
                <a:prstDash val="solid"/>
                <a:miter/>
              </a:ln>
            </p:spPr>
            <p:txBody>
              <a:bodyPr rtlCol="0" anchor="ctr"/>
              <a:lstStyle/>
              <a:p>
                <a:pPr marL="0" marR="0" lvl="0" indent="0" algn="l" defTabSz="913578" rtl="0" eaLnBrk="1" fontAlgn="auto" latinLnBrk="0" hangingPunct="1">
                  <a:lnSpc>
                    <a:spcPct val="100000"/>
                  </a:lnSpc>
                  <a:spcBef>
                    <a:spcPts val="0"/>
                  </a:spcBef>
                  <a:spcAft>
                    <a:spcPts val="0"/>
                  </a:spcAft>
                  <a:buClrTx/>
                  <a:buSzTx/>
                  <a:buFontTx/>
                  <a:buNone/>
                  <a:tabLst/>
                  <a:defRPr/>
                </a:pPr>
                <a:endParaRPr kumimoji="0" lang="en-US" sz="17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399" name="Freeform: Shape 224">
                <a:extLst>
                  <a:ext uri="{FF2B5EF4-FFF2-40B4-BE49-F238E27FC236}">
                    <a16:creationId xmlns:a16="http://schemas.microsoft.com/office/drawing/2014/main" id="{8516D8AA-9407-8B90-1763-C3CCCF07F692}"/>
                  </a:ext>
                </a:extLst>
              </p:cNvPr>
              <p:cNvSpPr/>
              <p:nvPr/>
            </p:nvSpPr>
            <p:spPr>
              <a:xfrm>
                <a:off x="5747289" y="3971096"/>
                <a:ext cx="67653" cy="93697"/>
              </a:xfrm>
              <a:custGeom>
                <a:avLst/>
                <a:gdLst>
                  <a:gd name="connsiteX0" fmla="*/ 5048 w 67653"/>
                  <a:gd name="connsiteY0" fmla="*/ 27118 h 93697"/>
                  <a:gd name="connsiteX1" fmla="*/ 0 w 67653"/>
                  <a:gd name="connsiteY1" fmla="*/ 14259 h 93697"/>
                  <a:gd name="connsiteX2" fmla="*/ 14383 w 67653"/>
                  <a:gd name="connsiteY2" fmla="*/ 9211 h 93697"/>
                  <a:gd name="connsiteX3" fmla="*/ 16002 w 67653"/>
                  <a:gd name="connsiteY3" fmla="*/ 12354 h 93697"/>
                  <a:gd name="connsiteX4" fmla="*/ 17907 w 67653"/>
                  <a:gd name="connsiteY4" fmla="*/ 17116 h 93697"/>
                  <a:gd name="connsiteX5" fmla="*/ 18097 w 67653"/>
                  <a:gd name="connsiteY5" fmla="*/ 17116 h 93697"/>
                  <a:gd name="connsiteX6" fmla="*/ 32861 w 67653"/>
                  <a:gd name="connsiteY6" fmla="*/ 1305 h 93697"/>
                  <a:gd name="connsiteX7" fmla="*/ 45910 w 67653"/>
                  <a:gd name="connsiteY7" fmla="*/ 924 h 93697"/>
                  <a:gd name="connsiteX8" fmla="*/ 56959 w 67653"/>
                  <a:gd name="connsiteY8" fmla="*/ 8734 h 93697"/>
                  <a:gd name="connsiteX9" fmla="*/ 64865 w 67653"/>
                  <a:gd name="connsiteY9" fmla="*/ 23022 h 93697"/>
                  <a:gd name="connsiteX10" fmla="*/ 67627 w 67653"/>
                  <a:gd name="connsiteY10" fmla="*/ 39500 h 93697"/>
                  <a:gd name="connsiteX11" fmla="*/ 63532 w 67653"/>
                  <a:gd name="connsiteY11" fmla="*/ 52835 h 93697"/>
                  <a:gd name="connsiteX12" fmla="*/ 52483 w 67653"/>
                  <a:gd name="connsiteY12" fmla="*/ 61027 h 93697"/>
                  <a:gd name="connsiteX13" fmla="*/ 42005 w 67653"/>
                  <a:gd name="connsiteY13" fmla="*/ 62360 h 93697"/>
                  <a:gd name="connsiteX14" fmla="*/ 32575 w 67653"/>
                  <a:gd name="connsiteY14" fmla="*/ 57979 h 93697"/>
                  <a:gd name="connsiteX15" fmla="*/ 32290 w 67653"/>
                  <a:gd name="connsiteY15" fmla="*/ 57979 h 93697"/>
                  <a:gd name="connsiteX16" fmla="*/ 33718 w 67653"/>
                  <a:gd name="connsiteY16" fmla="*/ 61503 h 93697"/>
                  <a:gd name="connsiteX17" fmla="*/ 35623 w 67653"/>
                  <a:gd name="connsiteY17" fmla="*/ 66551 h 93697"/>
                  <a:gd name="connsiteX18" fmla="*/ 43339 w 67653"/>
                  <a:gd name="connsiteY18" fmla="*/ 88459 h 93697"/>
                  <a:gd name="connsiteX19" fmla="*/ 28575 w 67653"/>
                  <a:gd name="connsiteY19" fmla="*/ 93697 h 93697"/>
                  <a:gd name="connsiteX20" fmla="*/ 5143 w 67653"/>
                  <a:gd name="connsiteY20" fmla="*/ 27404 h 93697"/>
                  <a:gd name="connsiteX21" fmla="*/ 51054 w 67653"/>
                  <a:gd name="connsiteY21" fmla="*/ 43215 h 93697"/>
                  <a:gd name="connsiteX22" fmla="*/ 49434 w 67653"/>
                  <a:gd name="connsiteY22" fmla="*/ 28451 h 93697"/>
                  <a:gd name="connsiteX23" fmla="*/ 41624 w 67653"/>
                  <a:gd name="connsiteY23" fmla="*/ 16545 h 93697"/>
                  <a:gd name="connsiteX24" fmla="*/ 31528 w 67653"/>
                  <a:gd name="connsiteY24" fmla="*/ 15116 h 93697"/>
                  <a:gd name="connsiteX25" fmla="*/ 25908 w 67653"/>
                  <a:gd name="connsiteY25" fmla="*/ 19022 h 93697"/>
                  <a:gd name="connsiteX26" fmla="*/ 23241 w 67653"/>
                  <a:gd name="connsiteY26" fmla="*/ 26356 h 93697"/>
                  <a:gd name="connsiteX27" fmla="*/ 25146 w 67653"/>
                  <a:gd name="connsiteY27" fmla="*/ 37500 h 93697"/>
                  <a:gd name="connsiteX28" fmla="*/ 30670 w 67653"/>
                  <a:gd name="connsiteY28" fmla="*/ 47215 h 93697"/>
                  <a:gd name="connsiteX29" fmla="*/ 37338 w 67653"/>
                  <a:gd name="connsiteY29" fmla="*/ 51216 h 93697"/>
                  <a:gd name="connsiteX30" fmla="*/ 44005 w 67653"/>
                  <a:gd name="connsiteY30" fmla="*/ 50740 h 93697"/>
                  <a:gd name="connsiteX31" fmla="*/ 51054 w 67653"/>
                  <a:gd name="connsiteY31" fmla="*/ 43215 h 936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67653" h="93697">
                    <a:moveTo>
                      <a:pt x="5048" y="27118"/>
                    </a:moveTo>
                    <a:cubicBezTo>
                      <a:pt x="3143" y="21784"/>
                      <a:pt x="1429" y="17497"/>
                      <a:pt x="0" y="14259"/>
                    </a:cubicBezTo>
                    <a:lnTo>
                      <a:pt x="14383" y="9211"/>
                    </a:lnTo>
                    <a:cubicBezTo>
                      <a:pt x="14383" y="9211"/>
                      <a:pt x="15145" y="10544"/>
                      <a:pt x="16002" y="12354"/>
                    </a:cubicBezTo>
                    <a:cubicBezTo>
                      <a:pt x="16764" y="14164"/>
                      <a:pt x="17431" y="15783"/>
                      <a:pt x="17907" y="17116"/>
                    </a:cubicBezTo>
                    <a:lnTo>
                      <a:pt x="18097" y="17116"/>
                    </a:lnTo>
                    <a:cubicBezTo>
                      <a:pt x="19621" y="9497"/>
                      <a:pt x="24574" y="4258"/>
                      <a:pt x="32861" y="1305"/>
                    </a:cubicBezTo>
                    <a:cubicBezTo>
                      <a:pt x="37433" y="-314"/>
                      <a:pt x="41815" y="-410"/>
                      <a:pt x="45910" y="924"/>
                    </a:cubicBezTo>
                    <a:cubicBezTo>
                      <a:pt x="50006" y="2257"/>
                      <a:pt x="53721" y="4924"/>
                      <a:pt x="56959" y="8734"/>
                    </a:cubicBezTo>
                    <a:cubicBezTo>
                      <a:pt x="60198" y="12545"/>
                      <a:pt x="62770" y="17307"/>
                      <a:pt x="64865" y="23022"/>
                    </a:cubicBezTo>
                    <a:cubicBezTo>
                      <a:pt x="66961" y="28832"/>
                      <a:pt x="67818" y="34357"/>
                      <a:pt x="67627" y="39500"/>
                    </a:cubicBezTo>
                    <a:cubicBezTo>
                      <a:pt x="67437" y="44644"/>
                      <a:pt x="66008" y="49121"/>
                      <a:pt x="63532" y="52835"/>
                    </a:cubicBezTo>
                    <a:cubicBezTo>
                      <a:pt x="60960" y="56550"/>
                      <a:pt x="57340" y="59312"/>
                      <a:pt x="52483" y="61027"/>
                    </a:cubicBezTo>
                    <a:cubicBezTo>
                      <a:pt x="48958" y="62265"/>
                      <a:pt x="45434" y="62741"/>
                      <a:pt x="42005" y="62360"/>
                    </a:cubicBezTo>
                    <a:cubicBezTo>
                      <a:pt x="38481" y="61979"/>
                      <a:pt x="35338" y="60550"/>
                      <a:pt x="32575" y="57979"/>
                    </a:cubicBezTo>
                    <a:lnTo>
                      <a:pt x="32290" y="57979"/>
                    </a:lnTo>
                    <a:cubicBezTo>
                      <a:pt x="32290" y="57979"/>
                      <a:pt x="32956" y="59598"/>
                      <a:pt x="33718" y="61503"/>
                    </a:cubicBezTo>
                    <a:cubicBezTo>
                      <a:pt x="34480" y="63408"/>
                      <a:pt x="35147" y="65027"/>
                      <a:pt x="35623" y="66551"/>
                    </a:cubicBezTo>
                    <a:lnTo>
                      <a:pt x="43339" y="88459"/>
                    </a:lnTo>
                    <a:lnTo>
                      <a:pt x="28575" y="93697"/>
                    </a:lnTo>
                    <a:lnTo>
                      <a:pt x="5143" y="27404"/>
                    </a:lnTo>
                    <a:close/>
                    <a:moveTo>
                      <a:pt x="51054" y="43215"/>
                    </a:moveTo>
                    <a:cubicBezTo>
                      <a:pt x="52197" y="39500"/>
                      <a:pt x="51625" y="34547"/>
                      <a:pt x="49434" y="28451"/>
                    </a:cubicBezTo>
                    <a:cubicBezTo>
                      <a:pt x="47434" y="22736"/>
                      <a:pt x="44767" y="18736"/>
                      <a:pt x="41624" y="16545"/>
                    </a:cubicBezTo>
                    <a:cubicBezTo>
                      <a:pt x="38481" y="14354"/>
                      <a:pt x="35052" y="13878"/>
                      <a:pt x="31528" y="15116"/>
                    </a:cubicBezTo>
                    <a:cubicBezTo>
                      <a:pt x="29337" y="15878"/>
                      <a:pt x="27432" y="17212"/>
                      <a:pt x="25908" y="19022"/>
                    </a:cubicBezTo>
                    <a:cubicBezTo>
                      <a:pt x="24384" y="20831"/>
                      <a:pt x="23526" y="23308"/>
                      <a:pt x="23241" y="26356"/>
                    </a:cubicBezTo>
                    <a:cubicBezTo>
                      <a:pt x="22955" y="29499"/>
                      <a:pt x="23622" y="33214"/>
                      <a:pt x="25146" y="37500"/>
                    </a:cubicBezTo>
                    <a:cubicBezTo>
                      <a:pt x="26670" y="41786"/>
                      <a:pt x="28480" y="45025"/>
                      <a:pt x="30670" y="47215"/>
                    </a:cubicBezTo>
                    <a:cubicBezTo>
                      <a:pt x="32766" y="49406"/>
                      <a:pt x="35052" y="50740"/>
                      <a:pt x="37338" y="51216"/>
                    </a:cubicBezTo>
                    <a:cubicBezTo>
                      <a:pt x="39624" y="51692"/>
                      <a:pt x="41815" y="51502"/>
                      <a:pt x="44005" y="50740"/>
                    </a:cubicBezTo>
                    <a:cubicBezTo>
                      <a:pt x="47625" y="49501"/>
                      <a:pt x="50006" y="46930"/>
                      <a:pt x="51054" y="43215"/>
                    </a:cubicBezTo>
                    <a:close/>
                  </a:path>
                </a:pathLst>
              </a:custGeom>
              <a:solidFill>
                <a:srgbClr val="231F20"/>
              </a:solidFill>
              <a:ln w="9525" cap="flat">
                <a:noFill/>
                <a:prstDash val="solid"/>
                <a:miter/>
              </a:ln>
            </p:spPr>
            <p:txBody>
              <a:bodyPr rtlCol="0" anchor="ctr"/>
              <a:lstStyle/>
              <a:p>
                <a:pPr marL="0" marR="0" lvl="0" indent="0" algn="l" defTabSz="913578" rtl="0" eaLnBrk="1" fontAlgn="auto" latinLnBrk="0" hangingPunct="1">
                  <a:lnSpc>
                    <a:spcPct val="100000"/>
                  </a:lnSpc>
                  <a:spcBef>
                    <a:spcPts val="0"/>
                  </a:spcBef>
                  <a:spcAft>
                    <a:spcPts val="0"/>
                  </a:spcAft>
                  <a:buClrTx/>
                  <a:buSzTx/>
                  <a:buFontTx/>
                  <a:buNone/>
                  <a:tabLst/>
                  <a:defRPr/>
                </a:pPr>
                <a:endParaRPr kumimoji="0" lang="en-US" sz="17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400" name="Freeform: Shape 225">
                <a:extLst>
                  <a:ext uri="{FF2B5EF4-FFF2-40B4-BE49-F238E27FC236}">
                    <a16:creationId xmlns:a16="http://schemas.microsoft.com/office/drawing/2014/main" id="{1612377F-D38E-20D5-43D5-FE808D3F437E}"/>
                  </a:ext>
                </a:extLst>
              </p:cNvPr>
              <p:cNvSpPr/>
              <p:nvPr/>
            </p:nvSpPr>
            <p:spPr>
              <a:xfrm>
                <a:off x="5820292" y="3952360"/>
                <a:ext cx="59204" cy="62753"/>
              </a:xfrm>
              <a:custGeom>
                <a:avLst/>
                <a:gdLst>
                  <a:gd name="connsiteX0" fmla="*/ 15390 w 59204"/>
                  <a:gd name="connsiteY0" fmla="*/ 59570 h 62753"/>
                  <a:gd name="connsiteX1" fmla="*/ 1674 w 59204"/>
                  <a:gd name="connsiteY1" fmla="*/ 38900 h 62753"/>
                  <a:gd name="connsiteX2" fmla="*/ 721 w 59204"/>
                  <a:gd name="connsiteY2" fmla="*/ 20993 h 62753"/>
                  <a:gd name="connsiteX3" fmla="*/ 7865 w 59204"/>
                  <a:gd name="connsiteY3" fmla="*/ 8325 h 62753"/>
                  <a:gd name="connsiteX4" fmla="*/ 20819 w 59204"/>
                  <a:gd name="connsiteY4" fmla="*/ 1276 h 62753"/>
                  <a:gd name="connsiteX5" fmla="*/ 36535 w 59204"/>
                  <a:gd name="connsiteY5" fmla="*/ 1086 h 62753"/>
                  <a:gd name="connsiteX6" fmla="*/ 47775 w 59204"/>
                  <a:gd name="connsiteY6" fmla="*/ 8896 h 62753"/>
                  <a:gd name="connsiteX7" fmla="*/ 54347 w 59204"/>
                  <a:gd name="connsiteY7" fmla="*/ 22327 h 62753"/>
                  <a:gd name="connsiteX8" fmla="*/ 55680 w 59204"/>
                  <a:gd name="connsiteY8" fmla="*/ 28518 h 62753"/>
                  <a:gd name="connsiteX9" fmla="*/ 18628 w 59204"/>
                  <a:gd name="connsiteY9" fmla="*/ 38614 h 62753"/>
                  <a:gd name="connsiteX10" fmla="*/ 24819 w 59204"/>
                  <a:gd name="connsiteY10" fmla="*/ 48521 h 62753"/>
                  <a:gd name="connsiteX11" fmla="*/ 35964 w 59204"/>
                  <a:gd name="connsiteY11" fmla="*/ 49759 h 62753"/>
                  <a:gd name="connsiteX12" fmla="*/ 41298 w 59204"/>
                  <a:gd name="connsiteY12" fmla="*/ 47568 h 62753"/>
                  <a:gd name="connsiteX13" fmla="*/ 45584 w 59204"/>
                  <a:gd name="connsiteY13" fmla="*/ 44234 h 62753"/>
                  <a:gd name="connsiteX14" fmla="*/ 50346 w 59204"/>
                  <a:gd name="connsiteY14" fmla="*/ 38900 h 62753"/>
                  <a:gd name="connsiteX15" fmla="*/ 59205 w 59204"/>
                  <a:gd name="connsiteY15" fmla="*/ 46996 h 62753"/>
                  <a:gd name="connsiteX16" fmla="*/ 50442 w 59204"/>
                  <a:gd name="connsiteY16" fmla="*/ 55759 h 62753"/>
                  <a:gd name="connsiteX17" fmla="*/ 38154 w 59204"/>
                  <a:gd name="connsiteY17" fmla="*/ 61284 h 62753"/>
                  <a:gd name="connsiteX18" fmla="*/ 15199 w 59204"/>
                  <a:gd name="connsiteY18" fmla="*/ 59379 h 62753"/>
                  <a:gd name="connsiteX19" fmla="*/ 38631 w 59204"/>
                  <a:gd name="connsiteY19" fmla="*/ 22041 h 62753"/>
                  <a:gd name="connsiteX20" fmla="*/ 32916 w 59204"/>
                  <a:gd name="connsiteY20" fmla="*/ 13183 h 62753"/>
                  <a:gd name="connsiteX21" fmla="*/ 23867 w 59204"/>
                  <a:gd name="connsiteY21" fmla="*/ 12325 h 62753"/>
                  <a:gd name="connsiteX22" fmla="*/ 16628 w 59204"/>
                  <a:gd name="connsiteY22" fmla="*/ 17659 h 62753"/>
                  <a:gd name="connsiteX23" fmla="*/ 16056 w 59204"/>
                  <a:gd name="connsiteY23" fmla="*/ 28232 h 62753"/>
                  <a:gd name="connsiteX24" fmla="*/ 38631 w 59204"/>
                  <a:gd name="connsiteY24" fmla="*/ 22041 h 62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59204" h="62753">
                    <a:moveTo>
                      <a:pt x="15390" y="59570"/>
                    </a:moveTo>
                    <a:cubicBezTo>
                      <a:pt x="9008" y="55855"/>
                      <a:pt x="4436" y="48997"/>
                      <a:pt x="1674" y="38900"/>
                    </a:cubicBezTo>
                    <a:cubicBezTo>
                      <a:pt x="-136" y="32138"/>
                      <a:pt x="-517" y="26232"/>
                      <a:pt x="721" y="20993"/>
                    </a:cubicBezTo>
                    <a:cubicBezTo>
                      <a:pt x="1960" y="15850"/>
                      <a:pt x="4341" y="11563"/>
                      <a:pt x="7865" y="8325"/>
                    </a:cubicBezTo>
                    <a:cubicBezTo>
                      <a:pt x="11389" y="5087"/>
                      <a:pt x="15771" y="2705"/>
                      <a:pt x="20819" y="1276"/>
                    </a:cubicBezTo>
                    <a:cubicBezTo>
                      <a:pt x="26724" y="-343"/>
                      <a:pt x="31963" y="-438"/>
                      <a:pt x="36535" y="1086"/>
                    </a:cubicBezTo>
                    <a:cubicBezTo>
                      <a:pt x="41107" y="2610"/>
                      <a:pt x="44822" y="5182"/>
                      <a:pt x="47775" y="8896"/>
                    </a:cubicBezTo>
                    <a:cubicBezTo>
                      <a:pt x="50727" y="12611"/>
                      <a:pt x="52918" y="17088"/>
                      <a:pt x="54347" y="22327"/>
                    </a:cubicBezTo>
                    <a:cubicBezTo>
                      <a:pt x="54918" y="24327"/>
                      <a:pt x="55395" y="26422"/>
                      <a:pt x="55680" y="28518"/>
                    </a:cubicBezTo>
                    <a:lnTo>
                      <a:pt x="18628" y="38614"/>
                    </a:lnTo>
                    <a:cubicBezTo>
                      <a:pt x="19867" y="43091"/>
                      <a:pt x="21867" y="46425"/>
                      <a:pt x="24819" y="48521"/>
                    </a:cubicBezTo>
                    <a:cubicBezTo>
                      <a:pt x="27772" y="50616"/>
                      <a:pt x="31392" y="50997"/>
                      <a:pt x="35964" y="49759"/>
                    </a:cubicBezTo>
                    <a:cubicBezTo>
                      <a:pt x="37964" y="49187"/>
                      <a:pt x="39774" y="48425"/>
                      <a:pt x="41298" y="47568"/>
                    </a:cubicBezTo>
                    <a:cubicBezTo>
                      <a:pt x="42822" y="46711"/>
                      <a:pt x="44251" y="45568"/>
                      <a:pt x="45584" y="44234"/>
                    </a:cubicBezTo>
                    <a:cubicBezTo>
                      <a:pt x="46918" y="42901"/>
                      <a:pt x="48537" y="41186"/>
                      <a:pt x="50346" y="38900"/>
                    </a:cubicBezTo>
                    <a:lnTo>
                      <a:pt x="59205" y="46996"/>
                    </a:lnTo>
                    <a:cubicBezTo>
                      <a:pt x="56538" y="50521"/>
                      <a:pt x="53585" y="53473"/>
                      <a:pt x="50442" y="55759"/>
                    </a:cubicBezTo>
                    <a:cubicBezTo>
                      <a:pt x="47298" y="58141"/>
                      <a:pt x="43298" y="59950"/>
                      <a:pt x="38154" y="61284"/>
                    </a:cubicBezTo>
                    <a:cubicBezTo>
                      <a:pt x="29201" y="63761"/>
                      <a:pt x="21581" y="63094"/>
                      <a:pt x="15199" y="59379"/>
                    </a:cubicBezTo>
                    <a:close/>
                    <a:moveTo>
                      <a:pt x="38631" y="22041"/>
                    </a:moveTo>
                    <a:cubicBezTo>
                      <a:pt x="37297" y="17659"/>
                      <a:pt x="35392" y="14802"/>
                      <a:pt x="32916" y="13183"/>
                    </a:cubicBezTo>
                    <a:cubicBezTo>
                      <a:pt x="30439" y="11659"/>
                      <a:pt x="27391" y="11278"/>
                      <a:pt x="23867" y="12325"/>
                    </a:cubicBezTo>
                    <a:cubicBezTo>
                      <a:pt x="20533" y="13278"/>
                      <a:pt x="18057" y="14992"/>
                      <a:pt x="16628" y="17659"/>
                    </a:cubicBezTo>
                    <a:cubicBezTo>
                      <a:pt x="15199" y="20326"/>
                      <a:pt x="15009" y="23851"/>
                      <a:pt x="16056" y="28232"/>
                    </a:cubicBezTo>
                    <a:lnTo>
                      <a:pt x="38631" y="22041"/>
                    </a:lnTo>
                    <a:close/>
                  </a:path>
                </a:pathLst>
              </a:custGeom>
              <a:solidFill>
                <a:srgbClr val="231F20"/>
              </a:solidFill>
              <a:ln w="9525" cap="flat">
                <a:noFill/>
                <a:prstDash val="solid"/>
                <a:miter/>
              </a:ln>
            </p:spPr>
            <p:txBody>
              <a:bodyPr rtlCol="0" anchor="ctr"/>
              <a:lstStyle/>
              <a:p>
                <a:pPr marL="0" marR="0" lvl="0" indent="0" algn="l" defTabSz="913578" rtl="0" eaLnBrk="1" fontAlgn="auto" latinLnBrk="0" hangingPunct="1">
                  <a:lnSpc>
                    <a:spcPct val="100000"/>
                  </a:lnSpc>
                  <a:spcBef>
                    <a:spcPts val="0"/>
                  </a:spcBef>
                  <a:spcAft>
                    <a:spcPts val="0"/>
                  </a:spcAft>
                  <a:buClrTx/>
                  <a:buSzTx/>
                  <a:buFontTx/>
                  <a:buNone/>
                  <a:tabLst/>
                  <a:defRPr/>
                </a:pPr>
                <a:endParaRPr kumimoji="0" lang="en-US" sz="17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401" name="Freeform: Shape 226">
                <a:extLst>
                  <a:ext uri="{FF2B5EF4-FFF2-40B4-BE49-F238E27FC236}">
                    <a16:creationId xmlns:a16="http://schemas.microsoft.com/office/drawing/2014/main" id="{594FECDD-F3E8-BA4D-DF9D-85F5ABF4CBF6}"/>
                  </a:ext>
                </a:extLst>
              </p:cNvPr>
              <p:cNvSpPr/>
              <p:nvPr/>
            </p:nvSpPr>
            <p:spPr>
              <a:xfrm>
                <a:off x="5883220" y="3937512"/>
                <a:ext cx="57998" cy="62839"/>
              </a:xfrm>
              <a:custGeom>
                <a:avLst/>
                <a:gdLst>
                  <a:gd name="connsiteX0" fmla="*/ 19612 w 57998"/>
                  <a:gd name="connsiteY0" fmla="*/ 61558 h 62839"/>
                  <a:gd name="connsiteX1" fmla="*/ 7516 w 57998"/>
                  <a:gd name="connsiteY1" fmla="*/ 52986 h 62839"/>
                  <a:gd name="connsiteX2" fmla="*/ 943 w 57998"/>
                  <a:gd name="connsiteY2" fmla="*/ 37746 h 62839"/>
                  <a:gd name="connsiteX3" fmla="*/ 1134 w 57998"/>
                  <a:gd name="connsiteY3" fmla="*/ 20220 h 62839"/>
                  <a:gd name="connsiteX4" fmla="*/ 9230 w 57998"/>
                  <a:gd name="connsiteY4" fmla="*/ 7552 h 62839"/>
                  <a:gd name="connsiteX5" fmla="*/ 24280 w 57998"/>
                  <a:gd name="connsiteY5" fmla="*/ 694 h 62839"/>
                  <a:gd name="connsiteX6" fmla="*/ 49616 w 57998"/>
                  <a:gd name="connsiteY6" fmla="*/ 8504 h 62839"/>
                  <a:gd name="connsiteX7" fmla="*/ 40377 w 57998"/>
                  <a:gd name="connsiteY7" fmla="*/ 17934 h 62839"/>
                  <a:gd name="connsiteX8" fmla="*/ 34090 w 57998"/>
                  <a:gd name="connsiteY8" fmla="*/ 13362 h 62839"/>
                  <a:gd name="connsiteX9" fmla="*/ 26756 w 57998"/>
                  <a:gd name="connsiteY9" fmla="*/ 12791 h 62839"/>
                  <a:gd name="connsiteX10" fmla="*/ 17612 w 57998"/>
                  <a:gd name="connsiteY10" fmla="*/ 19553 h 62839"/>
                  <a:gd name="connsiteX11" fmla="*/ 16850 w 57998"/>
                  <a:gd name="connsiteY11" fmla="*/ 33745 h 62839"/>
                  <a:gd name="connsiteX12" fmla="*/ 23232 w 57998"/>
                  <a:gd name="connsiteY12" fmla="*/ 46890 h 62839"/>
                  <a:gd name="connsiteX13" fmla="*/ 34281 w 57998"/>
                  <a:gd name="connsiteY13" fmla="*/ 49652 h 62839"/>
                  <a:gd name="connsiteX14" fmla="*/ 41425 w 57998"/>
                  <a:gd name="connsiteY14" fmla="*/ 46128 h 62839"/>
                  <a:gd name="connsiteX15" fmla="*/ 47044 w 57998"/>
                  <a:gd name="connsiteY15" fmla="*/ 39079 h 62839"/>
                  <a:gd name="connsiteX16" fmla="*/ 57998 w 57998"/>
                  <a:gd name="connsiteY16" fmla="*/ 46033 h 62839"/>
                  <a:gd name="connsiteX17" fmla="*/ 49330 w 57998"/>
                  <a:gd name="connsiteY17" fmla="*/ 56320 h 62839"/>
                  <a:gd name="connsiteX18" fmla="*/ 36091 w 57998"/>
                  <a:gd name="connsiteY18" fmla="*/ 62035 h 62839"/>
                  <a:gd name="connsiteX19" fmla="*/ 19422 w 57998"/>
                  <a:gd name="connsiteY19" fmla="*/ 61463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7998" h="62839">
                    <a:moveTo>
                      <a:pt x="19612" y="61558"/>
                    </a:moveTo>
                    <a:cubicBezTo>
                      <a:pt x="14755" y="59939"/>
                      <a:pt x="10659" y="57082"/>
                      <a:pt x="7516" y="52986"/>
                    </a:cubicBezTo>
                    <a:cubicBezTo>
                      <a:pt x="4372" y="48890"/>
                      <a:pt x="2182" y="43747"/>
                      <a:pt x="943" y="37746"/>
                    </a:cubicBezTo>
                    <a:cubicBezTo>
                      <a:pt x="-390" y="31174"/>
                      <a:pt x="-295" y="25363"/>
                      <a:pt x="1134" y="20220"/>
                    </a:cubicBezTo>
                    <a:cubicBezTo>
                      <a:pt x="2563" y="15076"/>
                      <a:pt x="5325" y="10885"/>
                      <a:pt x="9230" y="7552"/>
                    </a:cubicBezTo>
                    <a:cubicBezTo>
                      <a:pt x="13230" y="4218"/>
                      <a:pt x="18184" y="1932"/>
                      <a:pt x="24280" y="694"/>
                    </a:cubicBezTo>
                    <a:cubicBezTo>
                      <a:pt x="34376" y="-1402"/>
                      <a:pt x="42853" y="1265"/>
                      <a:pt x="49616" y="8504"/>
                    </a:cubicBezTo>
                    <a:lnTo>
                      <a:pt x="40377" y="17934"/>
                    </a:lnTo>
                    <a:cubicBezTo>
                      <a:pt x="38281" y="15838"/>
                      <a:pt x="36186" y="14315"/>
                      <a:pt x="34090" y="13362"/>
                    </a:cubicBezTo>
                    <a:cubicBezTo>
                      <a:pt x="31995" y="12409"/>
                      <a:pt x="29518" y="12219"/>
                      <a:pt x="26756" y="12791"/>
                    </a:cubicBezTo>
                    <a:cubicBezTo>
                      <a:pt x="22375" y="13648"/>
                      <a:pt x="19327" y="15934"/>
                      <a:pt x="17612" y="19553"/>
                    </a:cubicBezTo>
                    <a:cubicBezTo>
                      <a:pt x="15897" y="23173"/>
                      <a:pt x="15707" y="27840"/>
                      <a:pt x="16850" y="33745"/>
                    </a:cubicBezTo>
                    <a:cubicBezTo>
                      <a:pt x="18088" y="39841"/>
                      <a:pt x="20184" y="44223"/>
                      <a:pt x="23232" y="46890"/>
                    </a:cubicBezTo>
                    <a:cubicBezTo>
                      <a:pt x="26280" y="49557"/>
                      <a:pt x="29995" y="50509"/>
                      <a:pt x="34281" y="49652"/>
                    </a:cubicBezTo>
                    <a:cubicBezTo>
                      <a:pt x="37234" y="49081"/>
                      <a:pt x="39615" y="47842"/>
                      <a:pt x="41425" y="46128"/>
                    </a:cubicBezTo>
                    <a:cubicBezTo>
                      <a:pt x="43330" y="44318"/>
                      <a:pt x="45139" y="42032"/>
                      <a:pt x="47044" y="39079"/>
                    </a:cubicBezTo>
                    <a:lnTo>
                      <a:pt x="57998" y="46033"/>
                    </a:lnTo>
                    <a:cubicBezTo>
                      <a:pt x="55903" y="50128"/>
                      <a:pt x="52950" y="53557"/>
                      <a:pt x="49330" y="56320"/>
                    </a:cubicBezTo>
                    <a:cubicBezTo>
                      <a:pt x="45711" y="59082"/>
                      <a:pt x="41329" y="60987"/>
                      <a:pt x="36091" y="62035"/>
                    </a:cubicBezTo>
                    <a:cubicBezTo>
                      <a:pt x="29899" y="63273"/>
                      <a:pt x="24280" y="63082"/>
                      <a:pt x="19422" y="61463"/>
                    </a:cubicBezTo>
                    <a:close/>
                  </a:path>
                </a:pathLst>
              </a:custGeom>
              <a:solidFill>
                <a:srgbClr val="231F20"/>
              </a:solidFill>
              <a:ln w="9525" cap="flat">
                <a:noFill/>
                <a:prstDash val="solid"/>
                <a:miter/>
              </a:ln>
            </p:spPr>
            <p:txBody>
              <a:bodyPr rtlCol="0" anchor="ctr"/>
              <a:lstStyle/>
              <a:p>
                <a:pPr marL="0" marR="0" lvl="0" indent="0" algn="l" defTabSz="913578" rtl="0" eaLnBrk="1" fontAlgn="auto" latinLnBrk="0" hangingPunct="1">
                  <a:lnSpc>
                    <a:spcPct val="100000"/>
                  </a:lnSpc>
                  <a:spcBef>
                    <a:spcPts val="0"/>
                  </a:spcBef>
                  <a:spcAft>
                    <a:spcPts val="0"/>
                  </a:spcAft>
                  <a:buClrTx/>
                  <a:buSzTx/>
                  <a:buFontTx/>
                  <a:buNone/>
                  <a:tabLst/>
                  <a:defRPr/>
                </a:pPr>
                <a:endParaRPr kumimoji="0" lang="en-US" sz="17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402" name="Freeform: Shape 227">
                <a:extLst>
                  <a:ext uri="{FF2B5EF4-FFF2-40B4-BE49-F238E27FC236}">
                    <a16:creationId xmlns:a16="http://schemas.microsoft.com/office/drawing/2014/main" id="{774366C6-9796-DC4D-F6E6-79314E897F67}"/>
                  </a:ext>
                </a:extLst>
              </p:cNvPr>
              <p:cNvSpPr/>
              <p:nvPr/>
            </p:nvSpPr>
            <p:spPr>
              <a:xfrm>
                <a:off x="5938983" y="3906254"/>
                <a:ext cx="28048" cy="86340"/>
              </a:xfrm>
              <a:custGeom>
                <a:avLst/>
                <a:gdLst>
                  <a:gd name="connsiteX0" fmla="*/ 3379 w 28048"/>
                  <a:gd name="connsiteY0" fmla="*/ 16236 h 86340"/>
                  <a:gd name="connsiteX1" fmla="*/ 140 w 28048"/>
                  <a:gd name="connsiteY1" fmla="*/ 10235 h 86340"/>
                  <a:gd name="connsiteX2" fmla="*/ 1474 w 28048"/>
                  <a:gd name="connsiteY2" fmla="*/ 3473 h 86340"/>
                  <a:gd name="connsiteX3" fmla="*/ 7474 w 28048"/>
                  <a:gd name="connsiteY3" fmla="*/ 139 h 86340"/>
                  <a:gd name="connsiteX4" fmla="*/ 14046 w 28048"/>
                  <a:gd name="connsiteY4" fmla="*/ 1567 h 86340"/>
                  <a:gd name="connsiteX5" fmla="*/ 17285 w 28048"/>
                  <a:gd name="connsiteY5" fmla="*/ 7568 h 86340"/>
                  <a:gd name="connsiteX6" fmla="*/ 15856 w 28048"/>
                  <a:gd name="connsiteY6" fmla="*/ 14236 h 86340"/>
                  <a:gd name="connsiteX7" fmla="*/ 10046 w 28048"/>
                  <a:gd name="connsiteY7" fmla="*/ 17570 h 86340"/>
                  <a:gd name="connsiteX8" fmla="*/ 3283 w 28048"/>
                  <a:gd name="connsiteY8" fmla="*/ 16236 h 86340"/>
                  <a:gd name="connsiteX9" fmla="*/ 3474 w 28048"/>
                  <a:gd name="connsiteY9" fmla="*/ 26714 h 86340"/>
                  <a:gd name="connsiteX10" fmla="*/ 19000 w 28048"/>
                  <a:gd name="connsiteY10" fmla="*/ 24332 h 86340"/>
                  <a:gd name="connsiteX11" fmla="*/ 28048 w 28048"/>
                  <a:gd name="connsiteY11" fmla="*/ 83959 h 86340"/>
                  <a:gd name="connsiteX12" fmla="*/ 12522 w 28048"/>
                  <a:gd name="connsiteY12" fmla="*/ 86340 h 86340"/>
                  <a:gd name="connsiteX13" fmla="*/ 3474 w 28048"/>
                  <a:gd name="connsiteY13" fmla="*/ 26714 h 86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8048" h="86340">
                    <a:moveTo>
                      <a:pt x="3379" y="16236"/>
                    </a:moveTo>
                    <a:cubicBezTo>
                      <a:pt x="1569" y="14903"/>
                      <a:pt x="521" y="12902"/>
                      <a:pt x="140" y="10235"/>
                    </a:cubicBezTo>
                    <a:cubicBezTo>
                      <a:pt x="-241" y="7568"/>
                      <a:pt x="140" y="5282"/>
                      <a:pt x="1474" y="3473"/>
                    </a:cubicBezTo>
                    <a:cubicBezTo>
                      <a:pt x="2807" y="1663"/>
                      <a:pt x="4807" y="520"/>
                      <a:pt x="7474" y="139"/>
                    </a:cubicBezTo>
                    <a:cubicBezTo>
                      <a:pt x="10046" y="-242"/>
                      <a:pt x="12237" y="139"/>
                      <a:pt x="14046" y="1567"/>
                    </a:cubicBezTo>
                    <a:cubicBezTo>
                      <a:pt x="15856" y="2996"/>
                      <a:pt x="16904" y="4901"/>
                      <a:pt x="17285" y="7568"/>
                    </a:cubicBezTo>
                    <a:cubicBezTo>
                      <a:pt x="17666" y="10140"/>
                      <a:pt x="17285" y="12426"/>
                      <a:pt x="15856" y="14236"/>
                    </a:cubicBezTo>
                    <a:cubicBezTo>
                      <a:pt x="14428" y="16046"/>
                      <a:pt x="12618" y="17189"/>
                      <a:pt x="10046" y="17570"/>
                    </a:cubicBezTo>
                    <a:cubicBezTo>
                      <a:pt x="7284" y="17950"/>
                      <a:pt x="5093" y="17570"/>
                      <a:pt x="3283" y="16236"/>
                    </a:cubicBezTo>
                    <a:close/>
                    <a:moveTo>
                      <a:pt x="3474" y="26714"/>
                    </a:moveTo>
                    <a:lnTo>
                      <a:pt x="19000" y="24332"/>
                    </a:lnTo>
                    <a:lnTo>
                      <a:pt x="28048" y="83959"/>
                    </a:lnTo>
                    <a:lnTo>
                      <a:pt x="12522" y="86340"/>
                    </a:lnTo>
                    <a:lnTo>
                      <a:pt x="3474" y="26714"/>
                    </a:lnTo>
                    <a:close/>
                  </a:path>
                </a:pathLst>
              </a:custGeom>
              <a:solidFill>
                <a:srgbClr val="231F20"/>
              </a:solidFill>
              <a:ln w="9525" cap="flat">
                <a:noFill/>
                <a:prstDash val="solid"/>
                <a:miter/>
              </a:ln>
            </p:spPr>
            <p:txBody>
              <a:bodyPr rtlCol="0" anchor="ctr"/>
              <a:lstStyle/>
              <a:p>
                <a:pPr marL="0" marR="0" lvl="0" indent="0" algn="l" defTabSz="913578" rtl="0" eaLnBrk="1" fontAlgn="auto" latinLnBrk="0" hangingPunct="1">
                  <a:lnSpc>
                    <a:spcPct val="100000"/>
                  </a:lnSpc>
                  <a:spcBef>
                    <a:spcPts val="0"/>
                  </a:spcBef>
                  <a:spcAft>
                    <a:spcPts val="0"/>
                  </a:spcAft>
                  <a:buClrTx/>
                  <a:buSzTx/>
                  <a:buFontTx/>
                  <a:buNone/>
                  <a:tabLst/>
                  <a:defRPr/>
                </a:pPr>
                <a:endParaRPr kumimoji="0" lang="en-US" sz="17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403" name="Freeform: Shape 228">
                <a:extLst>
                  <a:ext uri="{FF2B5EF4-FFF2-40B4-BE49-F238E27FC236}">
                    <a16:creationId xmlns:a16="http://schemas.microsoft.com/office/drawing/2014/main" id="{445CEBB1-9F88-669E-1BE0-145EA4AB58AD}"/>
                  </a:ext>
                </a:extLst>
              </p:cNvPr>
              <p:cNvSpPr/>
              <p:nvPr/>
            </p:nvSpPr>
            <p:spPr>
              <a:xfrm>
                <a:off x="5970079" y="3897945"/>
                <a:ext cx="65817" cy="89790"/>
              </a:xfrm>
              <a:custGeom>
                <a:avLst/>
                <a:gdLst>
                  <a:gd name="connsiteX0" fmla="*/ 9906 w 65817"/>
                  <a:gd name="connsiteY0" fmla="*/ 41309 h 89790"/>
                  <a:gd name="connsiteX1" fmla="*/ 1143 w 65817"/>
                  <a:gd name="connsiteY1" fmla="*/ 42166 h 89790"/>
                  <a:gd name="connsiteX2" fmla="*/ 0 w 65817"/>
                  <a:gd name="connsiteY2" fmla="*/ 30545 h 89790"/>
                  <a:gd name="connsiteX3" fmla="*/ 8763 w 65817"/>
                  <a:gd name="connsiteY3" fmla="*/ 29688 h 89790"/>
                  <a:gd name="connsiteX4" fmla="*/ 8287 w 65817"/>
                  <a:gd name="connsiteY4" fmla="*/ 24545 h 89790"/>
                  <a:gd name="connsiteX5" fmla="*/ 11239 w 65817"/>
                  <a:gd name="connsiteY5" fmla="*/ 11400 h 89790"/>
                  <a:gd name="connsiteX6" fmla="*/ 25146 w 65817"/>
                  <a:gd name="connsiteY6" fmla="*/ 5399 h 89790"/>
                  <a:gd name="connsiteX7" fmla="*/ 34576 w 65817"/>
                  <a:gd name="connsiteY7" fmla="*/ 5399 h 89790"/>
                  <a:gd name="connsiteX8" fmla="*/ 34576 w 65817"/>
                  <a:gd name="connsiteY8" fmla="*/ 16734 h 89790"/>
                  <a:gd name="connsiteX9" fmla="*/ 29146 w 65817"/>
                  <a:gd name="connsiteY9" fmla="*/ 16734 h 89790"/>
                  <a:gd name="connsiteX10" fmla="*/ 24670 w 65817"/>
                  <a:gd name="connsiteY10" fmla="*/ 18925 h 89790"/>
                  <a:gd name="connsiteX11" fmla="*/ 23908 w 65817"/>
                  <a:gd name="connsiteY11" fmla="*/ 24449 h 89790"/>
                  <a:gd name="connsiteX12" fmla="*/ 24289 w 65817"/>
                  <a:gd name="connsiteY12" fmla="*/ 28164 h 89790"/>
                  <a:gd name="connsiteX13" fmla="*/ 36671 w 65817"/>
                  <a:gd name="connsiteY13" fmla="*/ 26926 h 89790"/>
                  <a:gd name="connsiteX14" fmla="*/ 37814 w 65817"/>
                  <a:gd name="connsiteY14" fmla="*/ 38546 h 89790"/>
                  <a:gd name="connsiteX15" fmla="*/ 25432 w 65817"/>
                  <a:gd name="connsiteY15" fmla="*/ 39785 h 89790"/>
                  <a:gd name="connsiteX16" fmla="*/ 30099 w 65817"/>
                  <a:gd name="connsiteY16" fmla="*/ 88267 h 89790"/>
                  <a:gd name="connsiteX17" fmla="*/ 14573 w 65817"/>
                  <a:gd name="connsiteY17" fmla="*/ 89791 h 89790"/>
                  <a:gd name="connsiteX18" fmla="*/ 9906 w 65817"/>
                  <a:gd name="connsiteY18" fmla="*/ 41309 h 89790"/>
                  <a:gd name="connsiteX19" fmla="*/ 44863 w 65817"/>
                  <a:gd name="connsiteY19" fmla="*/ 15782 h 89790"/>
                  <a:gd name="connsiteX20" fmla="*/ 41910 w 65817"/>
                  <a:gd name="connsiteY20" fmla="*/ 9686 h 89790"/>
                  <a:gd name="connsiteX21" fmla="*/ 43624 w 65817"/>
                  <a:gd name="connsiteY21" fmla="*/ 3018 h 89790"/>
                  <a:gd name="connsiteX22" fmla="*/ 49816 w 65817"/>
                  <a:gd name="connsiteY22" fmla="*/ 65 h 89790"/>
                  <a:gd name="connsiteX23" fmla="*/ 56293 w 65817"/>
                  <a:gd name="connsiteY23" fmla="*/ 1780 h 89790"/>
                  <a:gd name="connsiteX24" fmla="*/ 59246 w 65817"/>
                  <a:gd name="connsiteY24" fmla="*/ 7971 h 89790"/>
                  <a:gd name="connsiteX25" fmla="*/ 57531 w 65817"/>
                  <a:gd name="connsiteY25" fmla="*/ 14543 h 89790"/>
                  <a:gd name="connsiteX26" fmla="*/ 51530 w 65817"/>
                  <a:gd name="connsiteY26" fmla="*/ 17496 h 89790"/>
                  <a:gd name="connsiteX27" fmla="*/ 44863 w 65817"/>
                  <a:gd name="connsiteY27" fmla="*/ 15782 h 89790"/>
                  <a:gd name="connsiteX28" fmla="*/ 44387 w 65817"/>
                  <a:gd name="connsiteY28" fmla="*/ 26259 h 89790"/>
                  <a:gd name="connsiteX29" fmla="*/ 60007 w 65817"/>
                  <a:gd name="connsiteY29" fmla="*/ 24735 h 89790"/>
                  <a:gd name="connsiteX30" fmla="*/ 65818 w 65817"/>
                  <a:gd name="connsiteY30" fmla="*/ 84838 h 89790"/>
                  <a:gd name="connsiteX31" fmla="*/ 50197 w 65817"/>
                  <a:gd name="connsiteY31" fmla="*/ 86362 h 89790"/>
                  <a:gd name="connsiteX32" fmla="*/ 44387 w 65817"/>
                  <a:gd name="connsiteY32" fmla="*/ 26354 h 89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5817" h="89790">
                    <a:moveTo>
                      <a:pt x="9906" y="41309"/>
                    </a:moveTo>
                    <a:lnTo>
                      <a:pt x="1143" y="42166"/>
                    </a:lnTo>
                    <a:lnTo>
                      <a:pt x="0" y="30545"/>
                    </a:lnTo>
                    <a:lnTo>
                      <a:pt x="8763" y="29688"/>
                    </a:lnTo>
                    <a:lnTo>
                      <a:pt x="8287" y="24545"/>
                    </a:lnTo>
                    <a:cubicBezTo>
                      <a:pt x="7811" y="19115"/>
                      <a:pt x="8763" y="14734"/>
                      <a:pt x="11239" y="11400"/>
                    </a:cubicBezTo>
                    <a:cubicBezTo>
                      <a:pt x="13716" y="8066"/>
                      <a:pt x="18383" y="6066"/>
                      <a:pt x="25146" y="5399"/>
                    </a:cubicBezTo>
                    <a:cubicBezTo>
                      <a:pt x="28099" y="5114"/>
                      <a:pt x="31242" y="5114"/>
                      <a:pt x="34576" y="5399"/>
                    </a:cubicBezTo>
                    <a:lnTo>
                      <a:pt x="34576" y="16734"/>
                    </a:lnTo>
                    <a:cubicBezTo>
                      <a:pt x="32956" y="16544"/>
                      <a:pt x="31147" y="16544"/>
                      <a:pt x="29146" y="16734"/>
                    </a:cubicBezTo>
                    <a:cubicBezTo>
                      <a:pt x="26956" y="16925"/>
                      <a:pt x="25527" y="17687"/>
                      <a:pt x="24670" y="18925"/>
                    </a:cubicBezTo>
                    <a:cubicBezTo>
                      <a:pt x="23908" y="20163"/>
                      <a:pt x="23622" y="22068"/>
                      <a:pt x="23908" y="24449"/>
                    </a:cubicBezTo>
                    <a:lnTo>
                      <a:pt x="24289" y="28164"/>
                    </a:lnTo>
                    <a:lnTo>
                      <a:pt x="36671" y="26926"/>
                    </a:lnTo>
                    <a:lnTo>
                      <a:pt x="37814" y="38546"/>
                    </a:lnTo>
                    <a:lnTo>
                      <a:pt x="25432" y="39785"/>
                    </a:lnTo>
                    <a:lnTo>
                      <a:pt x="30099" y="88267"/>
                    </a:lnTo>
                    <a:lnTo>
                      <a:pt x="14573" y="89791"/>
                    </a:lnTo>
                    <a:lnTo>
                      <a:pt x="9906" y="41309"/>
                    </a:lnTo>
                    <a:close/>
                    <a:moveTo>
                      <a:pt x="44863" y="15782"/>
                    </a:moveTo>
                    <a:cubicBezTo>
                      <a:pt x="43148" y="14353"/>
                      <a:pt x="42196" y="12353"/>
                      <a:pt x="41910" y="9686"/>
                    </a:cubicBezTo>
                    <a:cubicBezTo>
                      <a:pt x="41624" y="7019"/>
                      <a:pt x="42196" y="4733"/>
                      <a:pt x="43624" y="3018"/>
                    </a:cubicBezTo>
                    <a:cubicBezTo>
                      <a:pt x="45053" y="1304"/>
                      <a:pt x="47149" y="256"/>
                      <a:pt x="49816" y="65"/>
                    </a:cubicBezTo>
                    <a:cubicBezTo>
                      <a:pt x="52483" y="-220"/>
                      <a:pt x="54578" y="446"/>
                      <a:pt x="56293" y="1780"/>
                    </a:cubicBezTo>
                    <a:cubicBezTo>
                      <a:pt x="58007" y="3209"/>
                      <a:pt x="58960" y="5304"/>
                      <a:pt x="59246" y="7971"/>
                    </a:cubicBezTo>
                    <a:cubicBezTo>
                      <a:pt x="59531" y="10638"/>
                      <a:pt x="58960" y="12734"/>
                      <a:pt x="57531" y="14543"/>
                    </a:cubicBezTo>
                    <a:cubicBezTo>
                      <a:pt x="56102" y="16258"/>
                      <a:pt x="54102" y="17306"/>
                      <a:pt x="51530" y="17496"/>
                    </a:cubicBezTo>
                    <a:cubicBezTo>
                      <a:pt x="48768" y="17782"/>
                      <a:pt x="46577" y="17210"/>
                      <a:pt x="44863" y="15782"/>
                    </a:cubicBezTo>
                    <a:close/>
                    <a:moveTo>
                      <a:pt x="44387" y="26259"/>
                    </a:moveTo>
                    <a:lnTo>
                      <a:pt x="60007" y="24735"/>
                    </a:lnTo>
                    <a:lnTo>
                      <a:pt x="65818" y="84838"/>
                    </a:lnTo>
                    <a:lnTo>
                      <a:pt x="50197" y="86362"/>
                    </a:lnTo>
                    <a:lnTo>
                      <a:pt x="44387" y="26354"/>
                    </a:lnTo>
                    <a:close/>
                  </a:path>
                </a:pathLst>
              </a:custGeom>
              <a:solidFill>
                <a:srgbClr val="231F20"/>
              </a:solidFill>
              <a:ln w="9525" cap="flat">
                <a:noFill/>
                <a:prstDash val="solid"/>
                <a:miter/>
              </a:ln>
            </p:spPr>
            <p:txBody>
              <a:bodyPr rtlCol="0" anchor="ctr"/>
              <a:lstStyle/>
              <a:p>
                <a:pPr marL="0" marR="0" lvl="0" indent="0" algn="l" defTabSz="913578" rtl="0" eaLnBrk="1" fontAlgn="auto" latinLnBrk="0" hangingPunct="1">
                  <a:lnSpc>
                    <a:spcPct val="100000"/>
                  </a:lnSpc>
                  <a:spcBef>
                    <a:spcPts val="0"/>
                  </a:spcBef>
                  <a:spcAft>
                    <a:spcPts val="0"/>
                  </a:spcAft>
                  <a:buClrTx/>
                  <a:buSzTx/>
                  <a:buFontTx/>
                  <a:buNone/>
                  <a:tabLst/>
                  <a:defRPr/>
                </a:pPr>
                <a:endParaRPr kumimoji="0" lang="en-US" sz="17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404" name="Freeform: Shape 229">
                <a:extLst>
                  <a:ext uri="{FF2B5EF4-FFF2-40B4-BE49-F238E27FC236}">
                    <a16:creationId xmlns:a16="http://schemas.microsoft.com/office/drawing/2014/main" id="{545D3936-643B-FC1A-6D68-33EC58EC61A3}"/>
                  </a:ext>
                </a:extLst>
              </p:cNvPr>
              <p:cNvSpPr/>
              <p:nvPr/>
            </p:nvSpPr>
            <p:spPr>
              <a:xfrm>
                <a:off x="6046447" y="3919809"/>
                <a:ext cx="54886" cy="62613"/>
              </a:xfrm>
              <a:custGeom>
                <a:avLst/>
                <a:gdLst>
                  <a:gd name="connsiteX0" fmla="*/ 14309 w 54886"/>
                  <a:gd name="connsiteY0" fmla="*/ 59164 h 62613"/>
                  <a:gd name="connsiteX1" fmla="*/ 3927 w 54886"/>
                  <a:gd name="connsiteY1" fmla="*/ 48592 h 62613"/>
                  <a:gd name="connsiteX2" fmla="*/ 22 w 54886"/>
                  <a:gd name="connsiteY2" fmla="*/ 32399 h 62613"/>
                  <a:gd name="connsiteX3" fmla="*/ 3261 w 54886"/>
                  <a:gd name="connsiteY3" fmla="*/ 15254 h 62613"/>
                  <a:gd name="connsiteX4" fmla="*/ 13452 w 54886"/>
                  <a:gd name="connsiteY4" fmla="*/ 4110 h 62613"/>
                  <a:gd name="connsiteX5" fmla="*/ 29454 w 54886"/>
                  <a:gd name="connsiteY5" fmla="*/ 14 h 62613"/>
                  <a:gd name="connsiteX6" fmla="*/ 53076 w 54886"/>
                  <a:gd name="connsiteY6" fmla="*/ 12111 h 62613"/>
                  <a:gd name="connsiteX7" fmla="*/ 42313 w 54886"/>
                  <a:gd name="connsiteY7" fmla="*/ 19826 h 62613"/>
                  <a:gd name="connsiteX8" fmla="*/ 36884 w 54886"/>
                  <a:gd name="connsiteY8" fmla="*/ 14301 h 62613"/>
                  <a:gd name="connsiteX9" fmla="*/ 29740 w 54886"/>
                  <a:gd name="connsiteY9" fmla="*/ 12492 h 62613"/>
                  <a:gd name="connsiteX10" fmla="*/ 19548 w 54886"/>
                  <a:gd name="connsiteY10" fmla="*/ 17540 h 62613"/>
                  <a:gd name="connsiteX11" fmla="*/ 16405 w 54886"/>
                  <a:gd name="connsiteY11" fmla="*/ 31351 h 62613"/>
                  <a:gd name="connsiteX12" fmla="*/ 20406 w 54886"/>
                  <a:gd name="connsiteY12" fmla="*/ 45448 h 62613"/>
                  <a:gd name="connsiteX13" fmla="*/ 30788 w 54886"/>
                  <a:gd name="connsiteY13" fmla="*/ 50020 h 62613"/>
                  <a:gd name="connsiteX14" fmla="*/ 38503 w 54886"/>
                  <a:gd name="connsiteY14" fmla="*/ 47734 h 62613"/>
                  <a:gd name="connsiteX15" fmla="*/ 45266 w 54886"/>
                  <a:gd name="connsiteY15" fmla="*/ 41734 h 62613"/>
                  <a:gd name="connsiteX16" fmla="*/ 54886 w 54886"/>
                  <a:gd name="connsiteY16" fmla="*/ 50496 h 62613"/>
                  <a:gd name="connsiteX17" fmla="*/ 44599 w 54886"/>
                  <a:gd name="connsiteY17" fmla="*/ 59164 h 62613"/>
                  <a:gd name="connsiteX18" fmla="*/ 30597 w 54886"/>
                  <a:gd name="connsiteY18" fmla="*/ 62593 h 62613"/>
                  <a:gd name="connsiteX19" fmla="*/ 14309 w 54886"/>
                  <a:gd name="connsiteY19" fmla="*/ 59164 h 62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4886" h="62613">
                    <a:moveTo>
                      <a:pt x="14309" y="59164"/>
                    </a:moveTo>
                    <a:cubicBezTo>
                      <a:pt x="9738" y="56688"/>
                      <a:pt x="6308" y="53163"/>
                      <a:pt x="3927" y="48592"/>
                    </a:cubicBezTo>
                    <a:cubicBezTo>
                      <a:pt x="1546" y="44019"/>
                      <a:pt x="213" y="38590"/>
                      <a:pt x="22" y="32399"/>
                    </a:cubicBezTo>
                    <a:cubicBezTo>
                      <a:pt x="-168" y="25732"/>
                      <a:pt x="879" y="20017"/>
                      <a:pt x="3261" y="15254"/>
                    </a:cubicBezTo>
                    <a:cubicBezTo>
                      <a:pt x="5547" y="10492"/>
                      <a:pt x="8975" y="6777"/>
                      <a:pt x="13452" y="4110"/>
                    </a:cubicBezTo>
                    <a:cubicBezTo>
                      <a:pt x="17929" y="1538"/>
                      <a:pt x="23263" y="109"/>
                      <a:pt x="29454" y="14"/>
                    </a:cubicBezTo>
                    <a:cubicBezTo>
                      <a:pt x="39741" y="-272"/>
                      <a:pt x="47647" y="3824"/>
                      <a:pt x="53076" y="12111"/>
                    </a:cubicBezTo>
                    <a:lnTo>
                      <a:pt x="42313" y="19826"/>
                    </a:lnTo>
                    <a:cubicBezTo>
                      <a:pt x="40599" y="17445"/>
                      <a:pt x="38789" y="15540"/>
                      <a:pt x="36884" y="14301"/>
                    </a:cubicBezTo>
                    <a:cubicBezTo>
                      <a:pt x="34979" y="12968"/>
                      <a:pt x="32598" y="12396"/>
                      <a:pt x="29740" y="12492"/>
                    </a:cubicBezTo>
                    <a:cubicBezTo>
                      <a:pt x="25263" y="12587"/>
                      <a:pt x="21834" y="14301"/>
                      <a:pt x="19548" y="17540"/>
                    </a:cubicBezTo>
                    <a:cubicBezTo>
                      <a:pt x="17262" y="20778"/>
                      <a:pt x="16215" y="25446"/>
                      <a:pt x="16405" y="31351"/>
                    </a:cubicBezTo>
                    <a:cubicBezTo>
                      <a:pt x="16596" y="37543"/>
                      <a:pt x="17929" y="42305"/>
                      <a:pt x="20406" y="45448"/>
                    </a:cubicBezTo>
                    <a:cubicBezTo>
                      <a:pt x="22882" y="48592"/>
                      <a:pt x="26406" y="50211"/>
                      <a:pt x="30788" y="50020"/>
                    </a:cubicBezTo>
                    <a:cubicBezTo>
                      <a:pt x="33740" y="50020"/>
                      <a:pt x="36312" y="49163"/>
                      <a:pt x="38503" y="47734"/>
                    </a:cubicBezTo>
                    <a:cubicBezTo>
                      <a:pt x="40694" y="46306"/>
                      <a:pt x="42884" y="44305"/>
                      <a:pt x="45266" y="41734"/>
                    </a:cubicBezTo>
                    <a:lnTo>
                      <a:pt x="54886" y="50496"/>
                    </a:lnTo>
                    <a:cubicBezTo>
                      <a:pt x="52124" y="54116"/>
                      <a:pt x="48695" y="57069"/>
                      <a:pt x="44599" y="59164"/>
                    </a:cubicBezTo>
                    <a:cubicBezTo>
                      <a:pt x="40503" y="61260"/>
                      <a:pt x="35836" y="62403"/>
                      <a:pt x="30597" y="62593"/>
                    </a:cubicBezTo>
                    <a:cubicBezTo>
                      <a:pt x="24215" y="62784"/>
                      <a:pt x="18786" y="61641"/>
                      <a:pt x="14309" y="59164"/>
                    </a:cubicBezTo>
                    <a:close/>
                  </a:path>
                </a:pathLst>
              </a:custGeom>
              <a:solidFill>
                <a:srgbClr val="231F20"/>
              </a:solidFill>
              <a:ln w="9525" cap="flat">
                <a:noFill/>
                <a:prstDash val="solid"/>
                <a:miter/>
              </a:ln>
            </p:spPr>
            <p:txBody>
              <a:bodyPr rtlCol="0" anchor="ctr"/>
              <a:lstStyle/>
              <a:p>
                <a:pPr marL="0" marR="0" lvl="0" indent="0" algn="l" defTabSz="913578" rtl="0" eaLnBrk="1" fontAlgn="auto" latinLnBrk="0" hangingPunct="1">
                  <a:lnSpc>
                    <a:spcPct val="100000"/>
                  </a:lnSpc>
                  <a:spcBef>
                    <a:spcPts val="0"/>
                  </a:spcBef>
                  <a:spcAft>
                    <a:spcPts val="0"/>
                  </a:spcAft>
                  <a:buClrTx/>
                  <a:buSzTx/>
                  <a:buFontTx/>
                  <a:buNone/>
                  <a:tabLst/>
                  <a:defRPr/>
                </a:pPr>
                <a:endParaRPr kumimoji="0" lang="en-US" sz="17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405" name="Freeform: Shape 230">
                <a:extLst>
                  <a:ext uri="{FF2B5EF4-FFF2-40B4-BE49-F238E27FC236}">
                    <a16:creationId xmlns:a16="http://schemas.microsoft.com/office/drawing/2014/main" id="{1FF4F6C6-F970-5CEC-6010-43A72378A7D4}"/>
                  </a:ext>
                </a:extLst>
              </p:cNvPr>
              <p:cNvSpPr/>
              <p:nvPr/>
            </p:nvSpPr>
            <p:spPr>
              <a:xfrm>
                <a:off x="6137552" y="3922101"/>
                <a:ext cx="54153" cy="63253"/>
              </a:xfrm>
              <a:custGeom>
                <a:avLst/>
                <a:gdLst>
                  <a:gd name="connsiteX0" fmla="*/ 7787 w 54153"/>
                  <a:gd name="connsiteY0" fmla="*/ 58967 h 63253"/>
                  <a:gd name="connsiteX1" fmla="*/ 1691 w 54153"/>
                  <a:gd name="connsiteY1" fmla="*/ 52300 h 63253"/>
                  <a:gd name="connsiteX2" fmla="*/ 72 w 54153"/>
                  <a:gd name="connsiteY2" fmla="*/ 42394 h 63253"/>
                  <a:gd name="connsiteX3" fmla="*/ 7597 w 54153"/>
                  <a:gd name="connsiteY3" fmla="*/ 28297 h 63253"/>
                  <a:gd name="connsiteX4" fmla="*/ 25313 w 54153"/>
                  <a:gd name="connsiteY4" fmla="*/ 24868 h 63253"/>
                  <a:gd name="connsiteX5" fmla="*/ 38267 w 54153"/>
                  <a:gd name="connsiteY5" fmla="*/ 25630 h 63253"/>
                  <a:gd name="connsiteX6" fmla="*/ 38458 w 54153"/>
                  <a:gd name="connsiteY6" fmla="*/ 22772 h 63253"/>
                  <a:gd name="connsiteX7" fmla="*/ 36362 w 54153"/>
                  <a:gd name="connsiteY7" fmla="*/ 14866 h 63253"/>
                  <a:gd name="connsiteX8" fmla="*/ 29218 w 54153"/>
                  <a:gd name="connsiteY8" fmla="*/ 12104 h 63253"/>
                  <a:gd name="connsiteX9" fmla="*/ 12455 w 54153"/>
                  <a:gd name="connsiteY9" fmla="*/ 18200 h 63253"/>
                  <a:gd name="connsiteX10" fmla="*/ 5787 w 54153"/>
                  <a:gd name="connsiteY10" fmla="*/ 7913 h 63253"/>
                  <a:gd name="connsiteX11" fmla="*/ 30933 w 54153"/>
                  <a:gd name="connsiteY11" fmla="*/ 103 h 63253"/>
                  <a:gd name="connsiteX12" fmla="*/ 48745 w 54153"/>
                  <a:gd name="connsiteY12" fmla="*/ 6961 h 63253"/>
                  <a:gd name="connsiteX13" fmla="*/ 54079 w 54153"/>
                  <a:gd name="connsiteY13" fmla="*/ 23439 h 63253"/>
                  <a:gd name="connsiteX14" fmla="*/ 52459 w 54153"/>
                  <a:gd name="connsiteY14" fmla="*/ 45442 h 63253"/>
                  <a:gd name="connsiteX15" fmla="*/ 51602 w 54153"/>
                  <a:gd name="connsiteY15" fmla="*/ 63254 h 63253"/>
                  <a:gd name="connsiteX16" fmla="*/ 36839 w 54153"/>
                  <a:gd name="connsiteY16" fmla="*/ 62206 h 63253"/>
                  <a:gd name="connsiteX17" fmla="*/ 37029 w 54153"/>
                  <a:gd name="connsiteY17" fmla="*/ 53729 h 63253"/>
                  <a:gd name="connsiteX18" fmla="*/ 36648 w 54153"/>
                  <a:gd name="connsiteY18" fmla="*/ 53729 h 63253"/>
                  <a:gd name="connsiteX19" fmla="*/ 28456 w 54153"/>
                  <a:gd name="connsiteY19" fmla="*/ 60206 h 63253"/>
                  <a:gd name="connsiteX20" fmla="*/ 17217 w 54153"/>
                  <a:gd name="connsiteY20" fmla="*/ 61920 h 63253"/>
                  <a:gd name="connsiteX21" fmla="*/ 7597 w 54153"/>
                  <a:gd name="connsiteY21" fmla="*/ 59063 h 63253"/>
                  <a:gd name="connsiteX22" fmla="*/ 30171 w 54153"/>
                  <a:gd name="connsiteY22" fmla="*/ 48966 h 63253"/>
                  <a:gd name="connsiteX23" fmla="*/ 35219 w 54153"/>
                  <a:gd name="connsiteY23" fmla="*/ 44489 h 63253"/>
                  <a:gd name="connsiteX24" fmla="*/ 37315 w 54153"/>
                  <a:gd name="connsiteY24" fmla="*/ 38298 h 63253"/>
                  <a:gd name="connsiteX25" fmla="*/ 37505 w 54153"/>
                  <a:gd name="connsiteY25" fmla="*/ 35250 h 63253"/>
                  <a:gd name="connsiteX26" fmla="*/ 29409 w 54153"/>
                  <a:gd name="connsiteY26" fmla="*/ 34774 h 63253"/>
                  <a:gd name="connsiteX27" fmla="*/ 22646 w 54153"/>
                  <a:gd name="connsiteY27" fmla="*/ 35060 h 63253"/>
                  <a:gd name="connsiteX28" fmla="*/ 18265 w 54153"/>
                  <a:gd name="connsiteY28" fmla="*/ 37060 h 63253"/>
                  <a:gd name="connsiteX29" fmla="*/ 16264 w 54153"/>
                  <a:gd name="connsiteY29" fmla="*/ 42203 h 63253"/>
                  <a:gd name="connsiteX30" fmla="*/ 17884 w 54153"/>
                  <a:gd name="connsiteY30" fmla="*/ 47918 h 63253"/>
                  <a:gd name="connsiteX31" fmla="*/ 23027 w 54153"/>
                  <a:gd name="connsiteY31" fmla="*/ 50204 h 63253"/>
                  <a:gd name="connsiteX32" fmla="*/ 30076 w 54153"/>
                  <a:gd name="connsiteY32" fmla="*/ 48871 h 63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54153" h="63253">
                    <a:moveTo>
                      <a:pt x="7787" y="58967"/>
                    </a:moveTo>
                    <a:cubicBezTo>
                      <a:pt x="5120" y="57348"/>
                      <a:pt x="3025" y="55157"/>
                      <a:pt x="1691" y="52300"/>
                    </a:cubicBezTo>
                    <a:cubicBezTo>
                      <a:pt x="358" y="49442"/>
                      <a:pt x="-214" y="46108"/>
                      <a:pt x="72" y="42394"/>
                    </a:cubicBezTo>
                    <a:cubicBezTo>
                      <a:pt x="548" y="35726"/>
                      <a:pt x="3120" y="31059"/>
                      <a:pt x="7597" y="28297"/>
                    </a:cubicBezTo>
                    <a:cubicBezTo>
                      <a:pt x="12169" y="25630"/>
                      <a:pt x="18074" y="24391"/>
                      <a:pt x="25313" y="24868"/>
                    </a:cubicBezTo>
                    <a:lnTo>
                      <a:pt x="38267" y="25630"/>
                    </a:lnTo>
                    <a:lnTo>
                      <a:pt x="38458" y="22772"/>
                    </a:lnTo>
                    <a:cubicBezTo>
                      <a:pt x="38743" y="19058"/>
                      <a:pt x="38077" y="16486"/>
                      <a:pt x="36362" y="14866"/>
                    </a:cubicBezTo>
                    <a:cubicBezTo>
                      <a:pt x="34648" y="13247"/>
                      <a:pt x="32362" y="12390"/>
                      <a:pt x="29218" y="12104"/>
                    </a:cubicBezTo>
                    <a:cubicBezTo>
                      <a:pt x="23884" y="11723"/>
                      <a:pt x="18360" y="13724"/>
                      <a:pt x="12455" y="18200"/>
                    </a:cubicBezTo>
                    <a:lnTo>
                      <a:pt x="5787" y="7913"/>
                    </a:lnTo>
                    <a:cubicBezTo>
                      <a:pt x="13407" y="2008"/>
                      <a:pt x="21884" y="-564"/>
                      <a:pt x="30933" y="103"/>
                    </a:cubicBezTo>
                    <a:cubicBezTo>
                      <a:pt x="38743" y="674"/>
                      <a:pt x="44744" y="2960"/>
                      <a:pt x="48745" y="6961"/>
                    </a:cubicBezTo>
                    <a:cubicBezTo>
                      <a:pt x="52745" y="10962"/>
                      <a:pt x="54555" y="16486"/>
                      <a:pt x="54079" y="23439"/>
                    </a:cubicBezTo>
                    <a:lnTo>
                      <a:pt x="52459" y="45442"/>
                    </a:lnTo>
                    <a:cubicBezTo>
                      <a:pt x="51983" y="52014"/>
                      <a:pt x="51698" y="58015"/>
                      <a:pt x="51602" y="63254"/>
                    </a:cubicBezTo>
                    <a:lnTo>
                      <a:pt x="36839" y="62206"/>
                    </a:lnTo>
                    <a:cubicBezTo>
                      <a:pt x="36839" y="59539"/>
                      <a:pt x="36839" y="56681"/>
                      <a:pt x="37029" y="53729"/>
                    </a:cubicBezTo>
                    <a:lnTo>
                      <a:pt x="36648" y="53729"/>
                    </a:lnTo>
                    <a:cubicBezTo>
                      <a:pt x="34457" y="56681"/>
                      <a:pt x="31695" y="58777"/>
                      <a:pt x="28456" y="60206"/>
                    </a:cubicBezTo>
                    <a:cubicBezTo>
                      <a:pt x="25218" y="61634"/>
                      <a:pt x="21503" y="62206"/>
                      <a:pt x="17217" y="61920"/>
                    </a:cubicBezTo>
                    <a:cubicBezTo>
                      <a:pt x="13502" y="61634"/>
                      <a:pt x="10264" y="60682"/>
                      <a:pt x="7597" y="59063"/>
                    </a:cubicBezTo>
                    <a:close/>
                    <a:moveTo>
                      <a:pt x="30171" y="48966"/>
                    </a:moveTo>
                    <a:cubicBezTo>
                      <a:pt x="32266" y="47918"/>
                      <a:pt x="33981" y="46395"/>
                      <a:pt x="35219" y="44489"/>
                    </a:cubicBezTo>
                    <a:cubicBezTo>
                      <a:pt x="36457" y="42584"/>
                      <a:pt x="37219" y="40489"/>
                      <a:pt x="37315" y="38298"/>
                    </a:cubicBezTo>
                    <a:lnTo>
                      <a:pt x="37505" y="35250"/>
                    </a:lnTo>
                    <a:lnTo>
                      <a:pt x="29409" y="34774"/>
                    </a:lnTo>
                    <a:cubicBezTo>
                      <a:pt x="26647" y="34774"/>
                      <a:pt x="24361" y="34774"/>
                      <a:pt x="22646" y="35060"/>
                    </a:cubicBezTo>
                    <a:cubicBezTo>
                      <a:pt x="20932" y="35345"/>
                      <a:pt x="19503" y="36012"/>
                      <a:pt x="18265" y="37060"/>
                    </a:cubicBezTo>
                    <a:cubicBezTo>
                      <a:pt x="17122" y="38108"/>
                      <a:pt x="16455" y="39822"/>
                      <a:pt x="16264" y="42203"/>
                    </a:cubicBezTo>
                    <a:cubicBezTo>
                      <a:pt x="16074" y="44680"/>
                      <a:pt x="16645" y="46585"/>
                      <a:pt x="17884" y="47918"/>
                    </a:cubicBezTo>
                    <a:cubicBezTo>
                      <a:pt x="19122" y="49252"/>
                      <a:pt x="20836" y="50109"/>
                      <a:pt x="23027" y="50204"/>
                    </a:cubicBezTo>
                    <a:cubicBezTo>
                      <a:pt x="25599" y="50395"/>
                      <a:pt x="27885" y="49919"/>
                      <a:pt x="30076" y="48871"/>
                    </a:cubicBezTo>
                    <a:close/>
                  </a:path>
                </a:pathLst>
              </a:custGeom>
              <a:solidFill>
                <a:srgbClr val="231F20"/>
              </a:solidFill>
              <a:ln w="9525" cap="flat">
                <a:noFill/>
                <a:prstDash val="solid"/>
                <a:miter/>
              </a:ln>
            </p:spPr>
            <p:txBody>
              <a:bodyPr rtlCol="0" anchor="ctr"/>
              <a:lstStyle/>
              <a:p>
                <a:pPr marL="0" marR="0" lvl="0" indent="0" algn="l" defTabSz="913578" rtl="0" eaLnBrk="1" fontAlgn="auto" latinLnBrk="0" hangingPunct="1">
                  <a:lnSpc>
                    <a:spcPct val="100000"/>
                  </a:lnSpc>
                  <a:spcBef>
                    <a:spcPts val="0"/>
                  </a:spcBef>
                  <a:spcAft>
                    <a:spcPts val="0"/>
                  </a:spcAft>
                  <a:buClrTx/>
                  <a:buSzTx/>
                  <a:buFontTx/>
                  <a:buNone/>
                  <a:tabLst/>
                  <a:defRPr/>
                </a:pPr>
                <a:endParaRPr kumimoji="0" lang="en-US" sz="17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406" name="Freeform: Shape 231">
                <a:extLst>
                  <a:ext uri="{FF2B5EF4-FFF2-40B4-BE49-F238E27FC236}">
                    <a16:creationId xmlns:a16="http://schemas.microsoft.com/office/drawing/2014/main" id="{8B0CC6D4-8F71-AFFB-B5D7-7339B933B9D8}"/>
                  </a:ext>
                </a:extLst>
              </p:cNvPr>
              <p:cNvSpPr/>
              <p:nvPr/>
            </p:nvSpPr>
            <p:spPr>
              <a:xfrm>
                <a:off x="6202489" y="3926871"/>
                <a:ext cx="60160" cy="67627"/>
              </a:xfrm>
              <a:custGeom>
                <a:avLst/>
                <a:gdLst>
                  <a:gd name="connsiteX0" fmla="*/ 6858 w 60160"/>
                  <a:gd name="connsiteY0" fmla="*/ 13430 h 67627"/>
                  <a:gd name="connsiteX1" fmla="*/ 7811 w 60160"/>
                  <a:gd name="connsiteY1" fmla="*/ 5525 h 67627"/>
                  <a:gd name="connsiteX2" fmla="*/ 8287 w 60160"/>
                  <a:gd name="connsiteY2" fmla="*/ 0 h 67627"/>
                  <a:gd name="connsiteX3" fmla="*/ 23051 w 60160"/>
                  <a:gd name="connsiteY3" fmla="*/ 2096 h 67627"/>
                  <a:gd name="connsiteX4" fmla="*/ 22860 w 60160"/>
                  <a:gd name="connsiteY4" fmla="*/ 7049 h 67627"/>
                  <a:gd name="connsiteX5" fmla="*/ 22288 w 60160"/>
                  <a:gd name="connsiteY5" fmla="*/ 12954 h 67627"/>
                  <a:gd name="connsiteX6" fmla="*/ 22479 w 60160"/>
                  <a:gd name="connsiteY6" fmla="*/ 12954 h 67627"/>
                  <a:gd name="connsiteX7" fmla="*/ 31718 w 60160"/>
                  <a:gd name="connsiteY7" fmla="*/ 5048 h 67627"/>
                  <a:gd name="connsiteX8" fmla="*/ 43434 w 60160"/>
                  <a:gd name="connsiteY8" fmla="*/ 3715 h 67627"/>
                  <a:gd name="connsiteX9" fmla="*/ 57436 w 60160"/>
                  <a:gd name="connsiteY9" fmla="*/ 12192 h 67627"/>
                  <a:gd name="connsiteX10" fmla="*/ 59722 w 60160"/>
                  <a:gd name="connsiteY10" fmla="*/ 29718 h 67627"/>
                  <a:gd name="connsiteX11" fmla="*/ 54197 w 60160"/>
                  <a:gd name="connsiteY11" fmla="*/ 67628 h 67627"/>
                  <a:gd name="connsiteX12" fmla="*/ 38767 w 60160"/>
                  <a:gd name="connsiteY12" fmla="*/ 65342 h 67627"/>
                  <a:gd name="connsiteX13" fmla="*/ 43625 w 60160"/>
                  <a:gd name="connsiteY13" fmla="*/ 31909 h 67627"/>
                  <a:gd name="connsiteX14" fmla="*/ 42863 w 60160"/>
                  <a:gd name="connsiteY14" fmla="*/ 21146 h 67627"/>
                  <a:gd name="connsiteX15" fmla="*/ 35624 w 60160"/>
                  <a:gd name="connsiteY15" fmla="*/ 16288 h 67627"/>
                  <a:gd name="connsiteX16" fmla="*/ 28575 w 60160"/>
                  <a:gd name="connsiteY16" fmla="*/ 17240 h 67627"/>
                  <a:gd name="connsiteX17" fmla="*/ 23051 w 60160"/>
                  <a:gd name="connsiteY17" fmla="*/ 22098 h 67627"/>
                  <a:gd name="connsiteX18" fmla="*/ 20193 w 60160"/>
                  <a:gd name="connsiteY18" fmla="*/ 29909 h 67627"/>
                  <a:gd name="connsiteX19" fmla="*/ 15526 w 60160"/>
                  <a:gd name="connsiteY19" fmla="*/ 61913 h 67627"/>
                  <a:gd name="connsiteX20" fmla="*/ 0 w 60160"/>
                  <a:gd name="connsiteY20" fmla="*/ 59627 h 67627"/>
                  <a:gd name="connsiteX21" fmla="*/ 6763 w 60160"/>
                  <a:gd name="connsiteY21" fmla="*/ 13240 h 6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60160" h="67627">
                    <a:moveTo>
                      <a:pt x="6858" y="13430"/>
                    </a:moveTo>
                    <a:cubicBezTo>
                      <a:pt x="7239" y="10859"/>
                      <a:pt x="7525" y="8287"/>
                      <a:pt x="7811" y="5525"/>
                    </a:cubicBezTo>
                    <a:cubicBezTo>
                      <a:pt x="8096" y="2858"/>
                      <a:pt x="8287" y="953"/>
                      <a:pt x="8287" y="0"/>
                    </a:cubicBezTo>
                    <a:lnTo>
                      <a:pt x="23051" y="2096"/>
                    </a:lnTo>
                    <a:cubicBezTo>
                      <a:pt x="23051" y="2953"/>
                      <a:pt x="23051" y="4572"/>
                      <a:pt x="22860" y="7049"/>
                    </a:cubicBezTo>
                    <a:cubicBezTo>
                      <a:pt x="22670" y="9525"/>
                      <a:pt x="22479" y="11430"/>
                      <a:pt x="22288" y="12954"/>
                    </a:cubicBezTo>
                    <a:lnTo>
                      <a:pt x="22479" y="12954"/>
                    </a:lnTo>
                    <a:cubicBezTo>
                      <a:pt x="25146" y="9239"/>
                      <a:pt x="28289" y="6572"/>
                      <a:pt x="31718" y="5048"/>
                    </a:cubicBezTo>
                    <a:cubicBezTo>
                      <a:pt x="35147" y="3524"/>
                      <a:pt x="39053" y="3143"/>
                      <a:pt x="43434" y="3715"/>
                    </a:cubicBezTo>
                    <a:cubicBezTo>
                      <a:pt x="50292" y="4667"/>
                      <a:pt x="54959" y="7525"/>
                      <a:pt x="57436" y="12192"/>
                    </a:cubicBezTo>
                    <a:cubicBezTo>
                      <a:pt x="59912" y="16859"/>
                      <a:pt x="60770" y="22670"/>
                      <a:pt x="59722" y="29718"/>
                    </a:cubicBezTo>
                    <a:lnTo>
                      <a:pt x="54197" y="67628"/>
                    </a:lnTo>
                    <a:lnTo>
                      <a:pt x="38767" y="65342"/>
                    </a:lnTo>
                    <a:lnTo>
                      <a:pt x="43625" y="31909"/>
                    </a:lnTo>
                    <a:cubicBezTo>
                      <a:pt x="44291" y="27432"/>
                      <a:pt x="44005" y="23813"/>
                      <a:pt x="42863" y="21146"/>
                    </a:cubicBezTo>
                    <a:cubicBezTo>
                      <a:pt x="41720" y="18479"/>
                      <a:pt x="39243" y="16859"/>
                      <a:pt x="35624" y="16288"/>
                    </a:cubicBezTo>
                    <a:cubicBezTo>
                      <a:pt x="33147" y="15907"/>
                      <a:pt x="30766" y="16288"/>
                      <a:pt x="28575" y="17240"/>
                    </a:cubicBezTo>
                    <a:cubicBezTo>
                      <a:pt x="26384" y="18288"/>
                      <a:pt x="24575" y="19907"/>
                      <a:pt x="23051" y="22098"/>
                    </a:cubicBezTo>
                    <a:cubicBezTo>
                      <a:pt x="21527" y="24289"/>
                      <a:pt x="20574" y="26956"/>
                      <a:pt x="20193" y="29909"/>
                    </a:cubicBezTo>
                    <a:lnTo>
                      <a:pt x="15526" y="61913"/>
                    </a:lnTo>
                    <a:lnTo>
                      <a:pt x="0" y="59627"/>
                    </a:lnTo>
                    <a:lnTo>
                      <a:pt x="6763" y="13240"/>
                    </a:lnTo>
                    <a:close/>
                  </a:path>
                </a:pathLst>
              </a:custGeom>
              <a:solidFill>
                <a:srgbClr val="231F20"/>
              </a:solidFill>
              <a:ln w="9525" cap="flat">
                <a:noFill/>
                <a:prstDash val="solid"/>
                <a:miter/>
              </a:ln>
            </p:spPr>
            <p:txBody>
              <a:bodyPr rtlCol="0" anchor="ctr"/>
              <a:lstStyle/>
              <a:p>
                <a:pPr marL="0" marR="0" lvl="0" indent="0" algn="l" defTabSz="913578" rtl="0" eaLnBrk="1" fontAlgn="auto" latinLnBrk="0" hangingPunct="1">
                  <a:lnSpc>
                    <a:spcPct val="100000"/>
                  </a:lnSpc>
                  <a:spcBef>
                    <a:spcPts val="0"/>
                  </a:spcBef>
                  <a:spcAft>
                    <a:spcPts val="0"/>
                  </a:spcAft>
                  <a:buClrTx/>
                  <a:buSzTx/>
                  <a:buFontTx/>
                  <a:buNone/>
                  <a:tabLst/>
                  <a:defRPr/>
                </a:pPr>
                <a:endParaRPr kumimoji="0" lang="en-US" sz="17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407" name="Freeform: Shape 232">
                <a:extLst>
                  <a:ext uri="{FF2B5EF4-FFF2-40B4-BE49-F238E27FC236}">
                    <a16:creationId xmlns:a16="http://schemas.microsoft.com/office/drawing/2014/main" id="{E832AF8A-8BF4-24AA-6BC0-14CADB163B2C}"/>
                  </a:ext>
                </a:extLst>
              </p:cNvPr>
              <p:cNvSpPr/>
              <p:nvPr/>
            </p:nvSpPr>
            <p:spPr>
              <a:xfrm>
                <a:off x="6272296" y="3924395"/>
                <a:ext cx="68876" cy="84296"/>
              </a:xfrm>
              <a:custGeom>
                <a:avLst/>
                <a:gdLst>
                  <a:gd name="connsiteX0" fmla="*/ 5917 w 68876"/>
                  <a:gd name="connsiteY0" fmla="*/ 71438 h 84296"/>
                  <a:gd name="connsiteX1" fmla="*/ 392 w 68876"/>
                  <a:gd name="connsiteY1" fmla="*/ 58864 h 84296"/>
                  <a:gd name="connsiteX2" fmla="*/ 1250 w 68876"/>
                  <a:gd name="connsiteY2" fmla="*/ 42386 h 84296"/>
                  <a:gd name="connsiteX3" fmla="*/ 7536 w 68876"/>
                  <a:gd name="connsiteY3" fmla="*/ 27146 h 84296"/>
                  <a:gd name="connsiteX4" fmla="*/ 18204 w 68876"/>
                  <a:gd name="connsiteY4" fmla="*/ 18193 h 84296"/>
                  <a:gd name="connsiteX5" fmla="*/ 32396 w 68876"/>
                  <a:gd name="connsiteY5" fmla="*/ 17240 h 84296"/>
                  <a:gd name="connsiteX6" fmla="*/ 41636 w 68876"/>
                  <a:gd name="connsiteY6" fmla="*/ 21717 h 84296"/>
                  <a:gd name="connsiteX7" fmla="*/ 46970 w 68876"/>
                  <a:gd name="connsiteY7" fmla="*/ 30194 h 84296"/>
                  <a:gd name="connsiteX8" fmla="*/ 47065 w 68876"/>
                  <a:gd name="connsiteY8" fmla="*/ 30194 h 84296"/>
                  <a:gd name="connsiteX9" fmla="*/ 47541 w 68876"/>
                  <a:gd name="connsiteY9" fmla="*/ 27622 h 84296"/>
                  <a:gd name="connsiteX10" fmla="*/ 48875 w 68876"/>
                  <a:gd name="connsiteY10" fmla="*/ 21526 h 84296"/>
                  <a:gd name="connsiteX11" fmla="*/ 53637 w 68876"/>
                  <a:gd name="connsiteY11" fmla="*/ 0 h 84296"/>
                  <a:gd name="connsiteX12" fmla="*/ 68877 w 68876"/>
                  <a:gd name="connsiteY12" fmla="*/ 3429 h 84296"/>
                  <a:gd name="connsiteX13" fmla="*/ 53732 w 68876"/>
                  <a:gd name="connsiteY13" fmla="*/ 71438 h 84296"/>
                  <a:gd name="connsiteX14" fmla="*/ 52304 w 68876"/>
                  <a:gd name="connsiteY14" fmla="*/ 78486 h 84296"/>
                  <a:gd name="connsiteX15" fmla="*/ 51637 w 68876"/>
                  <a:gd name="connsiteY15" fmla="*/ 82487 h 84296"/>
                  <a:gd name="connsiteX16" fmla="*/ 51351 w 68876"/>
                  <a:gd name="connsiteY16" fmla="*/ 84296 h 84296"/>
                  <a:gd name="connsiteX17" fmla="*/ 36492 w 68876"/>
                  <a:gd name="connsiteY17" fmla="*/ 80963 h 84296"/>
                  <a:gd name="connsiteX18" fmla="*/ 36778 w 68876"/>
                  <a:gd name="connsiteY18" fmla="*/ 77248 h 84296"/>
                  <a:gd name="connsiteX19" fmla="*/ 37635 w 68876"/>
                  <a:gd name="connsiteY19" fmla="*/ 72295 h 84296"/>
                  <a:gd name="connsiteX20" fmla="*/ 37445 w 68876"/>
                  <a:gd name="connsiteY20" fmla="*/ 72295 h 84296"/>
                  <a:gd name="connsiteX21" fmla="*/ 28777 w 68876"/>
                  <a:gd name="connsiteY21" fmla="*/ 77914 h 84296"/>
                  <a:gd name="connsiteX22" fmla="*/ 17728 w 68876"/>
                  <a:gd name="connsiteY22" fmla="*/ 77914 h 84296"/>
                  <a:gd name="connsiteX23" fmla="*/ 5822 w 68876"/>
                  <a:gd name="connsiteY23" fmla="*/ 71152 h 84296"/>
                  <a:gd name="connsiteX24" fmla="*/ 32111 w 68876"/>
                  <a:gd name="connsiteY24" fmla="*/ 66675 h 84296"/>
                  <a:gd name="connsiteX25" fmla="*/ 38397 w 68876"/>
                  <a:gd name="connsiteY25" fmla="*/ 61817 h 84296"/>
                  <a:gd name="connsiteX26" fmla="*/ 42779 w 68876"/>
                  <a:gd name="connsiteY26" fmla="*/ 51245 h 84296"/>
                  <a:gd name="connsiteX27" fmla="*/ 42112 w 68876"/>
                  <a:gd name="connsiteY27" fmla="*/ 36385 h 84296"/>
                  <a:gd name="connsiteX28" fmla="*/ 33730 w 68876"/>
                  <a:gd name="connsiteY28" fmla="*/ 30099 h 84296"/>
                  <a:gd name="connsiteX29" fmla="*/ 23824 w 68876"/>
                  <a:gd name="connsiteY29" fmla="*/ 32671 h 84296"/>
                  <a:gd name="connsiteX30" fmla="*/ 17347 w 68876"/>
                  <a:gd name="connsiteY30" fmla="*/ 45910 h 84296"/>
                  <a:gd name="connsiteX31" fmla="*/ 17537 w 68876"/>
                  <a:gd name="connsiteY31" fmla="*/ 60293 h 84296"/>
                  <a:gd name="connsiteX32" fmla="*/ 25348 w 68876"/>
                  <a:gd name="connsiteY32" fmla="*/ 67056 h 84296"/>
                  <a:gd name="connsiteX33" fmla="*/ 32111 w 68876"/>
                  <a:gd name="connsiteY33" fmla="*/ 66675 h 84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68876" h="84296">
                    <a:moveTo>
                      <a:pt x="5917" y="71438"/>
                    </a:moveTo>
                    <a:cubicBezTo>
                      <a:pt x="2964" y="68104"/>
                      <a:pt x="1154" y="63913"/>
                      <a:pt x="392" y="58864"/>
                    </a:cubicBezTo>
                    <a:cubicBezTo>
                      <a:pt x="-370" y="53816"/>
                      <a:pt x="11" y="48387"/>
                      <a:pt x="1250" y="42386"/>
                    </a:cubicBezTo>
                    <a:cubicBezTo>
                      <a:pt x="2583" y="36385"/>
                      <a:pt x="4679" y="31337"/>
                      <a:pt x="7536" y="27146"/>
                    </a:cubicBezTo>
                    <a:cubicBezTo>
                      <a:pt x="10394" y="22955"/>
                      <a:pt x="14013" y="20002"/>
                      <a:pt x="18204" y="18193"/>
                    </a:cubicBezTo>
                    <a:cubicBezTo>
                      <a:pt x="22490" y="16383"/>
                      <a:pt x="27157" y="16097"/>
                      <a:pt x="32396" y="17240"/>
                    </a:cubicBezTo>
                    <a:cubicBezTo>
                      <a:pt x="35921" y="18002"/>
                      <a:pt x="38969" y="19526"/>
                      <a:pt x="41636" y="21717"/>
                    </a:cubicBezTo>
                    <a:cubicBezTo>
                      <a:pt x="44303" y="23908"/>
                      <a:pt x="46112" y="26765"/>
                      <a:pt x="46970" y="30194"/>
                    </a:cubicBezTo>
                    <a:lnTo>
                      <a:pt x="47065" y="30194"/>
                    </a:lnTo>
                    <a:cubicBezTo>
                      <a:pt x="47255" y="29242"/>
                      <a:pt x="47446" y="28384"/>
                      <a:pt x="47541" y="27622"/>
                    </a:cubicBezTo>
                    <a:lnTo>
                      <a:pt x="48875" y="21526"/>
                    </a:lnTo>
                    <a:lnTo>
                      <a:pt x="53637" y="0"/>
                    </a:lnTo>
                    <a:lnTo>
                      <a:pt x="68877" y="3429"/>
                    </a:lnTo>
                    <a:lnTo>
                      <a:pt x="53732" y="71438"/>
                    </a:lnTo>
                    <a:cubicBezTo>
                      <a:pt x="53161" y="73914"/>
                      <a:pt x="52685" y="76295"/>
                      <a:pt x="52304" y="78486"/>
                    </a:cubicBezTo>
                    <a:cubicBezTo>
                      <a:pt x="51922" y="80677"/>
                      <a:pt x="51637" y="82010"/>
                      <a:pt x="51637" y="82487"/>
                    </a:cubicBezTo>
                    <a:cubicBezTo>
                      <a:pt x="51542" y="83439"/>
                      <a:pt x="51446" y="84010"/>
                      <a:pt x="51351" y="84296"/>
                    </a:cubicBezTo>
                    <a:lnTo>
                      <a:pt x="36492" y="80963"/>
                    </a:lnTo>
                    <a:cubicBezTo>
                      <a:pt x="36492" y="80391"/>
                      <a:pt x="36492" y="79153"/>
                      <a:pt x="36778" y="77248"/>
                    </a:cubicBezTo>
                    <a:cubicBezTo>
                      <a:pt x="37063" y="75343"/>
                      <a:pt x="37349" y="73628"/>
                      <a:pt x="37635" y="72295"/>
                    </a:cubicBezTo>
                    <a:lnTo>
                      <a:pt x="37445" y="72295"/>
                    </a:lnTo>
                    <a:cubicBezTo>
                      <a:pt x="35063" y="75152"/>
                      <a:pt x="32111" y="77057"/>
                      <a:pt x="28777" y="77914"/>
                    </a:cubicBezTo>
                    <a:cubicBezTo>
                      <a:pt x="25348" y="78772"/>
                      <a:pt x="21728" y="78772"/>
                      <a:pt x="17728" y="77914"/>
                    </a:cubicBezTo>
                    <a:cubicBezTo>
                      <a:pt x="12680" y="76771"/>
                      <a:pt x="8774" y="74581"/>
                      <a:pt x="5822" y="71152"/>
                    </a:cubicBezTo>
                    <a:close/>
                    <a:moveTo>
                      <a:pt x="32111" y="66675"/>
                    </a:moveTo>
                    <a:cubicBezTo>
                      <a:pt x="34397" y="65913"/>
                      <a:pt x="36492" y="64294"/>
                      <a:pt x="38397" y="61817"/>
                    </a:cubicBezTo>
                    <a:cubicBezTo>
                      <a:pt x="40302" y="59341"/>
                      <a:pt x="41731" y="55816"/>
                      <a:pt x="42779" y="51245"/>
                    </a:cubicBezTo>
                    <a:cubicBezTo>
                      <a:pt x="44207" y="44672"/>
                      <a:pt x="44017" y="39719"/>
                      <a:pt x="42112" y="36385"/>
                    </a:cubicBezTo>
                    <a:cubicBezTo>
                      <a:pt x="40207" y="33052"/>
                      <a:pt x="37445" y="30956"/>
                      <a:pt x="33730" y="30099"/>
                    </a:cubicBezTo>
                    <a:cubicBezTo>
                      <a:pt x="30015" y="29242"/>
                      <a:pt x="26681" y="30099"/>
                      <a:pt x="23824" y="32671"/>
                    </a:cubicBezTo>
                    <a:cubicBezTo>
                      <a:pt x="20871" y="35242"/>
                      <a:pt x="18776" y="39624"/>
                      <a:pt x="17347" y="45910"/>
                    </a:cubicBezTo>
                    <a:cubicBezTo>
                      <a:pt x="16013" y="51911"/>
                      <a:pt x="16109" y="56674"/>
                      <a:pt x="17537" y="60293"/>
                    </a:cubicBezTo>
                    <a:cubicBezTo>
                      <a:pt x="18966" y="63913"/>
                      <a:pt x="21633" y="66199"/>
                      <a:pt x="25348" y="67056"/>
                    </a:cubicBezTo>
                    <a:cubicBezTo>
                      <a:pt x="27634" y="67532"/>
                      <a:pt x="29825" y="67437"/>
                      <a:pt x="32111" y="66675"/>
                    </a:cubicBezTo>
                    <a:close/>
                  </a:path>
                </a:pathLst>
              </a:custGeom>
              <a:solidFill>
                <a:srgbClr val="231F20"/>
              </a:solidFill>
              <a:ln w="9525" cap="flat">
                <a:noFill/>
                <a:prstDash val="solid"/>
                <a:miter/>
              </a:ln>
            </p:spPr>
            <p:txBody>
              <a:bodyPr rtlCol="0" anchor="ctr"/>
              <a:lstStyle/>
              <a:p>
                <a:pPr marL="0" marR="0" lvl="0" indent="0" algn="l" defTabSz="913578" rtl="0" eaLnBrk="1" fontAlgn="auto" latinLnBrk="0" hangingPunct="1">
                  <a:lnSpc>
                    <a:spcPct val="100000"/>
                  </a:lnSpc>
                  <a:spcBef>
                    <a:spcPts val="0"/>
                  </a:spcBef>
                  <a:spcAft>
                    <a:spcPts val="0"/>
                  </a:spcAft>
                  <a:buClrTx/>
                  <a:buSzTx/>
                  <a:buFontTx/>
                  <a:buNone/>
                  <a:tabLst/>
                  <a:defRPr/>
                </a:pPr>
                <a:endParaRPr kumimoji="0" lang="en-US" sz="17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408" name="Freeform: Shape 233">
                <a:extLst>
                  <a:ext uri="{FF2B5EF4-FFF2-40B4-BE49-F238E27FC236}">
                    <a16:creationId xmlns:a16="http://schemas.microsoft.com/office/drawing/2014/main" id="{3379C076-0447-7141-57C8-156C6A1BD70D}"/>
                  </a:ext>
                </a:extLst>
              </p:cNvPr>
              <p:cNvSpPr/>
              <p:nvPr/>
            </p:nvSpPr>
            <p:spPr>
              <a:xfrm>
                <a:off x="6365081" y="3967860"/>
                <a:ext cx="60769" cy="63464"/>
              </a:xfrm>
              <a:custGeom>
                <a:avLst/>
                <a:gdLst>
                  <a:gd name="connsiteX0" fmla="*/ 8954 w 60769"/>
                  <a:gd name="connsiteY0" fmla="*/ 54833 h 63464"/>
                  <a:gd name="connsiteX1" fmla="*/ 0 w 60769"/>
                  <a:gd name="connsiteY1" fmla="*/ 44927 h 63464"/>
                  <a:gd name="connsiteX2" fmla="*/ 10096 w 60769"/>
                  <a:gd name="connsiteY2" fmla="*/ 36926 h 63464"/>
                  <a:gd name="connsiteX3" fmla="*/ 17145 w 60769"/>
                  <a:gd name="connsiteY3" fmla="*/ 45308 h 63464"/>
                  <a:gd name="connsiteX4" fmla="*/ 25241 w 60769"/>
                  <a:gd name="connsiteY4" fmla="*/ 50071 h 63464"/>
                  <a:gd name="connsiteX5" fmla="*/ 32956 w 60769"/>
                  <a:gd name="connsiteY5" fmla="*/ 51309 h 63464"/>
                  <a:gd name="connsiteX6" fmla="*/ 36957 w 60769"/>
                  <a:gd name="connsiteY6" fmla="*/ 47975 h 63464"/>
                  <a:gd name="connsiteX7" fmla="*/ 36766 w 60769"/>
                  <a:gd name="connsiteY7" fmla="*/ 43975 h 63464"/>
                  <a:gd name="connsiteX8" fmla="*/ 33909 w 60769"/>
                  <a:gd name="connsiteY8" fmla="*/ 40736 h 63464"/>
                  <a:gd name="connsiteX9" fmla="*/ 28385 w 60769"/>
                  <a:gd name="connsiteY9" fmla="*/ 37117 h 63464"/>
                  <a:gd name="connsiteX10" fmla="*/ 25813 w 60769"/>
                  <a:gd name="connsiteY10" fmla="*/ 35497 h 63464"/>
                  <a:gd name="connsiteX11" fmla="*/ 17336 w 60769"/>
                  <a:gd name="connsiteY11" fmla="*/ 29020 h 63464"/>
                  <a:gd name="connsiteX12" fmla="*/ 12859 w 60769"/>
                  <a:gd name="connsiteY12" fmla="*/ 21686 h 63464"/>
                  <a:gd name="connsiteX13" fmla="*/ 13430 w 60769"/>
                  <a:gd name="connsiteY13" fmla="*/ 11875 h 63464"/>
                  <a:gd name="connsiteX14" fmla="*/ 19145 w 60769"/>
                  <a:gd name="connsiteY14" fmla="*/ 3493 h 63464"/>
                  <a:gd name="connsiteX15" fmla="*/ 28765 w 60769"/>
                  <a:gd name="connsiteY15" fmla="*/ 64 h 63464"/>
                  <a:gd name="connsiteX16" fmla="*/ 41624 w 60769"/>
                  <a:gd name="connsiteY16" fmla="*/ 2065 h 63464"/>
                  <a:gd name="connsiteX17" fmla="*/ 53245 w 60769"/>
                  <a:gd name="connsiteY17" fmla="*/ 8256 h 63464"/>
                  <a:gd name="connsiteX18" fmla="*/ 60770 w 60769"/>
                  <a:gd name="connsiteY18" fmla="*/ 17686 h 63464"/>
                  <a:gd name="connsiteX19" fmla="*/ 50197 w 60769"/>
                  <a:gd name="connsiteY19" fmla="*/ 23877 h 63464"/>
                  <a:gd name="connsiteX20" fmla="*/ 38005 w 60769"/>
                  <a:gd name="connsiteY20" fmla="*/ 13114 h 63464"/>
                  <a:gd name="connsiteX21" fmla="*/ 27527 w 60769"/>
                  <a:gd name="connsiteY21" fmla="*/ 15209 h 63464"/>
                  <a:gd name="connsiteX22" fmla="*/ 27622 w 60769"/>
                  <a:gd name="connsiteY22" fmla="*/ 18733 h 63464"/>
                  <a:gd name="connsiteX23" fmla="*/ 30004 w 60769"/>
                  <a:gd name="connsiteY23" fmla="*/ 21496 h 63464"/>
                  <a:gd name="connsiteX24" fmla="*/ 34862 w 60769"/>
                  <a:gd name="connsiteY24" fmla="*/ 24734 h 63464"/>
                  <a:gd name="connsiteX25" fmla="*/ 37338 w 60769"/>
                  <a:gd name="connsiteY25" fmla="*/ 26258 h 63464"/>
                  <a:gd name="connsiteX26" fmla="*/ 46673 w 60769"/>
                  <a:gd name="connsiteY26" fmla="*/ 33211 h 63464"/>
                  <a:gd name="connsiteX27" fmla="*/ 51625 w 60769"/>
                  <a:gd name="connsiteY27" fmla="*/ 40927 h 63464"/>
                  <a:gd name="connsiteX28" fmla="*/ 51054 w 60769"/>
                  <a:gd name="connsiteY28" fmla="*/ 51500 h 63464"/>
                  <a:gd name="connsiteX29" fmla="*/ 45148 w 60769"/>
                  <a:gd name="connsiteY29" fmla="*/ 59977 h 63464"/>
                  <a:gd name="connsiteX30" fmla="*/ 34957 w 60769"/>
                  <a:gd name="connsiteY30" fmla="*/ 63406 h 63464"/>
                  <a:gd name="connsiteX31" fmla="*/ 21527 w 60769"/>
                  <a:gd name="connsiteY31" fmla="*/ 61310 h 63464"/>
                  <a:gd name="connsiteX32" fmla="*/ 8954 w 60769"/>
                  <a:gd name="connsiteY32" fmla="*/ 54928 h 634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0769" h="63464">
                    <a:moveTo>
                      <a:pt x="8954" y="54833"/>
                    </a:moveTo>
                    <a:cubicBezTo>
                      <a:pt x="5524" y="52261"/>
                      <a:pt x="2572" y="48928"/>
                      <a:pt x="0" y="44927"/>
                    </a:cubicBezTo>
                    <a:lnTo>
                      <a:pt x="10096" y="36926"/>
                    </a:lnTo>
                    <a:cubicBezTo>
                      <a:pt x="12478" y="40450"/>
                      <a:pt x="14764" y="43213"/>
                      <a:pt x="17145" y="45308"/>
                    </a:cubicBezTo>
                    <a:cubicBezTo>
                      <a:pt x="19431" y="47404"/>
                      <a:pt x="22193" y="49023"/>
                      <a:pt x="25241" y="50071"/>
                    </a:cubicBezTo>
                    <a:cubicBezTo>
                      <a:pt x="28385" y="51118"/>
                      <a:pt x="30956" y="51500"/>
                      <a:pt x="32956" y="51309"/>
                    </a:cubicBezTo>
                    <a:cubicBezTo>
                      <a:pt x="34957" y="51118"/>
                      <a:pt x="36290" y="49975"/>
                      <a:pt x="36957" y="47975"/>
                    </a:cubicBezTo>
                    <a:cubicBezTo>
                      <a:pt x="37433" y="46451"/>
                      <a:pt x="37338" y="45118"/>
                      <a:pt x="36766" y="43975"/>
                    </a:cubicBezTo>
                    <a:cubicBezTo>
                      <a:pt x="36100" y="42832"/>
                      <a:pt x="35147" y="41689"/>
                      <a:pt x="33909" y="40736"/>
                    </a:cubicBezTo>
                    <a:cubicBezTo>
                      <a:pt x="32671" y="39784"/>
                      <a:pt x="30766" y="38545"/>
                      <a:pt x="28385" y="37117"/>
                    </a:cubicBezTo>
                    <a:lnTo>
                      <a:pt x="25813" y="35497"/>
                    </a:lnTo>
                    <a:cubicBezTo>
                      <a:pt x="22288" y="33211"/>
                      <a:pt x="19431" y="31021"/>
                      <a:pt x="17336" y="29020"/>
                    </a:cubicBezTo>
                    <a:cubicBezTo>
                      <a:pt x="15145" y="26925"/>
                      <a:pt x="13716" y="24449"/>
                      <a:pt x="12859" y="21686"/>
                    </a:cubicBezTo>
                    <a:cubicBezTo>
                      <a:pt x="12002" y="18829"/>
                      <a:pt x="12192" y="15590"/>
                      <a:pt x="13430" y="11875"/>
                    </a:cubicBezTo>
                    <a:cubicBezTo>
                      <a:pt x="14669" y="8256"/>
                      <a:pt x="16573" y="5494"/>
                      <a:pt x="19145" y="3493"/>
                    </a:cubicBezTo>
                    <a:cubicBezTo>
                      <a:pt x="21717" y="1493"/>
                      <a:pt x="24955" y="350"/>
                      <a:pt x="28765" y="64"/>
                    </a:cubicBezTo>
                    <a:cubicBezTo>
                      <a:pt x="32576" y="-221"/>
                      <a:pt x="36862" y="445"/>
                      <a:pt x="41624" y="2065"/>
                    </a:cubicBezTo>
                    <a:cubicBezTo>
                      <a:pt x="46101" y="3589"/>
                      <a:pt x="50006" y="5684"/>
                      <a:pt x="53245" y="8256"/>
                    </a:cubicBezTo>
                    <a:cubicBezTo>
                      <a:pt x="56483" y="10923"/>
                      <a:pt x="58960" y="13971"/>
                      <a:pt x="60770" y="17686"/>
                    </a:cubicBezTo>
                    <a:lnTo>
                      <a:pt x="50197" y="23877"/>
                    </a:lnTo>
                    <a:cubicBezTo>
                      <a:pt x="47434" y="18543"/>
                      <a:pt x="43434" y="14924"/>
                      <a:pt x="38005" y="13114"/>
                    </a:cubicBezTo>
                    <a:cubicBezTo>
                      <a:pt x="32195" y="11113"/>
                      <a:pt x="28670" y="11875"/>
                      <a:pt x="27527" y="15209"/>
                    </a:cubicBezTo>
                    <a:cubicBezTo>
                      <a:pt x="27051" y="16543"/>
                      <a:pt x="27146" y="17686"/>
                      <a:pt x="27622" y="18733"/>
                    </a:cubicBezTo>
                    <a:cubicBezTo>
                      <a:pt x="28099" y="19781"/>
                      <a:pt x="28956" y="20638"/>
                      <a:pt x="30004" y="21496"/>
                    </a:cubicBezTo>
                    <a:cubicBezTo>
                      <a:pt x="31052" y="22353"/>
                      <a:pt x="32766" y="23401"/>
                      <a:pt x="34862" y="24734"/>
                    </a:cubicBezTo>
                    <a:lnTo>
                      <a:pt x="37338" y="26258"/>
                    </a:lnTo>
                    <a:cubicBezTo>
                      <a:pt x="41243" y="28735"/>
                      <a:pt x="44291" y="31021"/>
                      <a:pt x="46673" y="33211"/>
                    </a:cubicBezTo>
                    <a:cubicBezTo>
                      <a:pt x="48959" y="35307"/>
                      <a:pt x="50673" y="37879"/>
                      <a:pt x="51625" y="40927"/>
                    </a:cubicBezTo>
                    <a:cubicBezTo>
                      <a:pt x="52578" y="43975"/>
                      <a:pt x="52388" y="47499"/>
                      <a:pt x="51054" y="51500"/>
                    </a:cubicBezTo>
                    <a:cubicBezTo>
                      <a:pt x="49816" y="55119"/>
                      <a:pt x="47816" y="57976"/>
                      <a:pt x="45148" y="59977"/>
                    </a:cubicBezTo>
                    <a:cubicBezTo>
                      <a:pt x="42386" y="61977"/>
                      <a:pt x="39052" y="63120"/>
                      <a:pt x="34957" y="63406"/>
                    </a:cubicBezTo>
                    <a:cubicBezTo>
                      <a:pt x="30861" y="63692"/>
                      <a:pt x="26479" y="62929"/>
                      <a:pt x="21527" y="61310"/>
                    </a:cubicBezTo>
                    <a:cubicBezTo>
                      <a:pt x="16573" y="59691"/>
                      <a:pt x="12382" y="57500"/>
                      <a:pt x="8954" y="54928"/>
                    </a:cubicBezTo>
                    <a:close/>
                  </a:path>
                </a:pathLst>
              </a:custGeom>
              <a:solidFill>
                <a:srgbClr val="231F20"/>
              </a:solidFill>
              <a:ln w="9525" cap="flat">
                <a:noFill/>
                <a:prstDash val="solid"/>
                <a:miter/>
              </a:ln>
            </p:spPr>
            <p:txBody>
              <a:bodyPr rtlCol="0" anchor="ctr"/>
              <a:lstStyle/>
              <a:p>
                <a:pPr marL="0" marR="0" lvl="0" indent="0" algn="l" defTabSz="913578" rtl="0" eaLnBrk="1" fontAlgn="auto" latinLnBrk="0" hangingPunct="1">
                  <a:lnSpc>
                    <a:spcPct val="100000"/>
                  </a:lnSpc>
                  <a:spcBef>
                    <a:spcPts val="0"/>
                  </a:spcBef>
                  <a:spcAft>
                    <a:spcPts val="0"/>
                  </a:spcAft>
                  <a:buClrTx/>
                  <a:buSzTx/>
                  <a:buFontTx/>
                  <a:buNone/>
                  <a:tabLst/>
                  <a:defRPr/>
                </a:pPr>
                <a:endParaRPr kumimoji="0" lang="en-US" sz="17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409" name="Freeform: Shape 234">
                <a:extLst>
                  <a:ext uri="{FF2B5EF4-FFF2-40B4-BE49-F238E27FC236}">
                    <a16:creationId xmlns:a16="http://schemas.microsoft.com/office/drawing/2014/main" id="{ED9B6EB3-76A1-89E6-C85D-4186A4C6685F}"/>
                  </a:ext>
                </a:extLst>
              </p:cNvPr>
              <p:cNvSpPr/>
              <p:nvPr/>
            </p:nvSpPr>
            <p:spPr>
              <a:xfrm>
                <a:off x="6425088" y="3983259"/>
                <a:ext cx="67817" cy="76771"/>
              </a:xfrm>
              <a:custGeom>
                <a:avLst/>
                <a:gdLst>
                  <a:gd name="connsiteX0" fmla="*/ 667 w 67817"/>
                  <a:gd name="connsiteY0" fmla="*/ 52864 h 76771"/>
                  <a:gd name="connsiteX1" fmla="*/ 2667 w 67817"/>
                  <a:gd name="connsiteY1" fmla="*/ 35433 h 76771"/>
                  <a:gd name="connsiteX2" fmla="*/ 17240 w 67817"/>
                  <a:gd name="connsiteY2" fmla="*/ 0 h 76771"/>
                  <a:gd name="connsiteX3" fmla="*/ 31718 w 67817"/>
                  <a:gd name="connsiteY3" fmla="*/ 6001 h 76771"/>
                  <a:gd name="connsiteX4" fmla="*/ 18860 w 67817"/>
                  <a:gd name="connsiteY4" fmla="*/ 37243 h 76771"/>
                  <a:gd name="connsiteX5" fmla="*/ 16955 w 67817"/>
                  <a:gd name="connsiteY5" fmla="*/ 47815 h 76771"/>
                  <a:gd name="connsiteX6" fmla="*/ 22860 w 67817"/>
                  <a:gd name="connsiteY6" fmla="*/ 54197 h 76771"/>
                  <a:gd name="connsiteX7" fmla="*/ 29909 w 67817"/>
                  <a:gd name="connsiteY7" fmla="*/ 54959 h 76771"/>
                  <a:gd name="connsiteX8" fmla="*/ 36386 w 67817"/>
                  <a:gd name="connsiteY8" fmla="*/ 51625 h 76771"/>
                  <a:gd name="connsiteX9" fmla="*/ 41053 w 67817"/>
                  <a:gd name="connsiteY9" fmla="*/ 44768 h 76771"/>
                  <a:gd name="connsiteX10" fmla="*/ 53340 w 67817"/>
                  <a:gd name="connsiteY10" fmla="*/ 14859 h 76771"/>
                  <a:gd name="connsiteX11" fmla="*/ 67818 w 67817"/>
                  <a:gd name="connsiteY11" fmla="*/ 20860 h 76771"/>
                  <a:gd name="connsiteX12" fmla="*/ 49911 w 67817"/>
                  <a:gd name="connsiteY12" fmla="*/ 64103 h 76771"/>
                  <a:gd name="connsiteX13" fmla="*/ 47054 w 67817"/>
                  <a:gd name="connsiteY13" fmla="*/ 71438 h 76771"/>
                  <a:gd name="connsiteX14" fmla="*/ 45244 w 67817"/>
                  <a:gd name="connsiteY14" fmla="*/ 76771 h 76771"/>
                  <a:gd name="connsiteX15" fmla="*/ 31432 w 67817"/>
                  <a:gd name="connsiteY15" fmla="*/ 71056 h 76771"/>
                  <a:gd name="connsiteX16" fmla="*/ 32957 w 67817"/>
                  <a:gd name="connsiteY16" fmla="*/ 66199 h 76771"/>
                  <a:gd name="connsiteX17" fmla="*/ 34957 w 67817"/>
                  <a:gd name="connsiteY17" fmla="*/ 60674 h 76771"/>
                  <a:gd name="connsiteX18" fmla="*/ 34671 w 67817"/>
                  <a:gd name="connsiteY18" fmla="*/ 60674 h 76771"/>
                  <a:gd name="connsiteX19" fmla="*/ 23908 w 67817"/>
                  <a:gd name="connsiteY19" fmla="*/ 65913 h 76771"/>
                  <a:gd name="connsiteX20" fmla="*/ 12192 w 67817"/>
                  <a:gd name="connsiteY20" fmla="*/ 64198 h 76771"/>
                  <a:gd name="connsiteX21" fmla="*/ 667 w 67817"/>
                  <a:gd name="connsiteY21" fmla="*/ 52673 h 767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67817" h="76771">
                    <a:moveTo>
                      <a:pt x="667" y="52864"/>
                    </a:moveTo>
                    <a:cubicBezTo>
                      <a:pt x="-667" y="47815"/>
                      <a:pt x="0" y="42005"/>
                      <a:pt x="2667" y="35433"/>
                    </a:cubicBezTo>
                    <a:lnTo>
                      <a:pt x="17240" y="0"/>
                    </a:lnTo>
                    <a:lnTo>
                      <a:pt x="31718" y="6001"/>
                    </a:lnTo>
                    <a:lnTo>
                      <a:pt x="18860" y="37243"/>
                    </a:lnTo>
                    <a:cubicBezTo>
                      <a:pt x="17145" y="41434"/>
                      <a:pt x="16479" y="44958"/>
                      <a:pt x="16955" y="47815"/>
                    </a:cubicBezTo>
                    <a:cubicBezTo>
                      <a:pt x="17431" y="50673"/>
                      <a:pt x="19336" y="52864"/>
                      <a:pt x="22860" y="54197"/>
                    </a:cubicBezTo>
                    <a:cubicBezTo>
                      <a:pt x="25146" y="55150"/>
                      <a:pt x="27527" y="55436"/>
                      <a:pt x="29909" y="54959"/>
                    </a:cubicBezTo>
                    <a:cubicBezTo>
                      <a:pt x="32290" y="54483"/>
                      <a:pt x="34385" y="53435"/>
                      <a:pt x="36386" y="51625"/>
                    </a:cubicBezTo>
                    <a:cubicBezTo>
                      <a:pt x="38386" y="49911"/>
                      <a:pt x="39910" y="47625"/>
                      <a:pt x="41053" y="44768"/>
                    </a:cubicBezTo>
                    <a:lnTo>
                      <a:pt x="53340" y="14859"/>
                    </a:lnTo>
                    <a:lnTo>
                      <a:pt x="67818" y="20860"/>
                    </a:lnTo>
                    <a:lnTo>
                      <a:pt x="49911" y="64103"/>
                    </a:lnTo>
                    <a:cubicBezTo>
                      <a:pt x="48959" y="66485"/>
                      <a:pt x="48006" y="68866"/>
                      <a:pt x="47054" y="71438"/>
                    </a:cubicBezTo>
                    <a:cubicBezTo>
                      <a:pt x="46101" y="74009"/>
                      <a:pt x="45434" y="75819"/>
                      <a:pt x="45244" y="76771"/>
                    </a:cubicBezTo>
                    <a:lnTo>
                      <a:pt x="31432" y="71056"/>
                    </a:lnTo>
                    <a:cubicBezTo>
                      <a:pt x="31718" y="70199"/>
                      <a:pt x="32195" y="68580"/>
                      <a:pt x="32957" y="66199"/>
                    </a:cubicBezTo>
                    <a:cubicBezTo>
                      <a:pt x="33719" y="63818"/>
                      <a:pt x="34385" y="62008"/>
                      <a:pt x="34957" y="60674"/>
                    </a:cubicBezTo>
                    <a:lnTo>
                      <a:pt x="34671" y="60674"/>
                    </a:lnTo>
                    <a:cubicBezTo>
                      <a:pt x="31242" y="63627"/>
                      <a:pt x="27623" y="65437"/>
                      <a:pt x="23908" y="65913"/>
                    </a:cubicBezTo>
                    <a:cubicBezTo>
                      <a:pt x="20193" y="66485"/>
                      <a:pt x="16288" y="65913"/>
                      <a:pt x="12192" y="64198"/>
                    </a:cubicBezTo>
                    <a:cubicBezTo>
                      <a:pt x="5810" y="61531"/>
                      <a:pt x="2000" y="57721"/>
                      <a:pt x="667" y="52673"/>
                    </a:cubicBezTo>
                    <a:close/>
                  </a:path>
                </a:pathLst>
              </a:custGeom>
              <a:solidFill>
                <a:srgbClr val="231F20"/>
              </a:solidFill>
              <a:ln w="9525" cap="flat">
                <a:noFill/>
                <a:prstDash val="solid"/>
                <a:miter/>
              </a:ln>
            </p:spPr>
            <p:txBody>
              <a:bodyPr rtlCol="0" anchor="ctr"/>
              <a:lstStyle/>
              <a:p>
                <a:pPr marL="0" marR="0" lvl="0" indent="0" algn="l" defTabSz="913578" rtl="0" eaLnBrk="1" fontAlgn="auto" latinLnBrk="0" hangingPunct="1">
                  <a:lnSpc>
                    <a:spcPct val="100000"/>
                  </a:lnSpc>
                  <a:spcBef>
                    <a:spcPts val="0"/>
                  </a:spcBef>
                  <a:spcAft>
                    <a:spcPts val="0"/>
                  </a:spcAft>
                  <a:buClrTx/>
                  <a:buSzTx/>
                  <a:buFontTx/>
                  <a:buNone/>
                  <a:tabLst/>
                  <a:defRPr/>
                </a:pPr>
                <a:endParaRPr kumimoji="0" lang="en-US" sz="17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410" name="Freeform: Shape 235">
                <a:extLst>
                  <a:ext uri="{FF2B5EF4-FFF2-40B4-BE49-F238E27FC236}">
                    <a16:creationId xmlns:a16="http://schemas.microsoft.com/office/drawing/2014/main" id="{E1DF1300-812A-5F82-847E-CF23463E2FBA}"/>
                  </a:ext>
                </a:extLst>
              </p:cNvPr>
              <p:cNvSpPr/>
              <p:nvPr/>
            </p:nvSpPr>
            <p:spPr>
              <a:xfrm>
                <a:off x="6481857" y="4016538"/>
                <a:ext cx="64103" cy="63654"/>
              </a:xfrm>
              <a:custGeom>
                <a:avLst/>
                <a:gdLst>
                  <a:gd name="connsiteX0" fmla="*/ 7525 w 64103"/>
                  <a:gd name="connsiteY0" fmla="*/ 51684 h 63654"/>
                  <a:gd name="connsiteX1" fmla="*/ 0 w 64103"/>
                  <a:gd name="connsiteY1" fmla="*/ 40636 h 63654"/>
                  <a:gd name="connsiteX2" fmla="*/ 11144 w 64103"/>
                  <a:gd name="connsiteY2" fmla="*/ 34158 h 63654"/>
                  <a:gd name="connsiteX3" fmla="*/ 16954 w 64103"/>
                  <a:gd name="connsiteY3" fmla="*/ 43493 h 63654"/>
                  <a:gd name="connsiteX4" fmla="*/ 24384 w 64103"/>
                  <a:gd name="connsiteY4" fmla="*/ 49303 h 63654"/>
                  <a:gd name="connsiteX5" fmla="*/ 31909 w 64103"/>
                  <a:gd name="connsiteY5" fmla="*/ 51589 h 63654"/>
                  <a:gd name="connsiteX6" fmla="*/ 36386 w 64103"/>
                  <a:gd name="connsiteY6" fmla="*/ 48827 h 63654"/>
                  <a:gd name="connsiteX7" fmla="*/ 36766 w 64103"/>
                  <a:gd name="connsiteY7" fmla="*/ 44827 h 63654"/>
                  <a:gd name="connsiteX8" fmla="*/ 34385 w 64103"/>
                  <a:gd name="connsiteY8" fmla="*/ 41207 h 63654"/>
                  <a:gd name="connsiteX9" fmla="*/ 29432 w 64103"/>
                  <a:gd name="connsiteY9" fmla="*/ 36825 h 63654"/>
                  <a:gd name="connsiteX10" fmla="*/ 27146 w 64103"/>
                  <a:gd name="connsiteY10" fmla="*/ 34825 h 63654"/>
                  <a:gd name="connsiteX11" fmla="*/ 19621 w 64103"/>
                  <a:gd name="connsiteY11" fmla="*/ 27205 h 63654"/>
                  <a:gd name="connsiteX12" fmla="*/ 16193 w 64103"/>
                  <a:gd name="connsiteY12" fmla="*/ 19299 h 63654"/>
                  <a:gd name="connsiteX13" fmla="*/ 18097 w 64103"/>
                  <a:gd name="connsiteY13" fmla="*/ 9679 h 63654"/>
                  <a:gd name="connsiteX14" fmla="*/ 24860 w 64103"/>
                  <a:gd name="connsiteY14" fmla="*/ 2154 h 63654"/>
                  <a:gd name="connsiteX15" fmla="*/ 34861 w 64103"/>
                  <a:gd name="connsiteY15" fmla="*/ 59 h 63654"/>
                  <a:gd name="connsiteX16" fmla="*/ 47339 w 64103"/>
                  <a:gd name="connsiteY16" fmla="*/ 3774 h 63654"/>
                  <a:gd name="connsiteX17" fmla="*/ 58007 w 64103"/>
                  <a:gd name="connsiteY17" fmla="*/ 11489 h 63654"/>
                  <a:gd name="connsiteX18" fmla="*/ 64103 w 64103"/>
                  <a:gd name="connsiteY18" fmla="*/ 21776 h 63654"/>
                  <a:gd name="connsiteX19" fmla="*/ 52768 w 64103"/>
                  <a:gd name="connsiteY19" fmla="*/ 26538 h 63654"/>
                  <a:gd name="connsiteX20" fmla="*/ 42196 w 64103"/>
                  <a:gd name="connsiteY20" fmla="*/ 14251 h 63654"/>
                  <a:gd name="connsiteX21" fmla="*/ 31528 w 64103"/>
                  <a:gd name="connsiteY21" fmla="*/ 14918 h 63654"/>
                  <a:gd name="connsiteX22" fmla="*/ 31147 w 64103"/>
                  <a:gd name="connsiteY22" fmla="*/ 18347 h 63654"/>
                  <a:gd name="connsiteX23" fmla="*/ 33147 w 64103"/>
                  <a:gd name="connsiteY23" fmla="*/ 21395 h 63654"/>
                  <a:gd name="connsiteX24" fmla="*/ 37529 w 64103"/>
                  <a:gd name="connsiteY24" fmla="*/ 25205 h 63654"/>
                  <a:gd name="connsiteX25" fmla="*/ 39814 w 64103"/>
                  <a:gd name="connsiteY25" fmla="*/ 27110 h 63654"/>
                  <a:gd name="connsiteX26" fmla="*/ 48101 w 64103"/>
                  <a:gd name="connsiteY26" fmla="*/ 35206 h 63654"/>
                  <a:gd name="connsiteX27" fmla="*/ 51911 w 64103"/>
                  <a:gd name="connsiteY27" fmla="*/ 43588 h 63654"/>
                  <a:gd name="connsiteX28" fmla="*/ 49911 w 64103"/>
                  <a:gd name="connsiteY28" fmla="*/ 53970 h 63654"/>
                  <a:gd name="connsiteX29" fmla="*/ 42863 w 64103"/>
                  <a:gd name="connsiteY29" fmla="*/ 61590 h 63654"/>
                  <a:gd name="connsiteX30" fmla="*/ 32290 w 64103"/>
                  <a:gd name="connsiteY30" fmla="*/ 63591 h 63654"/>
                  <a:gd name="connsiteX31" fmla="*/ 19241 w 64103"/>
                  <a:gd name="connsiteY31" fmla="*/ 59686 h 63654"/>
                  <a:gd name="connsiteX32" fmla="*/ 7715 w 64103"/>
                  <a:gd name="connsiteY32" fmla="*/ 51684 h 636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4103" h="63654">
                    <a:moveTo>
                      <a:pt x="7525" y="51684"/>
                    </a:moveTo>
                    <a:cubicBezTo>
                      <a:pt x="4476" y="48637"/>
                      <a:pt x="2000" y="44922"/>
                      <a:pt x="0" y="40636"/>
                    </a:cubicBezTo>
                    <a:lnTo>
                      <a:pt x="11144" y="34158"/>
                    </a:lnTo>
                    <a:cubicBezTo>
                      <a:pt x="13049" y="37969"/>
                      <a:pt x="14954" y="41016"/>
                      <a:pt x="16954" y="43493"/>
                    </a:cubicBezTo>
                    <a:cubicBezTo>
                      <a:pt x="18955" y="45970"/>
                      <a:pt x="21431" y="47874"/>
                      <a:pt x="24384" y="49303"/>
                    </a:cubicBezTo>
                    <a:cubicBezTo>
                      <a:pt x="27337" y="50732"/>
                      <a:pt x="29813" y="51494"/>
                      <a:pt x="31909" y="51589"/>
                    </a:cubicBezTo>
                    <a:cubicBezTo>
                      <a:pt x="34004" y="51684"/>
                      <a:pt x="35433" y="50732"/>
                      <a:pt x="36386" y="48827"/>
                    </a:cubicBezTo>
                    <a:cubicBezTo>
                      <a:pt x="37052" y="47398"/>
                      <a:pt x="37242" y="46065"/>
                      <a:pt x="36766" y="44827"/>
                    </a:cubicBezTo>
                    <a:cubicBezTo>
                      <a:pt x="36290" y="43588"/>
                      <a:pt x="35528" y="42350"/>
                      <a:pt x="34385" y="41207"/>
                    </a:cubicBezTo>
                    <a:cubicBezTo>
                      <a:pt x="33242" y="40064"/>
                      <a:pt x="31623" y="38635"/>
                      <a:pt x="29432" y="36825"/>
                    </a:cubicBezTo>
                    <a:lnTo>
                      <a:pt x="27146" y="34825"/>
                    </a:lnTo>
                    <a:cubicBezTo>
                      <a:pt x="24003" y="32063"/>
                      <a:pt x="21431" y="29587"/>
                      <a:pt x="19621" y="27205"/>
                    </a:cubicBezTo>
                    <a:cubicBezTo>
                      <a:pt x="17812" y="24824"/>
                      <a:pt x="16669" y="22252"/>
                      <a:pt x="16193" y="19299"/>
                    </a:cubicBezTo>
                    <a:cubicBezTo>
                      <a:pt x="15716" y="16347"/>
                      <a:pt x="16383" y="13203"/>
                      <a:pt x="18097" y="9679"/>
                    </a:cubicBezTo>
                    <a:cubicBezTo>
                      <a:pt x="19812" y="6250"/>
                      <a:pt x="22098" y="3774"/>
                      <a:pt x="24860" y="2154"/>
                    </a:cubicBezTo>
                    <a:cubicBezTo>
                      <a:pt x="27717" y="535"/>
                      <a:pt x="31052" y="-227"/>
                      <a:pt x="34861" y="59"/>
                    </a:cubicBezTo>
                    <a:cubicBezTo>
                      <a:pt x="38671" y="345"/>
                      <a:pt x="42863" y="1583"/>
                      <a:pt x="47339" y="3774"/>
                    </a:cubicBezTo>
                    <a:cubicBezTo>
                      <a:pt x="51625" y="5869"/>
                      <a:pt x="55150" y="8441"/>
                      <a:pt x="58007" y="11489"/>
                    </a:cubicBezTo>
                    <a:cubicBezTo>
                      <a:pt x="60865" y="14537"/>
                      <a:pt x="62960" y="17966"/>
                      <a:pt x="64103" y="21776"/>
                    </a:cubicBezTo>
                    <a:lnTo>
                      <a:pt x="52768" y="26538"/>
                    </a:lnTo>
                    <a:cubicBezTo>
                      <a:pt x="50768" y="20919"/>
                      <a:pt x="47244" y="16823"/>
                      <a:pt x="42196" y="14251"/>
                    </a:cubicBezTo>
                    <a:cubicBezTo>
                      <a:pt x="36671" y="11489"/>
                      <a:pt x="33051" y="11775"/>
                      <a:pt x="31528" y="14918"/>
                    </a:cubicBezTo>
                    <a:cubicBezTo>
                      <a:pt x="30956" y="16156"/>
                      <a:pt x="30766" y="17299"/>
                      <a:pt x="31147" y="18347"/>
                    </a:cubicBezTo>
                    <a:cubicBezTo>
                      <a:pt x="31528" y="19395"/>
                      <a:pt x="32195" y="20442"/>
                      <a:pt x="33147" y="21395"/>
                    </a:cubicBezTo>
                    <a:cubicBezTo>
                      <a:pt x="34100" y="22347"/>
                      <a:pt x="35623" y="23681"/>
                      <a:pt x="37529" y="25205"/>
                    </a:cubicBezTo>
                    <a:lnTo>
                      <a:pt x="39814" y="27110"/>
                    </a:lnTo>
                    <a:cubicBezTo>
                      <a:pt x="43339" y="30063"/>
                      <a:pt x="46101" y="32825"/>
                      <a:pt x="48101" y="35206"/>
                    </a:cubicBezTo>
                    <a:cubicBezTo>
                      <a:pt x="50102" y="37587"/>
                      <a:pt x="51435" y="40445"/>
                      <a:pt x="51911" y="43588"/>
                    </a:cubicBezTo>
                    <a:cubicBezTo>
                      <a:pt x="52483" y="46731"/>
                      <a:pt x="51816" y="50161"/>
                      <a:pt x="49911" y="53970"/>
                    </a:cubicBezTo>
                    <a:cubicBezTo>
                      <a:pt x="48196" y="57399"/>
                      <a:pt x="45911" y="59971"/>
                      <a:pt x="42863" y="61590"/>
                    </a:cubicBezTo>
                    <a:cubicBezTo>
                      <a:pt x="39910" y="63210"/>
                      <a:pt x="36386" y="63877"/>
                      <a:pt x="32290" y="63591"/>
                    </a:cubicBezTo>
                    <a:cubicBezTo>
                      <a:pt x="28289" y="63305"/>
                      <a:pt x="23908" y="61971"/>
                      <a:pt x="19241" y="59686"/>
                    </a:cubicBezTo>
                    <a:cubicBezTo>
                      <a:pt x="14573" y="57399"/>
                      <a:pt x="10763" y="54732"/>
                      <a:pt x="7715" y="51684"/>
                    </a:cubicBezTo>
                    <a:close/>
                  </a:path>
                </a:pathLst>
              </a:custGeom>
              <a:solidFill>
                <a:srgbClr val="231F20"/>
              </a:solidFill>
              <a:ln w="9525" cap="flat">
                <a:noFill/>
                <a:prstDash val="solid"/>
                <a:miter/>
              </a:ln>
            </p:spPr>
            <p:txBody>
              <a:bodyPr rtlCol="0" anchor="ctr"/>
              <a:lstStyle/>
              <a:p>
                <a:pPr marL="0" marR="0" lvl="0" indent="0" algn="l" defTabSz="913578" rtl="0" eaLnBrk="1" fontAlgn="auto" latinLnBrk="0" hangingPunct="1">
                  <a:lnSpc>
                    <a:spcPct val="100000"/>
                  </a:lnSpc>
                  <a:spcBef>
                    <a:spcPts val="0"/>
                  </a:spcBef>
                  <a:spcAft>
                    <a:spcPts val="0"/>
                  </a:spcAft>
                  <a:buClrTx/>
                  <a:buSzTx/>
                  <a:buFontTx/>
                  <a:buNone/>
                  <a:tabLst/>
                  <a:defRPr/>
                </a:pPr>
                <a:endParaRPr kumimoji="0" lang="en-US" sz="17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411" name="Freeform: Shape 236">
                <a:extLst>
                  <a:ext uri="{FF2B5EF4-FFF2-40B4-BE49-F238E27FC236}">
                    <a16:creationId xmlns:a16="http://schemas.microsoft.com/office/drawing/2014/main" id="{6BAF0D9F-315E-05D7-8A32-803E715794DC}"/>
                  </a:ext>
                </a:extLst>
              </p:cNvPr>
              <p:cNvSpPr/>
              <p:nvPr/>
            </p:nvSpPr>
            <p:spPr>
              <a:xfrm>
                <a:off x="6538329" y="4028122"/>
                <a:ext cx="48875" cy="76962"/>
              </a:xfrm>
              <a:custGeom>
                <a:avLst/>
                <a:gdLst>
                  <a:gd name="connsiteX0" fmla="*/ 393 w 48875"/>
                  <a:gd name="connsiteY0" fmla="*/ 63055 h 76962"/>
                  <a:gd name="connsiteX1" fmla="*/ 2869 w 48875"/>
                  <a:gd name="connsiteY1" fmla="*/ 50483 h 76962"/>
                  <a:gd name="connsiteX2" fmla="*/ 19157 w 48875"/>
                  <a:gd name="connsiteY2" fmla="*/ 21336 h 76962"/>
                  <a:gd name="connsiteX3" fmla="*/ 12490 w 48875"/>
                  <a:gd name="connsiteY3" fmla="*/ 17621 h 76962"/>
                  <a:gd name="connsiteX4" fmla="*/ 18204 w 48875"/>
                  <a:gd name="connsiteY4" fmla="*/ 7429 h 76962"/>
                  <a:gd name="connsiteX5" fmla="*/ 25539 w 48875"/>
                  <a:gd name="connsiteY5" fmla="*/ 11525 h 76962"/>
                  <a:gd name="connsiteX6" fmla="*/ 32873 w 48875"/>
                  <a:gd name="connsiteY6" fmla="*/ 0 h 76962"/>
                  <a:gd name="connsiteX7" fmla="*/ 45636 w 48875"/>
                  <a:gd name="connsiteY7" fmla="*/ 5810 h 76962"/>
                  <a:gd name="connsiteX8" fmla="*/ 38397 w 48875"/>
                  <a:gd name="connsiteY8" fmla="*/ 18669 h 76962"/>
                  <a:gd name="connsiteX9" fmla="*/ 48875 w 48875"/>
                  <a:gd name="connsiteY9" fmla="*/ 24575 h 76962"/>
                  <a:gd name="connsiteX10" fmla="*/ 43160 w 48875"/>
                  <a:gd name="connsiteY10" fmla="*/ 34766 h 76962"/>
                  <a:gd name="connsiteX11" fmla="*/ 32683 w 48875"/>
                  <a:gd name="connsiteY11" fmla="*/ 28861 h 76962"/>
                  <a:gd name="connsiteX12" fmla="*/ 18395 w 48875"/>
                  <a:gd name="connsiteY12" fmla="*/ 54293 h 76962"/>
                  <a:gd name="connsiteX13" fmla="*/ 16776 w 48875"/>
                  <a:gd name="connsiteY13" fmla="*/ 60008 h 76962"/>
                  <a:gd name="connsiteX14" fmla="*/ 19824 w 48875"/>
                  <a:gd name="connsiteY14" fmla="*/ 63818 h 76962"/>
                  <a:gd name="connsiteX15" fmla="*/ 25158 w 48875"/>
                  <a:gd name="connsiteY15" fmla="*/ 66008 h 76962"/>
                  <a:gd name="connsiteX16" fmla="*/ 20396 w 48875"/>
                  <a:gd name="connsiteY16" fmla="*/ 76962 h 76962"/>
                  <a:gd name="connsiteX17" fmla="*/ 8394 w 48875"/>
                  <a:gd name="connsiteY17" fmla="*/ 72295 h 76962"/>
                  <a:gd name="connsiteX18" fmla="*/ 393 w 48875"/>
                  <a:gd name="connsiteY18" fmla="*/ 63055 h 76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8875" h="76962">
                    <a:moveTo>
                      <a:pt x="393" y="63055"/>
                    </a:moveTo>
                    <a:cubicBezTo>
                      <a:pt x="-560" y="59341"/>
                      <a:pt x="203" y="55150"/>
                      <a:pt x="2869" y="50483"/>
                    </a:cubicBezTo>
                    <a:lnTo>
                      <a:pt x="19157" y="21336"/>
                    </a:lnTo>
                    <a:lnTo>
                      <a:pt x="12490" y="17621"/>
                    </a:lnTo>
                    <a:lnTo>
                      <a:pt x="18204" y="7429"/>
                    </a:lnTo>
                    <a:lnTo>
                      <a:pt x="25539" y="11525"/>
                    </a:lnTo>
                    <a:lnTo>
                      <a:pt x="32873" y="0"/>
                    </a:lnTo>
                    <a:lnTo>
                      <a:pt x="45636" y="5810"/>
                    </a:lnTo>
                    <a:lnTo>
                      <a:pt x="38397" y="18669"/>
                    </a:lnTo>
                    <a:lnTo>
                      <a:pt x="48875" y="24575"/>
                    </a:lnTo>
                    <a:lnTo>
                      <a:pt x="43160" y="34766"/>
                    </a:lnTo>
                    <a:lnTo>
                      <a:pt x="32683" y="28861"/>
                    </a:lnTo>
                    <a:lnTo>
                      <a:pt x="18395" y="54293"/>
                    </a:lnTo>
                    <a:cubicBezTo>
                      <a:pt x="17157" y="56579"/>
                      <a:pt x="16585" y="58484"/>
                      <a:pt x="16776" y="60008"/>
                    </a:cubicBezTo>
                    <a:cubicBezTo>
                      <a:pt x="16966" y="61531"/>
                      <a:pt x="18014" y="62770"/>
                      <a:pt x="19824" y="63818"/>
                    </a:cubicBezTo>
                    <a:cubicBezTo>
                      <a:pt x="21252" y="64579"/>
                      <a:pt x="22967" y="65342"/>
                      <a:pt x="25158" y="66008"/>
                    </a:cubicBezTo>
                    <a:lnTo>
                      <a:pt x="20396" y="76962"/>
                    </a:lnTo>
                    <a:cubicBezTo>
                      <a:pt x="16109" y="75914"/>
                      <a:pt x="12109" y="74390"/>
                      <a:pt x="8394" y="72295"/>
                    </a:cubicBezTo>
                    <a:cubicBezTo>
                      <a:pt x="4012" y="69818"/>
                      <a:pt x="1346" y="66770"/>
                      <a:pt x="393" y="63055"/>
                    </a:cubicBezTo>
                    <a:close/>
                  </a:path>
                </a:pathLst>
              </a:custGeom>
              <a:solidFill>
                <a:srgbClr val="231F20"/>
              </a:solidFill>
              <a:ln w="9525" cap="flat">
                <a:noFill/>
                <a:prstDash val="solid"/>
                <a:miter/>
              </a:ln>
            </p:spPr>
            <p:txBody>
              <a:bodyPr rtlCol="0" anchor="ctr"/>
              <a:lstStyle/>
              <a:p>
                <a:pPr marL="0" marR="0" lvl="0" indent="0" algn="l" defTabSz="913578" rtl="0" eaLnBrk="1" fontAlgn="auto" latinLnBrk="0" hangingPunct="1">
                  <a:lnSpc>
                    <a:spcPct val="100000"/>
                  </a:lnSpc>
                  <a:spcBef>
                    <a:spcPts val="0"/>
                  </a:spcBef>
                  <a:spcAft>
                    <a:spcPts val="0"/>
                  </a:spcAft>
                  <a:buClrTx/>
                  <a:buSzTx/>
                  <a:buFontTx/>
                  <a:buNone/>
                  <a:tabLst/>
                  <a:defRPr/>
                </a:pPr>
                <a:endParaRPr kumimoji="0" lang="en-US" sz="17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412" name="Freeform: Shape 237">
                <a:extLst>
                  <a:ext uri="{FF2B5EF4-FFF2-40B4-BE49-F238E27FC236}">
                    <a16:creationId xmlns:a16="http://schemas.microsoft.com/office/drawing/2014/main" id="{8F83007C-8397-EFCF-4111-39B918847D6B}"/>
                  </a:ext>
                </a:extLst>
              </p:cNvPr>
              <p:cNvSpPr/>
              <p:nvPr/>
            </p:nvSpPr>
            <p:spPr>
              <a:xfrm>
                <a:off x="6567935" y="4064921"/>
                <a:ext cx="63821" cy="70928"/>
              </a:xfrm>
              <a:custGeom>
                <a:avLst/>
                <a:gdLst>
                  <a:gd name="connsiteX0" fmla="*/ 2220 w 63821"/>
                  <a:gd name="connsiteY0" fmla="*/ 46640 h 70928"/>
                  <a:gd name="connsiteX1" fmla="*/ 29 w 63821"/>
                  <a:gd name="connsiteY1" fmla="*/ 37877 h 70928"/>
                  <a:gd name="connsiteX2" fmla="*/ 3267 w 63821"/>
                  <a:gd name="connsiteY2" fmla="*/ 28352 h 70928"/>
                  <a:gd name="connsiteX3" fmla="*/ 16602 w 63821"/>
                  <a:gd name="connsiteY3" fmla="*/ 19494 h 70928"/>
                  <a:gd name="connsiteX4" fmla="*/ 33842 w 63821"/>
                  <a:gd name="connsiteY4" fmla="*/ 24828 h 70928"/>
                  <a:gd name="connsiteX5" fmla="*/ 44987 w 63821"/>
                  <a:gd name="connsiteY5" fmla="*/ 31590 h 70928"/>
                  <a:gd name="connsiteX6" fmla="*/ 46511 w 63821"/>
                  <a:gd name="connsiteY6" fmla="*/ 29114 h 70928"/>
                  <a:gd name="connsiteX7" fmla="*/ 48416 w 63821"/>
                  <a:gd name="connsiteY7" fmla="*/ 21208 h 70928"/>
                  <a:gd name="connsiteX8" fmla="*/ 43463 w 63821"/>
                  <a:gd name="connsiteY8" fmla="*/ 15398 h 70928"/>
                  <a:gd name="connsiteX9" fmla="*/ 25842 w 63821"/>
                  <a:gd name="connsiteY9" fmla="*/ 12826 h 70928"/>
                  <a:gd name="connsiteX10" fmla="*/ 24794 w 63821"/>
                  <a:gd name="connsiteY10" fmla="*/ 539 h 70928"/>
                  <a:gd name="connsiteX11" fmla="*/ 50702 w 63821"/>
                  <a:gd name="connsiteY11" fmla="*/ 5587 h 70928"/>
                  <a:gd name="connsiteX12" fmla="*/ 63084 w 63821"/>
                  <a:gd name="connsiteY12" fmla="*/ 20065 h 70928"/>
                  <a:gd name="connsiteX13" fmla="*/ 59941 w 63821"/>
                  <a:gd name="connsiteY13" fmla="*/ 37020 h 70928"/>
                  <a:gd name="connsiteX14" fmla="*/ 48130 w 63821"/>
                  <a:gd name="connsiteY14" fmla="*/ 55689 h 70928"/>
                  <a:gd name="connsiteX15" fmla="*/ 38986 w 63821"/>
                  <a:gd name="connsiteY15" fmla="*/ 70929 h 70928"/>
                  <a:gd name="connsiteX16" fmla="*/ 26413 w 63821"/>
                  <a:gd name="connsiteY16" fmla="*/ 62928 h 70928"/>
                  <a:gd name="connsiteX17" fmla="*/ 30604 w 63821"/>
                  <a:gd name="connsiteY17" fmla="*/ 55594 h 70928"/>
                  <a:gd name="connsiteX18" fmla="*/ 30318 w 63821"/>
                  <a:gd name="connsiteY18" fmla="*/ 55403 h 70928"/>
                  <a:gd name="connsiteX19" fmla="*/ 20031 w 63821"/>
                  <a:gd name="connsiteY19" fmla="*/ 57308 h 70928"/>
                  <a:gd name="connsiteX20" fmla="*/ 9363 w 63821"/>
                  <a:gd name="connsiteY20" fmla="*/ 53498 h 70928"/>
                  <a:gd name="connsiteX21" fmla="*/ 2220 w 63821"/>
                  <a:gd name="connsiteY21" fmla="*/ 46450 h 70928"/>
                  <a:gd name="connsiteX22" fmla="*/ 26698 w 63821"/>
                  <a:gd name="connsiteY22" fmla="*/ 48450 h 70928"/>
                  <a:gd name="connsiteX23" fmla="*/ 33271 w 63821"/>
                  <a:gd name="connsiteY23" fmla="*/ 46926 h 70928"/>
                  <a:gd name="connsiteX24" fmla="*/ 38033 w 63821"/>
                  <a:gd name="connsiteY24" fmla="*/ 42449 h 70928"/>
                  <a:gd name="connsiteX25" fmla="*/ 39653 w 63821"/>
                  <a:gd name="connsiteY25" fmla="*/ 39877 h 70928"/>
                  <a:gd name="connsiteX26" fmla="*/ 32795 w 63821"/>
                  <a:gd name="connsiteY26" fmla="*/ 35591 h 70928"/>
                  <a:gd name="connsiteX27" fmla="*/ 26698 w 63821"/>
                  <a:gd name="connsiteY27" fmla="*/ 32638 h 70928"/>
                  <a:gd name="connsiteX28" fmla="*/ 21936 w 63821"/>
                  <a:gd name="connsiteY28" fmla="*/ 32353 h 70928"/>
                  <a:gd name="connsiteX29" fmla="*/ 17745 w 63821"/>
                  <a:gd name="connsiteY29" fmla="*/ 35972 h 70928"/>
                  <a:gd name="connsiteX30" fmla="*/ 16412 w 63821"/>
                  <a:gd name="connsiteY30" fmla="*/ 41782 h 70928"/>
                  <a:gd name="connsiteX31" fmla="*/ 19841 w 63821"/>
                  <a:gd name="connsiteY31" fmla="*/ 46259 h 70928"/>
                  <a:gd name="connsiteX32" fmla="*/ 26604 w 63821"/>
                  <a:gd name="connsiteY32" fmla="*/ 48355 h 709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3821" h="70928">
                    <a:moveTo>
                      <a:pt x="2220" y="46640"/>
                    </a:moveTo>
                    <a:cubicBezTo>
                      <a:pt x="600" y="43973"/>
                      <a:pt x="-162" y="41020"/>
                      <a:pt x="29" y="37877"/>
                    </a:cubicBezTo>
                    <a:cubicBezTo>
                      <a:pt x="124" y="34734"/>
                      <a:pt x="1267" y="31590"/>
                      <a:pt x="3267" y="28352"/>
                    </a:cubicBezTo>
                    <a:cubicBezTo>
                      <a:pt x="6887" y="22732"/>
                      <a:pt x="11268" y="19780"/>
                      <a:pt x="16602" y="19494"/>
                    </a:cubicBezTo>
                    <a:cubicBezTo>
                      <a:pt x="21936" y="19208"/>
                      <a:pt x="27651" y="21018"/>
                      <a:pt x="33842" y="24828"/>
                    </a:cubicBezTo>
                    <a:lnTo>
                      <a:pt x="44987" y="31590"/>
                    </a:lnTo>
                    <a:lnTo>
                      <a:pt x="46511" y="29114"/>
                    </a:lnTo>
                    <a:cubicBezTo>
                      <a:pt x="48511" y="25971"/>
                      <a:pt x="49083" y="23399"/>
                      <a:pt x="48416" y="21208"/>
                    </a:cubicBezTo>
                    <a:cubicBezTo>
                      <a:pt x="47749" y="19018"/>
                      <a:pt x="46034" y="17113"/>
                      <a:pt x="43463" y="15398"/>
                    </a:cubicBezTo>
                    <a:cubicBezTo>
                      <a:pt x="38986" y="12540"/>
                      <a:pt x="33081" y="11683"/>
                      <a:pt x="25842" y="12826"/>
                    </a:cubicBezTo>
                    <a:lnTo>
                      <a:pt x="24794" y="539"/>
                    </a:lnTo>
                    <a:cubicBezTo>
                      <a:pt x="34319" y="-985"/>
                      <a:pt x="42986" y="730"/>
                      <a:pt x="50702" y="5587"/>
                    </a:cubicBezTo>
                    <a:cubicBezTo>
                      <a:pt x="57369" y="9778"/>
                      <a:pt x="61465" y="14636"/>
                      <a:pt x="63084" y="20065"/>
                    </a:cubicBezTo>
                    <a:cubicBezTo>
                      <a:pt x="64704" y="25495"/>
                      <a:pt x="63656" y="31210"/>
                      <a:pt x="59941" y="37020"/>
                    </a:cubicBezTo>
                    <a:lnTo>
                      <a:pt x="48130" y="55689"/>
                    </a:lnTo>
                    <a:cubicBezTo>
                      <a:pt x="44606" y="61309"/>
                      <a:pt x="41557" y="66357"/>
                      <a:pt x="38986" y="70929"/>
                    </a:cubicBezTo>
                    <a:lnTo>
                      <a:pt x="26413" y="62928"/>
                    </a:lnTo>
                    <a:cubicBezTo>
                      <a:pt x="27651" y="60547"/>
                      <a:pt x="28985" y="58070"/>
                      <a:pt x="30604" y="55594"/>
                    </a:cubicBezTo>
                    <a:lnTo>
                      <a:pt x="30318" y="55403"/>
                    </a:lnTo>
                    <a:cubicBezTo>
                      <a:pt x="26984" y="56927"/>
                      <a:pt x="23556" y="57594"/>
                      <a:pt x="20031" y="57308"/>
                    </a:cubicBezTo>
                    <a:cubicBezTo>
                      <a:pt x="16507" y="57022"/>
                      <a:pt x="12888" y="55689"/>
                      <a:pt x="9363" y="53498"/>
                    </a:cubicBezTo>
                    <a:cubicBezTo>
                      <a:pt x="6220" y="51498"/>
                      <a:pt x="3839" y="49117"/>
                      <a:pt x="2220" y="46450"/>
                    </a:cubicBezTo>
                    <a:close/>
                    <a:moveTo>
                      <a:pt x="26698" y="48450"/>
                    </a:moveTo>
                    <a:cubicBezTo>
                      <a:pt x="29080" y="48450"/>
                      <a:pt x="31271" y="47973"/>
                      <a:pt x="33271" y="46926"/>
                    </a:cubicBezTo>
                    <a:cubicBezTo>
                      <a:pt x="35271" y="45878"/>
                      <a:pt x="36890" y="44354"/>
                      <a:pt x="38033" y="42449"/>
                    </a:cubicBezTo>
                    <a:lnTo>
                      <a:pt x="39653" y="39877"/>
                    </a:lnTo>
                    <a:lnTo>
                      <a:pt x="32795" y="35591"/>
                    </a:lnTo>
                    <a:cubicBezTo>
                      <a:pt x="30413" y="34257"/>
                      <a:pt x="28318" y="33305"/>
                      <a:pt x="26698" y="32638"/>
                    </a:cubicBezTo>
                    <a:cubicBezTo>
                      <a:pt x="25079" y="31972"/>
                      <a:pt x="23460" y="31972"/>
                      <a:pt x="21936" y="32353"/>
                    </a:cubicBezTo>
                    <a:cubicBezTo>
                      <a:pt x="20412" y="32734"/>
                      <a:pt x="18983" y="33972"/>
                      <a:pt x="17745" y="35972"/>
                    </a:cubicBezTo>
                    <a:cubicBezTo>
                      <a:pt x="16412" y="38068"/>
                      <a:pt x="16031" y="39973"/>
                      <a:pt x="16412" y="41782"/>
                    </a:cubicBezTo>
                    <a:cubicBezTo>
                      <a:pt x="16793" y="43592"/>
                      <a:pt x="18031" y="45021"/>
                      <a:pt x="19841" y="46259"/>
                    </a:cubicBezTo>
                    <a:cubicBezTo>
                      <a:pt x="22031" y="47593"/>
                      <a:pt x="24317" y="48355"/>
                      <a:pt x="26604" y="48355"/>
                    </a:cubicBezTo>
                    <a:close/>
                  </a:path>
                </a:pathLst>
              </a:custGeom>
              <a:solidFill>
                <a:srgbClr val="231F20"/>
              </a:solidFill>
              <a:ln w="9525" cap="flat">
                <a:noFill/>
                <a:prstDash val="solid"/>
                <a:miter/>
              </a:ln>
            </p:spPr>
            <p:txBody>
              <a:bodyPr rtlCol="0" anchor="ctr"/>
              <a:lstStyle/>
              <a:p>
                <a:pPr marL="0" marR="0" lvl="0" indent="0" algn="l" defTabSz="913578" rtl="0" eaLnBrk="1" fontAlgn="auto" latinLnBrk="0" hangingPunct="1">
                  <a:lnSpc>
                    <a:spcPct val="100000"/>
                  </a:lnSpc>
                  <a:spcBef>
                    <a:spcPts val="0"/>
                  </a:spcBef>
                  <a:spcAft>
                    <a:spcPts val="0"/>
                  </a:spcAft>
                  <a:buClrTx/>
                  <a:buSzTx/>
                  <a:buFontTx/>
                  <a:buNone/>
                  <a:tabLst/>
                  <a:defRPr/>
                </a:pPr>
                <a:endParaRPr kumimoji="0" lang="en-US" sz="17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413" name="Freeform: Shape 238">
                <a:extLst>
                  <a:ext uri="{FF2B5EF4-FFF2-40B4-BE49-F238E27FC236}">
                    <a16:creationId xmlns:a16="http://schemas.microsoft.com/office/drawing/2014/main" id="{782EBFB0-7275-8ABA-166E-606A043F7369}"/>
                  </a:ext>
                </a:extLst>
              </p:cNvPr>
              <p:cNvSpPr/>
              <p:nvPr/>
            </p:nvSpPr>
            <p:spPr>
              <a:xfrm>
                <a:off x="6618065" y="4076776"/>
                <a:ext cx="60207" cy="76504"/>
              </a:xfrm>
              <a:custGeom>
                <a:avLst/>
                <a:gdLst>
                  <a:gd name="connsiteX0" fmla="*/ 34957 w 60207"/>
                  <a:gd name="connsiteY0" fmla="*/ 18211 h 76504"/>
                  <a:gd name="connsiteX1" fmla="*/ 47720 w 60207"/>
                  <a:gd name="connsiteY1" fmla="*/ 27260 h 76504"/>
                  <a:gd name="connsiteX2" fmla="*/ 12764 w 60207"/>
                  <a:gd name="connsiteY2" fmla="*/ 76504 h 76504"/>
                  <a:gd name="connsiteX3" fmla="*/ 0 w 60207"/>
                  <a:gd name="connsiteY3" fmla="*/ 67455 h 76504"/>
                  <a:gd name="connsiteX4" fmla="*/ 34957 w 60207"/>
                  <a:gd name="connsiteY4" fmla="*/ 18211 h 76504"/>
                  <a:gd name="connsiteX5" fmla="*/ 42196 w 60207"/>
                  <a:gd name="connsiteY5" fmla="*/ 10591 h 76504"/>
                  <a:gd name="connsiteX6" fmla="*/ 44005 w 60207"/>
                  <a:gd name="connsiteY6" fmla="*/ 4019 h 76504"/>
                  <a:gd name="connsiteX7" fmla="*/ 49625 w 60207"/>
                  <a:gd name="connsiteY7" fmla="*/ 113 h 76504"/>
                  <a:gd name="connsiteX8" fmla="*/ 56292 w 60207"/>
                  <a:gd name="connsiteY8" fmla="*/ 1923 h 76504"/>
                  <a:gd name="connsiteX9" fmla="*/ 60103 w 60207"/>
                  <a:gd name="connsiteY9" fmla="*/ 7543 h 76504"/>
                  <a:gd name="connsiteX10" fmla="*/ 58293 w 60207"/>
                  <a:gd name="connsiteY10" fmla="*/ 14115 h 76504"/>
                  <a:gd name="connsiteX11" fmla="*/ 52674 w 60207"/>
                  <a:gd name="connsiteY11" fmla="*/ 17925 h 76504"/>
                  <a:gd name="connsiteX12" fmla="*/ 46196 w 60207"/>
                  <a:gd name="connsiteY12" fmla="*/ 16211 h 76504"/>
                  <a:gd name="connsiteX13" fmla="*/ 42291 w 60207"/>
                  <a:gd name="connsiteY13" fmla="*/ 10496 h 76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0207" h="76504">
                    <a:moveTo>
                      <a:pt x="34957" y="18211"/>
                    </a:moveTo>
                    <a:lnTo>
                      <a:pt x="47720" y="27260"/>
                    </a:lnTo>
                    <a:lnTo>
                      <a:pt x="12764" y="76504"/>
                    </a:lnTo>
                    <a:lnTo>
                      <a:pt x="0" y="67455"/>
                    </a:lnTo>
                    <a:lnTo>
                      <a:pt x="34957" y="18211"/>
                    </a:lnTo>
                    <a:close/>
                    <a:moveTo>
                      <a:pt x="42196" y="10591"/>
                    </a:moveTo>
                    <a:cubicBezTo>
                      <a:pt x="41815" y="8400"/>
                      <a:pt x="42482" y="6210"/>
                      <a:pt x="44005" y="4019"/>
                    </a:cubicBezTo>
                    <a:cubicBezTo>
                      <a:pt x="45625" y="1828"/>
                      <a:pt x="47434" y="495"/>
                      <a:pt x="49625" y="113"/>
                    </a:cubicBezTo>
                    <a:cubicBezTo>
                      <a:pt x="51816" y="-267"/>
                      <a:pt x="54007" y="304"/>
                      <a:pt x="56292" y="1923"/>
                    </a:cubicBezTo>
                    <a:cubicBezTo>
                      <a:pt x="58484" y="3447"/>
                      <a:pt x="59722" y="5352"/>
                      <a:pt x="60103" y="7543"/>
                    </a:cubicBezTo>
                    <a:cubicBezTo>
                      <a:pt x="60484" y="9734"/>
                      <a:pt x="59817" y="11925"/>
                      <a:pt x="58293" y="14115"/>
                    </a:cubicBezTo>
                    <a:cubicBezTo>
                      <a:pt x="56769" y="16306"/>
                      <a:pt x="54864" y="17544"/>
                      <a:pt x="52674" y="17925"/>
                    </a:cubicBezTo>
                    <a:cubicBezTo>
                      <a:pt x="50482" y="18306"/>
                      <a:pt x="48292" y="17735"/>
                      <a:pt x="46196" y="16211"/>
                    </a:cubicBezTo>
                    <a:cubicBezTo>
                      <a:pt x="43910" y="14592"/>
                      <a:pt x="42672" y="12687"/>
                      <a:pt x="42291" y="10496"/>
                    </a:cubicBezTo>
                    <a:close/>
                  </a:path>
                </a:pathLst>
              </a:custGeom>
              <a:solidFill>
                <a:srgbClr val="231F20"/>
              </a:solidFill>
              <a:ln w="9525" cap="flat">
                <a:noFill/>
                <a:prstDash val="solid"/>
                <a:miter/>
              </a:ln>
            </p:spPr>
            <p:txBody>
              <a:bodyPr rtlCol="0" anchor="ctr"/>
              <a:lstStyle/>
              <a:p>
                <a:pPr marL="0" marR="0" lvl="0" indent="0" algn="l" defTabSz="913578" rtl="0" eaLnBrk="1" fontAlgn="auto" latinLnBrk="0" hangingPunct="1">
                  <a:lnSpc>
                    <a:spcPct val="100000"/>
                  </a:lnSpc>
                  <a:spcBef>
                    <a:spcPts val="0"/>
                  </a:spcBef>
                  <a:spcAft>
                    <a:spcPts val="0"/>
                  </a:spcAft>
                  <a:buClrTx/>
                  <a:buSzTx/>
                  <a:buFontTx/>
                  <a:buNone/>
                  <a:tabLst/>
                  <a:defRPr/>
                </a:pPr>
                <a:endParaRPr kumimoji="0" lang="en-US" sz="17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414" name="Freeform: Shape 239">
                <a:extLst>
                  <a:ext uri="{FF2B5EF4-FFF2-40B4-BE49-F238E27FC236}">
                    <a16:creationId xmlns:a16="http://schemas.microsoft.com/office/drawing/2014/main" id="{37712630-F66B-9547-BBDC-60ACBFAD1F25}"/>
                  </a:ext>
                </a:extLst>
              </p:cNvPr>
              <p:cNvSpPr/>
              <p:nvPr/>
            </p:nvSpPr>
            <p:spPr>
              <a:xfrm>
                <a:off x="6643211" y="4114323"/>
                <a:ext cx="73535" cy="81629"/>
              </a:xfrm>
              <a:custGeom>
                <a:avLst/>
                <a:gdLst>
                  <a:gd name="connsiteX0" fmla="*/ 29051 w 73535"/>
                  <a:gd name="connsiteY0" fmla="*/ 10763 h 81629"/>
                  <a:gd name="connsiteX1" fmla="*/ 33909 w 73535"/>
                  <a:gd name="connsiteY1" fmla="*/ 4477 h 81629"/>
                  <a:gd name="connsiteX2" fmla="*/ 37147 w 73535"/>
                  <a:gd name="connsiteY2" fmla="*/ 0 h 81629"/>
                  <a:gd name="connsiteX3" fmla="*/ 48863 w 73535"/>
                  <a:gd name="connsiteY3" fmla="*/ 9334 h 81629"/>
                  <a:gd name="connsiteX4" fmla="*/ 46196 w 73535"/>
                  <a:gd name="connsiteY4" fmla="*/ 13525 h 81629"/>
                  <a:gd name="connsiteX5" fmla="*/ 42767 w 73535"/>
                  <a:gd name="connsiteY5" fmla="*/ 18288 h 81629"/>
                  <a:gd name="connsiteX6" fmla="*/ 42958 w 73535"/>
                  <a:gd name="connsiteY6" fmla="*/ 18288 h 81629"/>
                  <a:gd name="connsiteX7" fmla="*/ 54864 w 73535"/>
                  <a:gd name="connsiteY7" fmla="*/ 16192 h 81629"/>
                  <a:gd name="connsiteX8" fmla="*/ 65627 w 73535"/>
                  <a:gd name="connsiteY8" fmla="*/ 20955 h 81629"/>
                  <a:gd name="connsiteX9" fmla="*/ 73533 w 73535"/>
                  <a:gd name="connsiteY9" fmla="*/ 35338 h 81629"/>
                  <a:gd name="connsiteX10" fmla="*/ 66675 w 73535"/>
                  <a:gd name="connsiteY10" fmla="*/ 51625 h 81629"/>
                  <a:gd name="connsiteX11" fmla="*/ 42863 w 73535"/>
                  <a:gd name="connsiteY11" fmla="*/ 81629 h 81629"/>
                  <a:gd name="connsiteX12" fmla="*/ 30575 w 73535"/>
                  <a:gd name="connsiteY12" fmla="*/ 71914 h 81629"/>
                  <a:gd name="connsiteX13" fmla="*/ 51625 w 73535"/>
                  <a:gd name="connsiteY13" fmla="*/ 45434 h 81629"/>
                  <a:gd name="connsiteX14" fmla="*/ 56388 w 73535"/>
                  <a:gd name="connsiteY14" fmla="*/ 35719 h 81629"/>
                  <a:gd name="connsiteX15" fmla="*/ 52578 w 73535"/>
                  <a:gd name="connsiteY15" fmla="*/ 27908 h 81629"/>
                  <a:gd name="connsiteX16" fmla="*/ 46006 w 73535"/>
                  <a:gd name="connsiteY16" fmla="*/ 25241 h 81629"/>
                  <a:gd name="connsiteX17" fmla="*/ 38862 w 73535"/>
                  <a:gd name="connsiteY17" fmla="*/ 26670 h 81629"/>
                  <a:gd name="connsiteX18" fmla="*/ 32385 w 73535"/>
                  <a:gd name="connsiteY18" fmla="*/ 32004 h 81629"/>
                  <a:gd name="connsiteX19" fmla="*/ 12287 w 73535"/>
                  <a:gd name="connsiteY19" fmla="*/ 57340 h 81629"/>
                  <a:gd name="connsiteX20" fmla="*/ 0 w 73535"/>
                  <a:gd name="connsiteY20" fmla="*/ 47625 h 81629"/>
                  <a:gd name="connsiteX21" fmla="*/ 29146 w 73535"/>
                  <a:gd name="connsiteY21" fmla="*/ 10954 h 816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73535" h="81629">
                    <a:moveTo>
                      <a:pt x="29051" y="10763"/>
                    </a:moveTo>
                    <a:cubicBezTo>
                      <a:pt x="30670" y="8763"/>
                      <a:pt x="32290" y="6667"/>
                      <a:pt x="33909" y="4477"/>
                    </a:cubicBezTo>
                    <a:cubicBezTo>
                      <a:pt x="35528" y="2286"/>
                      <a:pt x="36576" y="762"/>
                      <a:pt x="37147" y="0"/>
                    </a:cubicBezTo>
                    <a:lnTo>
                      <a:pt x="48863" y="9334"/>
                    </a:lnTo>
                    <a:cubicBezTo>
                      <a:pt x="48482" y="10096"/>
                      <a:pt x="47530" y="11430"/>
                      <a:pt x="46196" y="13525"/>
                    </a:cubicBezTo>
                    <a:cubicBezTo>
                      <a:pt x="44768" y="15526"/>
                      <a:pt x="43625" y="17145"/>
                      <a:pt x="42767" y="18288"/>
                    </a:cubicBezTo>
                    <a:lnTo>
                      <a:pt x="42958" y="18288"/>
                    </a:lnTo>
                    <a:cubicBezTo>
                      <a:pt x="47149" y="16478"/>
                      <a:pt x="51149" y="15811"/>
                      <a:pt x="54864" y="16192"/>
                    </a:cubicBezTo>
                    <a:cubicBezTo>
                      <a:pt x="58578" y="16669"/>
                      <a:pt x="62198" y="18192"/>
                      <a:pt x="65627" y="20955"/>
                    </a:cubicBezTo>
                    <a:cubicBezTo>
                      <a:pt x="71056" y="25241"/>
                      <a:pt x="73628" y="30004"/>
                      <a:pt x="73533" y="35338"/>
                    </a:cubicBezTo>
                    <a:cubicBezTo>
                      <a:pt x="73437" y="40576"/>
                      <a:pt x="71151" y="46006"/>
                      <a:pt x="66675" y="51625"/>
                    </a:cubicBezTo>
                    <a:lnTo>
                      <a:pt x="42863" y="81629"/>
                    </a:lnTo>
                    <a:lnTo>
                      <a:pt x="30575" y="71914"/>
                    </a:lnTo>
                    <a:lnTo>
                      <a:pt x="51625" y="45434"/>
                    </a:lnTo>
                    <a:cubicBezTo>
                      <a:pt x="54483" y="41910"/>
                      <a:pt x="56007" y="38671"/>
                      <a:pt x="56388" y="35719"/>
                    </a:cubicBezTo>
                    <a:cubicBezTo>
                      <a:pt x="56769" y="32861"/>
                      <a:pt x="55436" y="30194"/>
                      <a:pt x="52578" y="27908"/>
                    </a:cubicBezTo>
                    <a:cubicBezTo>
                      <a:pt x="50578" y="26289"/>
                      <a:pt x="48387" y="25432"/>
                      <a:pt x="46006" y="25241"/>
                    </a:cubicBezTo>
                    <a:cubicBezTo>
                      <a:pt x="43625" y="25051"/>
                      <a:pt x="41243" y="25527"/>
                      <a:pt x="38862" y="26670"/>
                    </a:cubicBezTo>
                    <a:cubicBezTo>
                      <a:pt x="36481" y="27813"/>
                      <a:pt x="34290" y="29623"/>
                      <a:pt x="32385" y="32004"/>
                    </a:cubicBezTo>
                    <a:lnTo>
                      <a:pt x="12287" y="57340"/>
                    </a:lnTo>
                    <a:lnTo>
                      <a:pt x="0" y="47625"/>
                    </a:lnTo>
                    <a:lnTo>
                      <a:pt x="29146" y="10954"/>
                    </a:lnTo>
                    <a:close/>
                  </a:path>
                </a:pathLst>
              </a:custGeom>
              <a:solidFill>
                <a:srgbClr val="231F20"/>
              </a:solidFill>
              <a:ln w="9525" cap="flat">
                <a:noFill/>
                <a:prstDash val="solid"/>
                <a:miter/>
              </a:ln>
            </p:spPr>
            <p:txBody>
              <a:bodyPr rtlCol="0" anchor="ctr"/>
              <a:lstStyle/>
              <a:p>
                <a:pPr marL="0" marR="0" lvl="0" indent="0" algn="l" defTabSz="913578" rtl="0" eaLnBrk="1" fontAlgn="auto" latinLnBrk="0" hangingPunct="1">
                  <a:lnSpc>
                    <a:spcPct val="100000"/>
                  </a:lnSpc>
                  <a:spcBef>
                    <a:spcPts val="0"/>
                  </a:spcBef>
                  <a:spcAft>
                    <a:spcPts val="0"/>
                  </a:spcAft>
                  <a:buClrTx/>
                  <a:buSzTx/>
                  <a:buFontTx/>
                  <a:buNone/>
                  <a:tabLst/>
                  <a:defRPr/>
                </a:pPr>
                <a:endParaRPr kumimoji="0" lang="en-US" sz="17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415" name="Freeform: Shape 240">
                <a:extLst>
                  <a:ext uri="{FF2B5EF4-FFF2-40B4-BE49-F238E27FC236}">
                    <a16:creationId xmlns:a16="http://schemas.microsoft.com/office/drawing/2014/main" id="{C15BC611-9C04-2828-FB42-C584E1FF6DDE}"/>
                  </a:ext>
                </a:extLst>
              </p:cNvPr>
              <p:cNvSpPr/>
              <p:nvPr/>
            </p:nvSpPr>
            <p:spPr>
              <a:xfrm>
                <a:off x="6699406" y="4165949"/>
                <a:ext cx="65563" cy="71913"/>
              </a:xfrm>
              <a:custGeom>
                <a:avLst/>
                <a:gdLst>
                  <a:gd name="connsiteX0" fmla="*/ 1050 w 65563"/>
                  <a:gd name="connsiteY0" fmla="*/ 41338 h 71913"/>
                  <a:gd name="connsiteX1" fmla="*/ 384 w 65563"/>
                  <a:gd name="connsiteY1" fmla="*/ 32290 h 71913"/>
                  <a:gd name="connsiteX2" fmla="*/ 5241 w 65563"/>
                  <a:gd name="connsiteY2" fmla="*/ 23527 h 71913"/>
                  <a:gd name="connsiteX3" fmla="*/ 19910 w 65563"/>
                  <a:gd name="connsiteY3" fmla="*/ 17145 h 71913"/>
                  <a:gd name="connsiteX4" fmla="*/ 35912 w 65563"/>
                  <a:gd name="connsiteY4" fmla="*/ 25432 h 71913"/>
                  <a:gd name="connsiteX5" fmla="*/ 45627 w 65563"/>
                  <a:gd name="connsiteY5" fmla="*/ 34100 h 71913"/>
                  <a:gd name="connsiteX6" fmla="*/ 47627 w 65563"/>
                  <a:gd name="connsiteY6" fmla="*/ 32004 h 71913"/>
                  <a:gd name="connsiteX7" fmla="*/ 50866 w 65563"/>
                  <a:gd name="connsiteY7" fmla="*/ 24479 h 71913"/>
                  <a:gd name="connsiteX8" fmla="*/ 46961 w 65563"/>
                  <a:gd name="connsiteY8" fmla="*/ 17907 h 71913"/>
                  <a:gd name="connsiteX9" fmla="*/ 30006 w 65563"/>
                  <a:gd name="connsiteY9" fmla="*/ 12287 h 71913"/>
                  <a:gd name="connsiteX10" fmla="*/ 31149 w 65563"/>
                  <a:gd name="connsiteY10" fmla="*/ 0 h 71913"/>
                  <a:gd name="connsiteX11" fmla="*/ 55724 w 65563"/>
                  <a:gd name="connsiteY11" fmla="*/ 9525 h 71913"/>
                  <a:gd name="connsiteX12" fmla="*/ 65439 w 65563"/>
                  <a:gd name="connsiteY12" fmla="*/ 26003 h 71913"/>
                  <a:gd name="connsiteX13" fmla="*/ 59343 w 65563"/>
                  <a:gd name="connsiteY13" fmla="*/ 42196 h 71913"/>
                  <a:gd name="connsiteX14" fmla="*/ 44389 w 65563"/>
                  <a:gd name="connsiteY14" fmla="*/ 58484 h 71913"/>
                  <a:gd name="connsiteX15" fmla="*/ 32673 w 65563"/>
                  <a:gd name="connsiteY15" fmla="*/ 71914 h 71913"/>
                  <a:gd name="connsiteX16" fmla="*/ 21719 w 65563"/>
                  <a:gd name="connsiteY16" fmla="*/ 61913 h 71913"/>
                  <a:gd name="connsiteX17" fmla="*/ 27149 w 65563"/>
                  <a:gd name="connsiteY17" fmla="*/ 55436 h 71913"/>
                  <a:gd name="connsiteX18" fmla="*/ 26863 w 65563"/>
                  <a:gd name="connsiteY18" fmla="*/ 55245 h 71913"/>
                  <a:gd name="connsiteX19" fmla="*/ 16385 w 65563"/>
                  <a:gd name="connsiteY19" fmla="*/ 55245 h 71913"/>
                  <a:gd name="connsiteX20" fmla="*/ 6574 w 65563"/>
                  <a:gd name="connsiteY20" fmla="*/ 49625 h 71913"/>
                  <a:gd name="connsiteX21" fmla="*/ 764 w 65563"/>
                  <a:gd name="connsiteY21" fmla="*/ 41434 h 71913"/>
                  <a:gd name="connsiteX22" fmla="*/ 24767 w 65563"/>
                  <a:gd name="connsiteY22" fmla="*/ 47435 h 71913"/>
                  <a:gd name="connsiteX23" fmla="*/ 31530 w 65563"/>
                  <a:gd name="connsiteY23" fmla="*/ 47054 h 71913"/>
                  <a:gd name="connsiteX24" fmla="*/ 37055 w 65563"/>
                  <a:gd name="connsiteY24" fmla="*/ 43529 h 71913"/>
                  <a:gd name="connsiteX25" fmla="*/ 39150 w 65563"/>
                  <a:gd name="connsiteY25" fmla="*/ 41243 h 71913"/>
                  <a:gd name="connsiteX26" fmla="*/ 33150 w 65563"/>
                  <a:gd name="connsiteY26" fmla="*/ 35814 h 71913"/>
                  <a:gd name="connsiteX27" fmla="*/ 27625 w 65563"/>
                  <a:gd name="connsiteY27" fmla="*/ 31909 h 71913"/>
                  <a:gd name="connsiteX28" fmla="*/ 22958 w 65563"/>
                  <a:gd name="connsiteY28" fmla="*/ 30766 h 71913"/>
                  <a:gd name="connsiteX29" fmla="*/ 18195 w 65563"/>
                  <a:gd name="connsiteY29" fmla="*/ 33528 h 71913"/>
                  <a:gd name="connsiteX30" fmla="*/ 15814 w 65563"/>
                  <a:gd name="connsiteY30" fmla="*/ 39053 h 71913"/>
                  <a:gd name="connsiteX31" fmla="*/ 18481 w 65563"/>
                  <a:gd name="connsiteY31" fmla="*/ 44101 h 71913"/>
                  <a:gd name="connsiteX32" fmla="*/ 24767 w 65563"/>
                  <a:gd name="connsiteY32" fmla="*/ 47435 h 71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5563" h="71913">
                    <a:moveTo>
                      <a:pt x="1050" y="41338"/>
                    </a:moveTo>
                    <a:cubicBezTo>
                      <a:pt x="-93" y="38386"/>
                      <a:pt x="-283" y="35433"/>
                      <a:pt x="384" y="32290"/>
                    </a:cubicBezTo>
                    <a:cubicBezTo>
                      <a:pt x="1050" y="29242"/>
                      <a:pt x="2669" y="26289"/>
                      <a:pt x="5241" y="23527"/>
                    </a:cubicBezTo>
                    <a:cubicBezTo>
                      <a:pt x="9813" y="18574"/>
                      <a:pt x="14671" y="16478"/>
                      <a:pt x="19910" y="17145"/>
                    </a:cubicBezTo>
                    <a:cubicBezTo>
                      <a:pt x="25148" y="17812"/>
                      <a:pt x="30482" y="20574"/>
                      <a:pt x="35912" y="25432"/>
                    </a:cubicBezTo>
                    <a:lnTo>
                      <a:pt x="45627" y="34100"/>
                    </a:lnTo>
                    <a:lnTo>
                      <a:pt x="47627" y="32004"/>
                    </a:lnTo>
                    <a:cubicBezTo>
                      <a:pt x="50104" y="29242"/>
                      <a:pt x="51247" y="26765"/>
                      <a:pt x="50866" y="24479"/>
                    </a:cubicBezTo>
                    <a:cubicBezTo>
                      <a:pt x="50485" y="22193"/>
                      <a:pt x="49247" y="20003"/>
                      <a:pt x="46961" y="17907"/>
                    </a:cubicBezTo>
                    <a:cubicBezTo>
                      <a:pt x="43055" y="14288"/>
                      <a:pt x="37436" y="12478"/>
                      <a:pt x="30006" y="12287"/>
                    </a:cubicBezTo>
                    <a:lnTo>
                      <a:pt x="31149" y="0"/>
                    </a:lnTo>
                    <a:cubicBezTo>
                      <a:pt x="40769" y="191"/>
                      <a:pt x="48961" y="3334"/>
                      <a:pt x="55724" y="9525"/>
                    </a:cubicBezTo>
                    <a:cubicBezTo>
                      <a:pt x="61534" y="14859"/>
                      <a:pt x="64773" y="20288"/>
                      <a:pt x="65439" y="26003"/>
                    </a:cubicBezTo>
                    <a:cubicBezTo>
                      <a:pt x="66106" y="31623"/>
                      <a:pt x="64106" y="37052"/>
                      <a:pt x="59343" y="42196"/>
                    </a:cubicBezTo>
                    <a:lnTo>
                      <a:pt x="44389" y="58484"/>
                    </a:lnTo>
                    <a:cubicBezTo>
                      <a:pt x="39912" y="63341"/>
                      <a:pt x="36007" y="67818"/>
                      <a:pt x="32673" y="71914"/>
                    </a:cubicBezTo>
                    <a:lnTo>
                      <a:pt x="21719" y="61913"/>
                    </a:lnTo>
                    <a:cubicBezTo>
                      <a:pt x="23339" y="59817"/>
                      <a:pt x="25148" y="57626"/>
                      <a:pt x="27149" y="55436"/>
                    </a:cubicBezTo>
                    <a:lnTo>
                      <a:pt x="26863" y="55245"/>
                    </a:lnTo>
                    <a:cubicBezTo>
                      <a:pt x="23339" y="56197"/>
                      <a:pt x="19814" y="56197"/>
                      <a:pt x="16385" y="55245"/>
                    </a:cubicBezTo>
                    <a:cubicBezTo>
                      <a:pt x="12957" y="54293"/>
                      <a:pt x="9622" y="52483"/>
                      <a:pt x="6574" y="49625"/>
                    </a:cubicBezTo>
                    <a:cubicBezTo>
                      <a:pt x="3812" y="47149"/>
                      <a:pt x="1907" y="44387"/>
                      <a:pt x="764" y="41434"/>
                    </a:cubicBezTo>
                    <a:close/>
                    <a:moveTo>
                      <a:pt x="24767" y="47435"/>
                    </a:moveTo>
                    <a:cubicBezTo>
                      <a:pt x="27053" y="47911"/>
                      <a:pt x="29339" y="47816"/>
                      <a:pt x="31530" y="47054"/>
                    </a:cubicBezTo>
                    <a:cubicBezTo>
                      <a:pt x="33721" y="46387"/>
                      <a:pt x="35531" y="45148"/>
                      <a:pt x="37055" y="43529"/>
                    </a:cubicBezTo>
                    <a:lnTo>
                      <a:pt x="39150" y="41243"/>
                    </a:lnTo>
                    <a:lnTo>
                      <a:pt x="33150" y="35814"/>
                    </a:lnTo>
                    <a:cubicBezTo>
                      <a:pt x="31054" y="34100"/>
                      <a:pt x="29149" y="32766"/>
                      <a:pt x="27625" y="31909"/>
                    </a:cubicBezTo>
                    <a:cubicBezTo>
                      <a:pt x="26101" y="31052"/>
                      <a:pt x="24577" y="30671"/>
                      <a:pt x="22958" y="30766"/>
                    </a:cubicBezTo>
                    <a:cubicBezTo>
                      <a:pt x="21339" y="30861"/>
                      <a:pt x="19814" y="31813"/>
                      <a:pt x="18195" y="33528"/>
                    </a:cubicBezTo>
                    <a:cubicBezTo>
                      <a:pt x="16576" y="35338"/>
                      <a:pt x="15719" y="37147"/>
                      <a:pt x="15814" y="39053"/>
                    </a:cubicBezTo>
                    <a:cubicBezTo>
                      <a:pt x="15909" y="40862"/>
                      <a:pt x="16766" y="42577"/>
                      <a:pt x="18481" y="44101"/>
                    </a:cubicBezTo>
                    <a:cubicBezTo>
                      <a:pt x="20386" y="45815"/>
                      <a:pt x="22482" y="46958"/>
                      <a:pt x="24767" y="47435"/>
                    </a:cubicBezTo>
                    <a:close/>
                  </a:path>
                </a:pathLst>
              </a:custGeom>
              <a:solidFill>
                <a:srgbClr val="231F20"/>
              </a:solidFill>
              <a:ln w="9525" cap="flat">
                <a:noFill/>
                <a:prstDash val="solid"/>
                <a:miter/>
              </a:ln>
            </p:spPr>
            <p:txBody>
              <a:bodyPr rtlCol="0" anchor="ctr"/>
              <a:lstStyle/>
              <a:p>
                <a:pPr marL="0" marR="0" lvl="0" indent="0" algn="l" defTabSz="913578" rtl="0" eaLnBrk="1" fontAlgn="auto" latinLnBrk="0" hangingPunct="1">
                  <a:lnSpc>
                    <a:spcPct val="100000"/>
                  </a:lnSpc>
                  <a:spcBef>
                    <a:spcPts val="0"/>
                  </a:spcBef>
                  <a:spcAft>
                    <a:spcPts val="0"/>
                  </a:spcAft>
                  <a:buClrTx/>
                  <a:buSzTx/>
                  <a:buFontTx/>
                  <a:buNone/>
                  <a:tabLst/>
                  <a:defRPr/>
                </a:pPr>
                <a:endParaRPr kumimoji="0" lang="en-US" sz="17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416" name="Freeform: Shape 241">
                <a:extLst>
                  <a:ext uri="{FF2B5EF4-FFF2-40B4-BE49-F238E27FC236}">
                    <a16:creationId xmlns:a16="http://schemas.microsoft.com/office/drawing/2014/main" id="{2EC533B4-E6D8-CFF1-4B9D-827C734DD363}"/>
                  </a:ext>
                </a:extLst>
              </p:cNvPr>
              <p:cNvSpPr/>
              <p:nvPr/>
            </p:nvSpPr>
            <p:spPr>
              <a:xfrm>
                <a:off x="6741604" y="4190333"/>
                <a:ext cx="74890" cy="89290"/>
              </a:xfrm>
              <a:custGeom>
                <a:avLst/>
                <a:gdLst>
                  <a:gd name="connsiteX0" fmla="*/ 17145 w 74890"/>
                  <a:gd name="connsiteY0" fmla="*/ 72962 h 89290"/>
                  <a:gd name="connsiteX1" fmla="*/ 17240 w 74890"/>
                  <a:gd name="connsiteY1" fmla="*/ 62389 h 89290"/>
                  <a:gd name="connsiteX2" fmla="*/ 17240 w 74890"/>
                  <a:gd name="connsiteY2" fmla="*/ 62389 h 89290"/>
                  <a:gd name="connsiteX3" fmla="*/ 13430 w 74890"/>
                  <a:gd name="connsiteY3" fmla="*/ 65532 h 89290"/>
                  <a:gd name="connsiteX4" fmla="*/ 10477 w 74890"/>
                  <a:gd name="connsiteY4" fmla="*/ 67628 h 89290"/>
                  <a:gd name="connsiteX5" fmla="*/ 0 w 74890"/>
                  <a:gd name="connsiteY5" fmla="*/ 56579 h 89290"/>
                  <a:gd name="connsiteX6" fmla="*/ 10382 w 74890"/>
                  <a:gd name="connsiteY6" fmla="*/ 47435 h 89290"/>
                  <a:gd name="connsiteX7" fmla="*/ 60579 w 74890"/>
                  <a:gd name="connsiteY7" fmla="*/ 0 h 89290"/>
                  <a:gd name="connsiteX8" fmla="*/ 71342 w 74890"/>
                  <a:gd name="connsiteY8" fmla="*/ 11430 h 89290"/>
                  <a:gd name="connsiteX9" fmla="*/ 54483 w 74890"/>
                  <a:gd name="connsiteY9" fmla="*/ 27337 h 89290"/>
                  <a:gd name="connsiteX10" fmla="*/ 50672 w 74890"/>
                  <a:gd name="connsiteY10" fmla="*/ 30861 h 89290"/>
                  <a:gd name="connsiteX11" fmla="*/ 48101 w 74890"/>
                  <a:gd name="connsiteY11" fmla="*/ 33052 h 89290"/>
                  <a:gd name="connsiteX12" fmla="*/ 48291 w 74890"/>
                  <a:gd name="connsiteY12" fmla="*/ 33242 h 89290"/>
                  <a:gd name="connsiteX13" fmla="*/ 59436 w 74890"/>
                  <a:gd name="connsiteY13" fmla="*/ 33528 h 89290"/>
                  <a:gd name="connsiteX14" fmla="*/ 69056 w 74890"/>
                  <a:gd name="connsiteY14" fmla="*/ 40005 h 89290"/>
                  <a:gd name="connsiteX15" fmla="*/ 74771 w 74890"/>
                  <a:gd name="connsiteY15" fmla="*/ 51816 h 89290"/>
                  <a:gd name="connsiteX16" fmla="*/ 72104 w 74890"/>
                  <a:gd name="connsiteY16" fmla="*/ 65056 h 89290"/>
                  <a:gd name="connsiteX17" fmla="*/ 62198 w 74890"/>
                  <a:gd name="connsiteY17" fmla="*/ 78010 h 89290"/>
                  <a:gd name="connsiteX18" fmla="*/ 48387 w 74890"/>
                  <a:gd name="connsiteY18" fmla="*/ 87249 h 89290"/>
                  <a:gd name="connsiteX19" fmla="*/ 34671 w 74890"/>
                  <a:gd name="connsiteY19" fmla="*/ 88963 h 89290"/>
                  <a:gd name="connsiteX20" fmla="*/ 22860 w 74890"/>
                  <a:gd name="connsiteY20" fmla="*/ 82296 h 89290"/>
                  <a:gd name="connsiteX21" fmla="*/ 17335 w 74890"/>
                  <a:gd name="connsiteY21" fmla="*/ 72962 h 89290"/>
                  <a:gd name="connsiteX22" fmla="*/ 38005 w 74890"/>
                  <a:gd name="connsiteY22" fmla="*/ 73438 h 89290"/>
                  <a:gd name="connsiteX23" fmla="*/ 50863 w 74890"/>
                  <a:gd name="connsiteY23" fmla="*/ 66104 h 89290"/>
                  <a:gd name="connsiteX24" fmla="*/ 58674 w 74890"/>
                  <a:gd name="connsiteY24" fmla="*/ 54197 h 89290"/>
                  <a:gd name="connsiteX25" fmla="*/ 55816 w 74890"/>
                  <a:gd name="connsiteY25" fmla="*/ 44291 h 89290"/>
                  <a:gd name="connsiteX26" fmla="*/ 46005 w 74890"/>
                  <a:gd name="connsiteY26" fmla="*/ 40386 h 89290"/>
                  <a:gd name="connsiteX27" fmla="*/ 32765 w 74890"/>
                  <a:gd name="connsiteY27" fmla="*/ 47530 h 89290"/>
                  <a:gd name="connsiteX28" fmla="*/ 26098 w 74890"/>
                  <a:gd name="connsiteY28" fmla="*/ 56483 h 89290"/>
                  <a:gd name="connsiteX29" fmla="*/ 25146 w 74890"/>
                  <a:gd name="connsiteY29" fmla="*/ 64103 h 89290"/>
                  <a:gd name="connsiteX30" fmla="*/ 28384 w 74890"/>
                  <a:gd name="connsiteY30" fmla="*/ 70104 h 89290"/>
                  <a:gd name="connsiteX31" fmla="*/ 38100 w 74890"/>
                  <a:gd name="connsiteY31" fmla="*/ 73438 h 892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74890" h="89290">
                    <a:moveTo>
                      <a:pt x="17145" y="72962"/>
                    </a:moveTo>
                    <a:cubicBezTo>
                      <a:pt x="16002" y="69533"/>
                      <a:pt x="16097" y="66008"/>
                      <a:pt x="17240" y="62389"/>
                    </a:cubicBezTo>
                    <a:lnTo>
                      <a:pt x="17240" y="62389"/>
                    </a:lnTo>
                    <a:cubicBezTo>
                      <a:pt x="16192" y="63246"/>
                      <a:pt x="14954" y="64389"/>
                      <a:pt x="13430" y="65532"/>
                    </a:cubicBezTo>
                    <a:cubicBezTo>
                      <a:pt x="11906" y="66675"/>
                      <a:pt x="10953" y="67437"/>
                      <a:pt x="10477" y="67628"/>
                    </a:cubicBezTo>
                    <a:lnTo>
                      <a:pt x="0" y="56579"/>
                    </a:lnTo>
                    <a:cubicBezTo>
                      <a:pt x="2762" y="54388"/>
                      <a:pt x="6191" y="51340"/>
                      <a:pt x="10382" y="47435"/>
                    </a:cubicBezTo>
                    <a:lnTo>
                      <a:pt x="60579" y="0"/>
                    </a:lnTo>
                    <a:lnTo>
                      <a:pt x="71342" y="11430"/>
                    </a:lnTo>
                    <a:lnTo>
                      <a:pt x="54483" y="27337"/>
                    </a:lnTo>
                    <a:cubicBezTo>
                      <a:pt x="53244" y="28480"/>
                      <a:pt x="52006" y="29718"/>
                      <a:pt x="50672" y="30861"/>
                    </a:cubicBezTo>
                    <a:cubicBezTo>
                      <a:pt x="49339" y="32004"/>
                      <a:pt x="48482" y="32766"/>
                      <a:pt x="48101" y="33052"/>
                    </a:cubicBezTo>
                    <a:lnTo>
                      <a:pt x="48291" y="33242"/>
                    </a:lnTo>
                    <a:cubicBezTo>
                      <a:pt x="52197" y="32195"/>
                      <a:pt x="55912" y="32290"/>
                      <a:pt x="59436" y="33528"/>
                    </a:cubicBezTo>
                    <a:cubicBezTo>
                      <a:pt x="62960" y="34766"/>
                      <a:pt x="66198" y="36957"/>
                      <a:pt x="69056" y="40005"/>
                    </a:cubicBezTo>
                    <a:cubicBezTo>
                      <a:pt x="72390" y="43529"/>
                      <a:pt x="74295" y="47530"/>
                      <a:pt x="74771" y="51816"/>
                    </a:cubicBezTo>
                    <a:cubicBezTo>
                      <a:pt x="75247" y="56102"/>
                      <a:pt x="74295" y="60579"/>
                      <a:pt x="72104" y="65056"/>
                    </a:cubicBezTo>
                    <a:cubicBezTo>
                      <a:pt x="69913" y="69533"/>
                      <a:pt x="66580" y="73914"/>
                      <a:pt x="62198" y="78010"/>
                    </a:cubicBezTo>
                    <a:cubicBezTo>
                      <a:pt x="57721" y="82296"/>
                      <a:pt x="53054" y="85344"/>
                      <a:pt x="48387" y="87249"/>
                    </a:cubicBezTo>
                    <a:cubicBezTo>
                      <a:pt x="43624" y="89154"/>
                      <a:pt x="39148" y="89726"/>
                      <a:pt x="34671" y="88963"/>
                    </a:cubicBezTo>
                    <a:cubicBezTo>
                      <a:pt x="30194" y="88202"/>
                      <a:pt x="26289" y="86011"/>
                      <a:pt x="22860" y="82296"/>
                    </a:cubicBezTo>
                    <a:cubicBezTo>
                      <a:pt x="20288" y="79534"/>
                      <a:pt x="18383" y="76391"/>
                      <a:pt x="17335" y="72962"/>
                    </a:cubicBezTo>
                    <a:close/>
                    <a:moveTo>
                      <a:pt x="38005" y="73438"/>
                    </a:moveTo>
                    <a:cubicBezTo>
                      <a:pt x="41910" y="72962"/>
                      <a:pt x="46196" y="70485"/>
                      <a:pt x="50863" y="66104"/>
                    </a:cubicBezTo>
                    <a:cubicBezTo>
                      <a:pt x="55245" y="61913"/>
                      <a:pt x="57816" y="58007"/>
                      <a:pt x="58674" y="54197"/>
                    </a:cubicBezTo>
                    <a:cubicBezTo>
                      <a:pt x="59436" y="50387"/>
                      <a:pt x="58483" y="47149"/>
                      <a:pt x="55816" y="44291"/>
                    </a:cubicBezTo>
                    <a:cubicBezTo>
                      <a:pt x="53244" y="41529"/>
                      <a:pt x="49911" y="40196"/>
                      <a:pt x="46005" y="40386"/>
                    </a:cubicBezTo>
                    <a:cubicBezTo>
                      <a:pt x="42100" y="40481"/>
                      <a:pt x="37623" y="42863"/>
                      <a:pt x="32765" y="47530"/>
                    </a:cubicBezTo>
                    <a:cubicBezTo>
                      <a:pt x="29432" y="50673"/>
                      <a:pt x="27241" y="53626"/>
                      <a:pt x="26098" y="56483"/>
                    </a:cubicBezTo>
                    <a:cubicBezTo>
                      <a:pt x="24955" y="59341"/>
                      <a:pt x="24669" y="61817"/>
                      <a:pt x="25146" y="64103"/>
                    </a:cubicBezTo>
                    <a:cubicBezTo>
                      <a:pt x="25622" y="66389"/>
                      <a:pt x="26765" y="68389"/>
                      <a:pt x="28384" y="70104"/>
                    </a:cubicBezTo>
                    <a:cubicBezTo>
                      <a:pt x="30956" y="72866"/>
                      <a:pt x="34194" y="74009"/>
                      <a:pt x="38100" y="73438"/>
                    </a:cubicBezTo>
                    <a:close/>
                  </a:path>
                </a:pathLst>
              </a:custGeom>
              <a:solidFill>
                <a:srgbClr val="231F20"/>
              </a:solidFill>
              <a:ln w="9525" cap="flat">
                <a:noFill/>
                <a:prstDash val="solid"/>
                <a:miter/>
              </a:ln>
            </p:spPr>
            <p:txBody>
              <a:bodyPr rtlCol="0" anchor="ctr"/>
              <a:lstStyle/>
              <a:p>
                <a:pPr marL="0" marR="0" lvl="0" indent="0" algn="l" defTabSz="913578" rtl="0" eaLnBrk="1" fontAlgn="auto" latinLnBrk="0" hangingPunct="1">
                  <a:lnSpc>
                    <a:spcPct val="100000"/>
                  </a:lnSpc>
                  <a:spcBef>
                    <a:spcPts val="0"/>
                  </a:spcBef>
                  <a:spcAft>
                    <a:spcPts val="0"/>
                  </a:spcAft>
                  <a:buClrTx/>
                  <a:buSzTx/>
                  <a:buFontTx/>
                  <a:buNone/>
                  <a:tabLst/>
                  <a:defRPr/>
                </a:pPr>
                <a:endParaRPr kumimoji="0" lang="en-US" sz="17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417" name="Freeform: Shape 242">
                <a:extLst>
                  <a:ext uri="{FF2B5EF4-FFF2-40B4-BE49-F238E27FC236}">
                    <a16:creationId xmlns:a16="http://schemas.microsoft.com/office/drawing/2014/main" id="{016BE1AB-1C31-C680-2E8E-AF07DBAF50F3}"/>
                  </a:ext>
                </a:extLst>
              </p:cNvPr>
              <p:cNvSpPr/>
              <p:nvPr/>
            </p:nvSpPr>
            <p:spPr>
              <a:xfrm>
                <a:off x="6793649" y="4244435"/>
                <a:ext cx="68351" cy="72295"/>
              </a:xfrm>
              <a:custGeom>
                <a:avLst/>
                <a:gdLst>
                  <a:gd name="connsiteX0" fmla="*/ 57 w 68351"/>
                  <a:gd name="connsiteY0" fmla="*/ 54293 h 72295"/>
                  <a:gd name="connsiteX1" fmla="*/ 6058 w 68351"/>
                  <a:gd name="connsiteY1" fmla="*/ 44006 h 72295"/>
                  <a:gd name="connsiteX2" fmla="*/ 58255 w 68351"/>
                  <a:gd name="connsiteY2" fmla="*/ 0 h 72295"/>
                  <a:gd name="connsiteX3" fmla="*/ 68351 w 68351"/>
                  <a:gd name="connsiteY3" fmla="*/ 12002 h 72295"/>
                  <a:gd name="connsiteX4" fmla="*/ 19202 w 68351"/>
                  <a:gd name="connsiteY4" fmla="*/ 53531 h 72295"/>
                  <a:gd name="connsiteX5" fmla="*/ 16345 w 68351"/>
                  <a:gd name="connsiteY5" fmla="*/ 56483 h 72295"/>
                  <a:gd name="connsiteX6" fmla="*/ 15773 w 68351"/>
                  <a:gd name="connsiteY6" fmla="*/ 59055 h 72295"/>
                  <a:gd name="connsiteX7" fmla="*/ 17488 w 68351"/>
                  <a:gd name="connsiteY7" fmla="*/ 62008 h 72295"/>
                  <a:gd name="connsiteX8" fmla="*/ 19583 w 68351"/>
                  <a:gd name="connsiteY8" fmla="*/ 64008 h 72295"/>
                  <a:gd name="connsiteX9" fmla="*/ 10725 w 68351"/>
                  <a:gd name="connsiteY9" fmla="*/ 72295 h 72295"/>
                  <a:gd name="connsiteX10" fmla="*/ 4724 w 68351"/>
                  <a:gd name="connsiteY10" fmla="*/ 66485 h 72295"/>
                  <a:gd name="connsiteX11" fmla="*/ 57 w 68351"/>
                  <a:gd name="connsiteY11" fmla="*/ 54483 h 72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8351" h="72295">
                    <a:moveTo>
                      <a:pt x="57" y="54293"/>
                    </a:moveTo>
                    <a:cubicBezTo>
                      <a:pt x="438" y="50483"/>
                      <a:pt x="2534" y="47054"/>
                      <a:pt x="6058" y="44006"/>
                    </a:cubicBezTo>
                    <a:lnTo>
                      <a:pt x="58255" y="0"/>
                    </a:lnTo>
                    <a:lnTo>
                      <a:pt x="68351" y="12002"/>
                    </a:lnTo>
                    <a:lnTo>
                      <a:pt x="19202" y="53531"/>
                    </a:lnTo>
                    <a:cubicBezTo>
                      <a:pt x="17869" y="54674"/>
                      <a:pt x="16916" y="55626"/>
                      <a:pt x="16345" y="56483"/>
                    </a:cubicBezTo>
                    <a:cubicBezTo>
                      <a:pt x="15773" y="57341"/>
                      <a:pt x="15583" y="58103"/>
                      <a:pt x="15773" y="59055"/>
                    </a:cubicBezTo>
                    <a:cubicBezTo>
                      <a:pt x="15964" y="59912"/>
                      <a:pt x="16535" y="60865"/>
                      <a:pt x="17488" y="62008"/>
                    </a:cubicBezTo>
                    <a:cubicBezTo>
                      <a:pt x="18059" y="62675"/>
                      <a:pt x="18726" y="63341"/>
                      <a:pt x="19583" y="64008"/>
                    </a:cubicBezTo>
                    <a:lnTo>
                      <a:pt x="10725" y="72295"/>
                    </a:lnTo>
                    <a:cubicBezTo>
                      <a:pt x="8630" y="70580"/>
                      <a:pt x="6629" y="68675"/>
                      <a:pt x="4724" y="66485"/>
                    </a:cubicBezTo>
                    <a:cubicBezTo>
                      <a:pt x="1200" y="62294"/>
                      <a:pt x="-324" y="58293"/>
                      <a:pt x="57" y="54483"/>
                    </a:cubicBezTo>
                    <a:close/>
                  </a:path>
                </a:pathLst>
              </a:custGeom>
              <a:solidFill>
                <a:srgbClr val="231F20"/>
              </a:solidFill>
              <a:ln w="9525" cap="flat">
                <a:noFill/>
                <a:prstDash val="solid"/>
                <a:miter/>
              </a:ln>
            </p:spPr>
            <p:txBody>
              <a:bodyPr rtlCol="0" anchor="ctr"/>
              <a:lstStyle/>
              <a:p>
                <a:pPr marL="0" marR="0" lvl="0" indent="0" algn="l" defTabSz="913578" rtl="0" eaLnBrk="1" fontAlgn="auto" latinLnBrk="0" hangingPunct="1">
                  <a:lnSpc>
                    <a:spcPct val="100000"/>
                  </a:lnSpc>
                  <a:spcBef>
                    <a:spcPts val="0"/>
                  </a:spcBef>
                  <a:spcAft>
                    <a:spcPts val="0"/>
                  </a:spcAft>
                  <a:buClrTx/>
                  <a:buSzTx/>
                  <a:buFontTx/>
                  <a:buNone/>
                  <a:tabLst/>
                  <a:defRPr/>
                </a:pPr>
                <a:endParaRPr kumimoji="0" lang="en-US" sz="17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418" name="Freeform: Shape 243">
                <a:extLst>
                  <a:ext uri="{FF2B5EF4-FFF2-40B4-BE49-F238E27FC236}">
                    <a16:creationId xmlns:a16="http://schemas.microsoft.com/office/drawing/2014/main" id="{083B9DA4-BCE8-9A95-841A-7700DA06EB62}"/>
                  </a:ext>
                </a:extLst>
              </p:cNvPr>
              <p:cNvSpPr/>
              <p:nvPr/>
            </p:nvSpPr>
            <p:spPr>
              <a:xfrm>
                <a:off x="6817613" y="4294214"/>
                <a:ext cx="62435" cy="64330"/>
              </a:xfrm>
              <a:custGeom>
                <a:avLst/>
                <a:gdLst>
                  <a:gd name="connsiteX0" fmla="*/ 191 w 62435"/>
                  <a:gd name="connsiteY0" fmla="*/ 28230 h 64330"/>
                  <a:gd name="connsiteX1" fmla="*/ 14288 w 62435"/>
                  <a:gd name="connsiteY1" fmla="*/ 7847 h 64330"/>
                  <a:gd name="connsiteX2" fmla="*/ 30576 w 62435"/>
                  <a:gd name="connsiteY2" fmla="*/ 322 h 64330"/>
                  <a:gd name="connsiteX3" fmla="*/ 45054 w 62435"/>
                  <a:gd name="connsiteY3" fmla="*/ 2227 h 64330"/>
                  <a:gd name="connsiteX4" fmla="*/ 56389 w 62435"/>
                  <a:gd name="connsiteY4" fmla="*/ 11657 h 64330"/>
                  <a:gd name="connsiteX5" fmla="*/ 62389 w 62435"/>
                  <a:gd name="connsiteY5" fmla="*/ 26135 h 64330"/>
                  <a:gd name="connsiteX6" fmla="*/ 59341 w 62435"/>
                  <a:gd name="connsiteY6" fmla="*/ 39470 h 64330"/>
                  <a:gd name="connsiteX7" fmla="*/ 49340 w 62435"/>
                  <a:gd name="connsiteY7" fmla="*/ 50519 h 64330"/>
                  <a:gd name="connsiteX8" fmla="*/ 44102 w 62435"/>
                  <a:gd name="connsiteY8" fmla="*/ 54043 h 64330"/>
                  <a:gd name="connsiteX9" fmla="*/ 20861 w 62435"/>
                  <a:gd name="connsiteY9" fmla="*/ 23468 h 64330"/>
                  <a:gd name="connsiteX10" fmla="*/ 14002 w 62435"/>
                  <a:gd name="connsiteY10" fmla="*/ 32898 h 64330"/>
                  <a:gd name="connsiteX11" fmla="*/ 17050 w 62435"/>
                  <a:gd name="connsiteY11" fmla="*/ 43661 h 64330"/>
                  <a:gd name="connsiteX12" fmla="*/ 21051 w 62435"/>
                  <a:gd name="connsiteY12" fmla="*/ 47852 h 64330"/>
                  <a:gd name="connsiteX13" fmla="*/ 25718 w 62435"/>
                  <a:gd name="connsiteY13" fmla="*/ 50614 h 64330"/>
                  <a:gd name="connsiteX14" fmla="*/ 32481 w 62435"/>
                  <a:gd name="connsiteY14" fmla="*/ 53091 h 64330"/>
                  <a:gd name="connsiteX15" fmla="*/ 28194 w 62435"/>
                  <a:gd name="connsiteY15" fmla="*/ 64330 h 64330"/>
                  <a:gd name="connsiteX16" fmla="*/ 16765 w 62435"/>
                  <a:gd name="connsiteY16" fmla="*/ 59568 h 64330"/>
                  <a:gd name="connsiteX17" fmla="*/ 7049 w 62435"/>
                  <a:gd name="connsiteY17" fmla="*/ 50328 h 64330"/>
                  <a:gd name="connsiteX18" fmla="*/ 286 w 62435"/>
                  <a:gd name="connsiteY18" fmla="*/ 28326 h 64330"/>
                  <a:gd name="connsiteX19" fmla="*/ 43625 w 62435"/>
                  <a:gd name="connsiteY19" fmla="*/ 35755 h 64330"/>
                  <a:gd name="connsiteX20" fmla="*/ 49721 w 62435"/>
                  <a:gd name="connsiteY20" fmla="*/ 27183 h 64330"/>
                  <a:gd name="connsiteX21" fmla="*/ 47150 w 62435"/>
                  <a:gd name="connsiteY21" fmla="*/ 18420 h 64330"/>
                  <a:gd name="connsiteX22" fmla="*/ 39434 w 62435"/>
                  <a:gd name="connsiteY22" fmla="*/ 13657 h 64330"/>
                  <a:gd name="connsiteX23" fmla="*/ 29433 w 62435"/>
                  <a:gd name="connsiteY23" fmla="*/ 16991 h 64330"/>
                  <a:gd name="connsiteX24" fmla="*/ 43625 w 62435"/>
                  <a:gd name="connsiteY24" fmla="*/ 35660 h 64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62435" h="64330">
                    <a:moveTo>
                      <a:pt x="191" y="28230"/>
                    </a:moveTo>
                    <a:cubicBezTo>
                      <a:pt x="1239" y="20992"/>
                      <a:pt x="5906" y="14134"/>
                      <a:pt x="14288" y="7847"/>
                    </a:cubicBezTo>
                    <a:cubicBezTo>
                      <a:pt x="19813" y="3656"/>
                      <a:pt x="25242" y="1084"/>
                      <a:pt x="30576" y="322"/>
                    </a:cubicBezTo>
                    <a:cubicBezTo>
                      <a:pt x="35815" y="-440"/>
                      <a:pt x="40673" y="132"/>
                      <a:pt x="45054" y="2227"/>
                    </a:cubicBezTo>
                    <a:cubicBezTo>
                      <a:pt x="49436" y="4323"/>
                      <a:pt x="53245" y="7466"/>
                      <a:pt x="56389" y="11657"/>
                    </a:cubicBezTo>
                    <a:cubicBezTo>
                      <a:pt x="60103" y="16515"/>
                      <a:pt x="62104" y="21372"/>
                      <a:pt x="62389" y="26135"/>
                    </a:cubicBezTo>
                    <a:cubicBezTo>
                      <a:pt x="62675" y="30897"/>
                      <a:pt x="61627" y="35374"/>
                      <a:pt x="59341" y="39470"/>
                    </a:cubicBezTo>
                    <a:cubicBezTo>
                      <a:pt x="56960" y="43566"/>
                      <a:pt x="53627" y="47280"/>
                      <a:pt x="49340" y="50519"/>
                    </a:cubicBezTo>
                    <a:cubicBezTo>
                      <a:pt x="47626" y="51757"/>
                      <a:pt x="45911" y="52995"/>
                      <a:pt x="44102" y="54043"/>
                    </a:cubicBezTo>
                    <a:lnTo>
                      <a:pt x="20861" y="23468"/>
                    </a:lnTo>
                    <a:cubicBezTo>
                      <a:pt x="17146" y="26326"/>
                      <a:pt x="14860" y="29469"/>
                      <a:pt x="14002" y="32898"/>
                    </a:cubicBezTo>
                    <a:cubicBezTo>
                      <a:pt x="13145" y="36327"/>
                      <a:pt x="14193" y="39946"/>
                      <a:pt x="17050" y="43661"/>
                    </a:cubicBezTo>
                    <a:cubicBezTo>
                      <a:pt x="18289" y="45376"/>
                      <a:pt x="19718" y="46709"/>
                      <a:pt x="21051" y="47852"/>
                    </a:cubicBezTo>
                    <a:cubicBezTo>
                      <a:pt x="22480" y="48900"/>
                      <a:pt x="24004" y="49852"/>
                      <a:pt x="25718" y="50614"/>
                    </a:cubicBezTo>
                    <a:cubicBezTo>
                      <a:pt x="27433" y="51376"/>
                      <a:pt x="29623" y="52234"/>
                      <a:pt x="32481" y="53091"/>
                    </a:cubicBezTo>
                    <a:lnTo>
                      <a:pt x="28194" y="64330"/>
                    </a:lnTo>
                    <a:cubicBezTo>
                      <a:pt x="23909" y="63187"/>
                      <a:pt x="20098" y="61568"/>
                      <a:pt x="16765" y="59568"/>
                    </a:cubicBezTo>
                    <a:cubicBezTo>
                      <a:pt x="13431" y="57568"/>
                      <a:pt x="10193" y="54424"/>
                      <a:pt x="7049" y="50328"/>
                    </a:cubicBezTo>
                    <a:cubicBezTo>
                      <a:pt x="1429" y="42899"/>
                      <a:pt x="-857" y="35660"/>
                      <a:pt x="286" y="28326"/>
                    </a:cubicBezTo>
                    <a:close/>
                    <a:moveTo>
                      <a:pt x="43625" y="35755"/>
                    </a:moveTo>
                    <a:cubicBezTo>
                      <a:pt x="47150" y="32898"/>
                      <a:pt x="49149" y="30040"/>
                      <a:pt x="49721" y="27183"/>
                    </a:cubicBezTo>
                    <a:cubicBezTo>
                      <a:pt x="50292" y="24325"/>
                      <a:pt x="49436" y="21372"/>
                      <a:pt x="47150" y="18420"/>
                    </a:cubicBezTo>
                    <a:cubicBezTo>
                      <a:pt x="45054" y="15658"/>
                      <a:pt x="42482" y="14038"/>
                      <a:pt x="39434" y="13657"/>
                    </a:cubicBezTo>
                    <a:cubicBezTo>
                      <a:pt x="36386" y="13276"/>
                      <a:pt x="33052" y="14419"/>
                      <a:pt x="29433" y="16991"/>
                    </a:cubicBezTo>
                    <a:lnTo>
                      <a:pt x="43625" y="35660"/>
                    </a:lnTo>
                    <a:close/>
                  </a:path>
                </a:pathLst>
              </a:custGeom>
              <a:solidFill>
                <a:srgbClr val="231F20"/>
              </a:solidFill>
              <a:ln w="9525" cap="flat">
                <a:noFill/>
                <a:prstDash val="solid"/>
                <a:miter/>
              </a:ln>
            </p:spPr>
            <p:txBody>
              <a:bodyPr rtlCol="0" anchor="ctr"/>
              <a:lstStyle/>
              <a:p>
                <a:pPr marL="0" marR="0" lvl="0" indent="0" algn="l" defTabSz="913578" rtl="0" eaLnBrk="1" fontAlgn="auto" latinLnBrk="0" hangingPunct="1">
                  <a:lnSpc>
                    <a:spcPct val="100000"/>
                  </a:lnSpc>
                  <a:spcBef>
                    <a:spcPts val="0"/>
                  </a:spcBef>
                  <a:spcAft>
                    <a:spcPts val="0"/>
                  </a:spcAft>
                  <a:buClrTx/>
                  <a:buSzTx/>
                  <a:buFontTx/>
                  <a:buNone/>
                  <a:tabLst/>
                  <a:defRPr/>
                </a:pPr>
                <a:endParaRPr kumimoji="0" lang="en-US" sz="17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grpSp>
        <p:grpSp>
          <p:nvGrpSpPr>
            <p:cNvPr id="271" name="Graphic 2">
              <a:extLst>
                <a:ext uri="{FF2B5EF4-FFF2-40B4-BE49-F238E27FC236}">
                  <a16:creationId xmlns:a16="http://schemas.microsoft.com/office/drawing/2014/main" id="{CFFEA494-D945-10FE-9BE9-7BF4C02F9791}"/>
                </a:ext>
              </a:extLst>
            </p:cNvPr>
            <p:cNvGrpSpPr/>
            <p:nvPr/>
          </p:nvGrpSpPr>
          <p:grpSpPr>
            <a:xfrm>
              <a:off x="6804191" y="2424292"/>
              <a:ext cx="1566536" cy="303644"/>
              <a:chOff x="5510117" y="3184588"/>
              <a:chExt cx="1178528" cy="221265"/>
            </a:xfrm>
            <a:solidFill>
              <a:srgbClr val="231F20"/>
            </a:solidFill>
          </p:grpSpPr>
          <p:sp>
            <p:nvSpPr>
              <p:cNvPr id="356" name="Freeform: Shape 181">
                <a:extLst>
                  <a:ext uri="{FF2B5EF4-FFF2-40B4-BE49-F238E27FC236}">
                    <a16:creationId xmlns:a16="http://schemas.microsoft.com/office/drawing/2014/main" id="{8D5E4383-5100-B277-3268-52E53FD94350}"/>
                  </a:ext>
                </a:extLst>
              </p:cNvPr>
              <p:cNvSpPr/>
              <p:nvPr/>
            </p:nvSpPr>
            <p:spPr>
              <a:xfrm>
                <a:off x="5562028" y="3187541"/>
                <a:ext cx="64960" cy="80962"/>
              </a:xfrm>
              <a:custGeom>
                <a:avLst/>
                <a:gdLst>
                  <a:gd name="connsiteX0" fmla="*/ 0 w 64960"/>
                  <a:gd name="connsiteY0" fmla="*/ 67532 h 80962"/>
                  <a:gd name="connsiteX1" fmla="*/ 10573 w 64960"/>
                  <a:gd name="connsiteY1" fmla="*/ 56960 h 80962"/>
                  <a:gd name="connsiteX2" fmla="*/ 16383 w 64960"/>
                  <a:gd name="connsiteY2" fmla="*/ 62294 h 80962"/>
                  <a:gd name="connsiteX3" fmla="*/ 23336 w 64960"/>
                  <a:gd name="connsiteY3" fmla="*/ 65913 h 80962"/>
                  <a:gd name="connsiteX4" fmla="*/ 32575 w 64960"/>
                  <a:gd name="connsiteY4" fmla="*/ 67342 h 80962"/>
                  <a:gd name="connsiteX5" fmla="*/ 44577 w 64960"/>
                  <a:gd name="connsiteY5" fmla="*/ 64961 h 80962"/>
                  <a:gd name="connsiteX6" fmla="*/ 48768 w 64960"/>
                  <a:gd name="connsiteY6" fmla="*/ 58007 h 80962"/>
                  <a:gd name="connsiteX7" fmla="*/ 46577 w 64960"/>
                  <a:gd name="connsiteY7" fmla="*/ 52483 h 80962"/>
                  <a:gd name="connsiteX8" fmla="*/ 41053 w 64960"/>
                  <a:gd name="connsiteY8" fmla="*/ 49244 h 80962"/>
                  <a:gd name="connsiteX9" fmla="*/ 31813 w 64960"/>
                  <a:gd name="connsiteY9" fmla="*/ 46768 h 80962"/>
                  <a:gd name="connsiteX10" fmla="*/ 28670 w 64960"/>
                  <a:gd name="connsiteY10" fmla="*/ 46006 h 80962"/>
                  <a:gd name="connsiteX11" fmla="*/ 15430 w 64960"/>
                  <a:gd name="connsiteY11" fmla="*/ 41624 h 80962"/>
                  <a:gd name="connsiteX12" fmla="*/ 6477 w 64960"/>
                  <a:gd name="connsiteY12" fmla="*/ 34481 h 80962"/>
                  <a:gd name="connsiteX13" fmla="*/ 2953 w 64960"/>
                  <a:gd name="connsiteY13" fmla="*/ 22289 h 80962"/>
                  <a:gd name="connsiteX14" fmla="*/ 6763 w 64960"/>
                  <a:gd name="connsiteY14" fmla="*/ 10097 h 80962"/>
                  <a:gd name="connsiteX15" fmla="*/ 17431 w 64960"/>
                  <a:gd name="connsiteY15" fmla="*/ 2572 h 80962"/>
                  <a:gd name="connsiteX16" fmla="*/ 33147 w 64960"/>
                  <a:gd name="connsiteY16" fmla="*/ 0 h 80962"/>
                  <a:gd name="connsiteX17" fmla="*/ 49530 w 64960"/>
                  <a:gd name="connsiteY17" fmla="*/ 2667 h 80962"/>
                  <a:gd name="connsiteX18" fmla="*/ 62294 w 64960"/>
                  <a:gd name="connsiteY18" fmla="*/ 10954 h 80962"/>
                  <a:gd name="connsiteX19" fmla="*/ 52673 w 64960"/>
                  <a:gd name="connsiteY19" fmla="*/ 21336 h 80962"/>
                  <a:gd name="connsiteX20" fmla="*/ 43529 w 64960"/>
                  <a:gd name="connsiteY20" fmla="*/ 15240 h 80962"/>
                  <a:gd name="connsiteX21" fmla="*/ 32575 w 64960"/>
                  <a:gd name="connsiteY21" fmla="*/ 13049 h 80962"/>
                  <a:gd name="connsiteX22" fmla="*/ 22098 w 64960"/>
                  <a:gd name="connsiteY22" fmla="*/ 15335 h 80962"/>
                  <a:gd name="connsiteX23" fmla="*/ 18955 w 64960"/>
                  <a:gd name="connsiteY23" fmla="*/ 21241 h 80962"/>
                  <a:gd name="connsiteX24" fmla="*/ 20860 w 64960"/>
                  <a:gd name="connsiteY24" fmla="*/ 26479 h 80962"/>
                  <a:gd name="connsiteX25" fmla="*/ 25908 w 64960"/>
                  <a:gd name="connsiteY25" fmla="*/ 29528 h 80962"/>
                  <a:gd name="connsiteX26" fmla="*/ 35052 w 64960"/>
                  <a:gd name="connsiteY26" fmla="*/ 32004 h 80962"/>
                  <a:gd name="connsiteX27" fmla="*/ 36290 w 64960"/>
                  <a:gd name="connsiteY27" fmla="*/ 32290 h 80962"/>
                  <a:gd name="connsiteX28" fmla="*/ 51435 w 64960"/>
                  <a:gd name="connsiteY28" fmla="*/ 36767 h 80962"/>
                  <a:gd name="connsiteX29" fmla="*/ 61055 w 64960"/>
                  <a:gd name="connsiteY29" fmla="*/ 43815 h 80962"/>
                  <a:gd name="connsiteX30" fmla="*/ 64961 w 64960"/>
                  <a:gd name="connsiteY30" fmla="*/ 57055 h 80962"/>
                  <a:gd name="connsiteX31" fmla="*/ 61436 w 64960"/>
                  <a:gd name="connsiteY31" fmla="*/ 69628 h 80962"/>
                  <a:gd name="connsiteX32" fmla="*/ 50673 w 64960"/>
                  <a:gd name="connsiteY32" fmla="*/ 78010 h 80962"/>
                  <a:gd name="connsiteX33" fmla="*/ 32385 w 64960"/>
                  <a:gd name="connsiteY33" fmla="*/ 80963 h 80962"/>
                  <a:gd name="connsiteX34" fmla="*/ 286 w 64960"/>
                  <a:gd name="connsiteY34" fmla="*/ 67532 h 80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64960" h="80962">
                    <a:moveTo>
                      <a:pt x="0" y="67532"/>
                    </a:moveTo>
                    <a:lnTo>
                      <a:pt x="10573" y="56960"/>
                    </a:lnTo>
                    <a:cubicBezTo>
                      <a:pt x="12478" y="59055"/>
                      <a:pt x="14478" y="60865"/>
                      <a:pt x="16383" y="62294"/>
                    </a:cubicBezTo>
                    <a:cubicBezTo>
                      <a:pt x="18288" y="63722"/>
                      <a:pt x="20669" y="64961"/>
                      <a:pt x="23336" y="65913"/>
                    </a:cubicBezTo>
                    <a:cubicBezTo>
                      <a:pt x="26003" y="66866"/>
                      <a:pt x="29051" y="67342"/>
                      <a:pt x="32575" y="67342"/>
                    </a:cubicBezTo>
                    <a:cubicBezTo>
                      <a:pt x="37814" y="67342"/>
                      <a:pt x="41815" y="66580"/>
                      <a:pt x="44577" y="64961"/>
                    </a:cubicBezTo>
                    <a:cubicBezTo>
                      <a:pt x="47339" y="63341"/>
                      <a:pt x="48768" y="61055"/>
                      <a:pt x="48768" y="58007"/>
                    </a:cubicBezTo>
                    <a:cubicBezTo>
                      <a:pt x="48768" y="55721"/>
                      <a:pt x="48006" y="53912"/>
                      <a:pt x="46577" y="52483"/>
                    </a:cubicBezTo>
                    <a:cubicBezTo>
                      <a:pt x="45148" y="51054"/>
                      <a:pt x="43244" y="50006"/>
                      <a:pt x="41053" y="49244"/>
                    </a:cubicBezTo>
                    <a:cubicBezTo>
                      <a:pt x="38862" y="48482"/>
                      <a:pt x="35719" y="47625"/>
                      <a:pt x="31813" y="46768"/>
                    </a:cubicBezTo>
                    <a:cubicBezTo>
                      <a:pt x="30385" y="46482"/>
                      <a:pt x="29337" y="46196"/>
                      <a:pt x="28670" y="46006"/>
                    </a:cubicBezTo>
                    <a:cubicBezTo>
                      <a:pt x="23431" y="44768"/>
                      <a:pt x="19050" y="43244"/>
                      <a:pt x="15430" y="41624"/>
                    </a:cubicBezTo>
                    <a:cubicBezTo>
                      <a:pt x="11811" y="40005"/>
                      <a:pt x="8858" y="37624"/>
                      <a:pt x="6477" y="34481"/>
                    </a:cubicBezTo>
                    <a:cubicBezTo>
                      <a:pt x="4096" y="31337"/>
                      <a:pt x="2953" y="27337"/>
                      <a:pt x="2953" y="22289"/>
                    </a:cubicBezTo>
                    <a:cubicBezTo>
                      <a:pt x="2953" y="17240"/>
                      <a:pt x="4191" y="13430"/>
                      <a:pt x="6763" y="10097"/>
                    </a:cubicBezTo>
                    <a:cubicBezTo>
                      <a:pt x="9335" y="6763"/>
                      <a:pt x="12859" y="4191"/>
                      <a:pt x="17431" y="2572"/>
                    </a:cubicBezTo>
                    <a:cubicBezTo>
                      <a:pt x="22003" y="953"/>
                      <a:pt x="27241" y="0"/>
                      <a:pt x="33147" y="0"/>
                    </a:cubicBezTo>
                    <a:cubicBezTo>
                      <a:pt x="39053" y="0"/>
                      <a:pt x="44768" y="857"/>
                      <a:pt x="49530" y="2667"/>
                    </a:cubicBezTo>
                    <a:cubicBezTo>
                      <a:pt x="54293" y="4477"/>
                      <a:pt x="58483" y="7239"/>
                      <a:pt x="62294" y="10954"/>
                    </a:cubicBezTo>
                    <a:lnTo>
                      <a:pt x="52673" y="21336"/>
                    </a:lnTo>
                    <a:cubicBezTo>
                      <a:pt x="49816" y="18669"/>
                      <a:pt x="46768" y="16669"/>
                      <a:pt x="43529" y="15240"/>
                    </a:cubicBezTo>
                    <a:cubicBezTo>
                      <a:pt x="40291" y="13811"/>
                      <a:pt x="36671" y="13049"/>
                      <a:pt x="32575" y="13049"/>
                    </a:cubicBezTo>
                    <a:cubicBezTo>
                      <a:pt x="27718" y="13049"/>
                      <a:pt x="24289" y="13811"/>
                      <a:pt x="22098" y="15335"/>
                    </a:cubicBezTo>
                    <a:cubicBezTo>
                      <a:pt x="19907" y="16859"/>
                      <a:pt x="18955" y="18860"/>
                      <a:pt x="18955" y="21241"/>
                    </a:cubicBezTo>
                    <a:cubicBezTo>
                      <a:pt x="18955" y="23432"/>
                      <a:pt x="19621" y="25146"/>
                      <a:pt x="20860" y="26479"/>
                    </a:cubicBezTo>
                    <a:cubicBezTo>
                      <a:pt x="22098" y="27813"/>
                      <a:pt x="23813" y="28766"/>
                      <a:pt x="25908" y="29528"/>
                    </a:cubicBezTo>
                    <a:cubicBezTo>
                      <a:pt x="28004" y="30290"/>
                      <a:pt x="31052" y="31052"/>
                      <a:pt x="35052" y="32004"/>
                    </a:cubicBezTo>
                    <a:lnTo>
                      <a:pt x="36290" y="32290"/>
                    </a:lnTo>
                    <a:cubicBezTo>
                      <a:pt x="42577" y="33719"/>
                      <a:pt x="47625" y="35243"/>
                      <a:pt x="51435" y="36767"/>
                    </a:cubicBezTo>
                    <a:cubicBezTo>
                      <a:pt x="55245" y="38291"/>
                      <a:pt x="58483" y="40672"/>
                      <a:pt x="61055" y="43815"/>
                    </a:cubicBezTo>
                    <a:cubicBezTo>
                      <a:pt x="63627" y="46958"/>
                      <a:pt x="64961" y="51435"/>
                      <a:pt x="64961" y="57055"/>
                    </a:cubicBezTo>
                    <a:cubicBezTo>
                      <a:pt x="64961" y="61817"/>
                      <a:pt x="63818" y="66008"/>
                      <a:pt x="61436" y="69628"/>
                    </a:cubicBezTo>
                    <a:cubicBezTo>
                      <a:pt x="59055" y="73247"/>
                      <a:pt x="55531" y="76010"/>
                      <a:pt x="50673" y="78010"/>
                    </a:cubicBezTo>
                    <a:cubicBezTo>
                      <a:pt x="45815" y="80010"/>
                      <a:pt x="39719" y="80963"/>
                      <a:pt x="32385" y="80963"/>
                    </a:cubicBezTo>
                    <a:cubicBezTo>
                      <a:pt x="18479" y="80963"/>
                      <a:pt x="7715" y="76486"/>
                      <a:pt x="286" y="67532"/>
                    </a:cubicBezTo>
                    <a:close/>
                  </a:path>
                </a:pathLst>
              </a:custGeom>
              <a:solidFill>
                <a:srgbClr val="231F20"/>
              </a:solidFill>
              <a:ln w="9525" cap="flat">
                <a:noFill/>
                <a:prstDash val="solid"/>
                <a:miter/>
              </a:ln>
            </p:spPr>
            <p:txBody>
              <a:bodyPr rtlCol="0" anchor="ctr"/>
              <a:lstStyle/>
              <a:p>
                <a:pPr marL="0" marR="0" lvl="0" indent="0" algn="l" defTabSz="913578" rtl="0" eaLnBrk="1" fontAlgn="auto" latinLnBrk="0" hangingPunct="1">
                  <a:lnSpc>
                    <a:spcPct val="100000"/>
                  </a:lnSpc>
                  <a:spcBef>
                    <a:spcPts val="0"/>
                  </a:spcBef>
                  <a:spcAft>
                    <a:spcPts val="0"/>
                  </a:spcAft>
                  <a:buClrTx/>
                  <a:buSzTx/>
                  <a:buFontTx/>
                  <a:buNone/>
                  <a:tabLst/>
                  <a:defRPr/>
                </a:pPr>
                <a:endParaRPr kumimoji="0" lang="en-US" sz="17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357" name="Freeform: Shape 182">
                <a:extLst>
                  <a:ext uri="{FF2B5EF4-FFF2-40B4-BE49-F238E27FC236}">
                    <a16:creationId xmlns:a16="http://schemas.microsoft.com/office/drawing/2014/main" id="{BA74A4EF-5C71-76C3-91F4-EC6838CACA47}"/>
                  </a:ext>
                </a:extLst>
              </p:cNvPr>
              <p:cNvSpPr/>
              <p:nvPr/>
            </p:nvSpPr>
            <p:spPr>
              <a:xfrm>
                <a:off x="5637657" y="3205829"/>
                <a:ext cx="58292" cy="85343"/>
              </a:xfrm>
              <a:custGeom>
                <a:avLst/>
                <a:gdLst>
                  <a:gd name="connsiteX0" fmla="*/ 476 w 58292"/>
                  <a:gd name="connsiteY0" fmla="*/ 15049 h 85343"/>
                  <a:gd name="connsiteX1" fmla="*/ 0 w 58292"/>
                  <a:gd name="connsiteY1" fmla="*/ 1238 h 85343"/>
                  <a:gd name="connsiteX2" fmla="*/ 15240 w 58292"/>
                  <a:gd name="connsiteY2" fmla="*/ 1238 h 85343"/>
                  <a:gd name="connsiteX3" fmla="*/ 15716 w 58292"/>
                  <a:gd name="connsiteY3" fmla="*/ 4763 h 85343"/>
                  <a:gd name="connsiteX4" fmla="*/ 15907 w 58292"/>
                  <a:gd name="connsiteY4" fmla="*/ 9906 h 85343"/>
                  <a:gd name="connsiteX5" fmla="*/ 16097 w 58292"/>
                  <a:gd name="connsiteY5" fmla="*/ 9906 h 85343"/>
                  <a:gd name="connsiteX6" fmla="*/ 35338 w 58292"/>
                  <a:gd name="connsiteY6" fmla="*/ 0 h 85343"/>
                  <a:gd name="connsiteX7" fmla="*/ 47815 w 58292"/>
                  <a:gd name="connsiteY7" fmla="*/ 4000 h 85343"/>
                  <a:gd name="connsiteX8" fmla="*/ 55626 w 58292"/>
                  <a:gd name="connsiteY8" fmla="*/ 14954 h 85343"/>
                  <a:gd name="connsiteX9" fmla="*/ 58293 w 58292"/>
                  <a:gd name="connsiteY9" fmla="*/ 31051 h 85343"/>
                  <a:gd name="connsiteX10" fmla="*/ 55436 w 58292"/>
                  <a:gd name="connsiteY10" fmla="*/ 47530 h 85343"/>
                  <a:gd name="connsiteX11" fmla="*/ 47054 w 58292"/>
                  <a:gd name="connsiteY11" fmla="*/ 58674 h 85343"/>
                  <a:gd name="connsiteX12" fmla="*/ 34004 w 58292"/>
                  <a:gd name="connsiteY12" fmla="*/ 62674 h 85343"/>
                  <a:gd name="connsiteX13" fmla="*/ 23622 w 58292"/>
                  <a:gd name="connsiteY13" fmla="*/ 60388 h 85343"/>
                  <a:gd name="connsiteX14" fmla="*/ 16192 w 58292"/>
                  <a:gd name="connsiteY14" fmla="*/ 53054 h 85343"/>
                  <a:gd name="connsiteX15" fmla="*/ 15812 w 58292"/>
                  <a:gd name="connsiteY15" fmla="*/ 53054 h 85343"/>
                  <a:gd name="connsiteX16" fmla="*/ 16002 w 58292"/>
                  <a:gd name="connsiteY16" fmla="*/ 56674 h 85343"/>
                  <a:gd name="connsiteX17" fmla="*/ 16097 w 58292"/>
                  <a:gd name="connsiteY17" fmla="*/ 62103 h 85343"/>
                  <a:gd name="connsiteX18" fmla="*/ 16097 w 58292"/>
                  <a:gd name="connsiteY18" fmla="*/ 85344 h 85343"/>
                  <a:gd name="connsiteX19" fmla="*/ 381 w 58292"/>
                  <a:gd name="connsiteY19" fmla="*/ 85344 h 85343"/>
                  <a:gd name="connsiteX20" fmla="*/ 381 w 58292"/>
                  <a:gd name="connsiteY20" fmla="*/ 15049 h 85343"/>
                  <a:gd name="connsiteX21" fmla="*/ 38481 w 58292"/>
                  <a:gd name="connsiteY21" fmla="*/ 45529 h 85343"/>
                  <a:gd name="connsiteX22" fmla="*/ 41910 w 58292"/>
                  <a:gd name="connsiteY22" fmla="*/ 31051 h 85343"/>
                  <a:gd name="connsiteX23" fmla="*/ 38576 w 58292"/>
                  <a:gd name="connsiteY23" fmla="*/ 17240 h 85343"/>
                  <a:gd name="connsiteX24" fmla="*/ 29432 w 58292"/>
                  <a:gd name="connsiteY24" fmla="*/ 12573 h 85343"/>
                  <a:gd name="connsiteX25" fmla="*/ 22860 w 58292"/>
                  <a:gd name="connsiteY25" fmla="*/ 14383 h 85343"/>
                  <a:gd name="connsiteX26" fmla="*/ 17907 w 58292"/>
                  <a:gd name="connsiteY26" fmla="*/ 20383 h 85343"/>
                  <a:gd name="connsiteX27" fmla="*/ 15907 w 58292"/>
                  <a:gd name="connsiteY27" fmla="*/ 31528 h 85343"/>
                  <a:gd name="connsiteX28" fmla="*/ 17812 w 58292"/>
                  <a:gd name="connsiteY28" fmla="*/ 42481 h 85343"/>
                  <a:gd name="connsiteX29" fmla="*/ 22765 w 58292"/>
                  <a:gd name="connsiteY29" fmla="*/ 48482 h 85343"/>
                  <a:gd name="connsiteX30" fmla="*/ 29242 w 58292"/>
                  <a:gd name="connsiteY30" fmla="*/ 50292 h 85343"/>
                  <a:gd name="connsiteX31" fmla="*/ 38386 w 58292"/>
                  <a:gd name="connsiteY31" fmla="*/ 45529 h 8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58292" h="85343">
                    <a:moveTo>
                      <a:pt x="476" y="15049"/>
                    </a:moveTo>
                    <a:cubicBezTo>
                      <a:pt x="476" y="9334"/>
                      <a:pt x="286" y="4763"/>
                      <a:pt x="0" y="1238"/>
                    </a:cubicBezTo>
                    <a:lnTo>
                      <a:pt x="15240" y="1238"/>
                    </a:lnTo>
                    <a:cubicBezTo>
                      <a:pt x="15240" y="1238"/>
                      <a:pt x="15526" y="2762"/>
                      <a:pt x="15716" y="4763"/>
                    </a:cubicBezTo>
                    <a:cubicBezTo>
                      <a:pt x="15907" y="6763"/>
                      <a:pt x="15907" y="8477"/>
                      <a:pt x="15907" y="9906"/>
                    </a:cubicBezTo>
                    <a:lnTo>
                      <a:pt x="16097" y="9906"/>
                    </a:lnTo>
                    <a:cubicBezTo>
                      <a:pt x="20098" y="3238"/>
                      <a:pt x="26479" y="0"/>
                      <a:pt x="35338" y="0"/>
                    </a:cubicBezTo>
                    <a:cubicBezTo>
                      <a:pt x="40196" y="0"/>
                      <a:pt x="44387" y="1333"/>
                      <a:pt x="47815" y="4000"/>
                    </a:cubicBezTo>
                    <a:cubicBezTo>
                      <a:pt x="51245" y="6667"/>
                      <a:pt x="53816" y="10287"/>
                      <a:pt x="55626" y="14954"/>
                    </a:cubicBezTo>
                    <a:cubicBezTo>
                      <a:pt x="57436" y="19621"/>
                      <a:pt x="58293" y="24955"/>
                      <a:pt x="58293" y="31051"/>
                    </a:cubicBezTo>
                    <a:cubicBezTo>
                      <a:pt x="58293" y="37147"/>
                      <a:pt x="57340" y="42672"/>
                      <a:pt x="55436" y="47530"/>
                    </a:cubicBezTo>
                    <a:cubicBezTo>
                      <a:pt x="53530" y="52388"/>
                      <a:pt x="50768" y="56007"/>
                      <a:pt x="47054" y="58674"/>
                    </a:cubicBezTo>
                    <a:cubicBezTo>
                      <a:pt x="43339" y="61341"/>
                      <a:pt x="39053" y="62674"/>
                      <a:pt x="34004" y="62674"/>
                    </a:cubicBezTo>
                    <a:cubicBezTo>
                      <a:pt x="30289" y="62674"/>
                      <a:pt x="26861" y="61913"/>
                      <a:pt x="23622" y="60388"/>
                    </a:cubicBezTo>
                    <a:cubicBezTo>
                      <a:pt x="20383" y="58864"/>
                      <a:pt x="18002" y="56388"/>
                      <a:pt x="16192" y="53054"/>
                    </a:cubicBezTo>
                    <a:lnTo>
                      <a:pt x="15812" y="53054"/>
                    </a:lnTo>
                    <a:cubicBezTo>
                      <a:pt x="15812" y="53054"/>
                      <a:pt x="16002" y="54673"/>
                      <a:pt x="16002" y="56674"/>
                    </a:cubicBezTo>
                    <a:cubicBezTo>
                      <a:pt x="16002" y="58674"/>
                      <a:pt x="16097" y="60484"/>
                      <a:pt x="16097" y="62103"/>
                    </a:cubicBezTo>
                    <a:lnTo>
                      <a:pt x="16097" y="85344"/>
                    </a:lnTo>
                    <a:lnTo>
                      <a:pt x="381" y="85344"/>
                    </a:lnTo>
                    <a:lnTo>
                      <a:pt x="381" y="15049"/>
                    </a:lnTo>
                    <a:close/>
                    <a:moveTo>
                      <a:pt x="38481" y="45529"/>
                    </a:moveTo>
                    <a:cubicBezTo>
                      <a:pt x="40767" y="42386"/>
                      <a:pt x="41910" y="37528"/>
                      <a:pt x="41910" y="31051"/>
                    </a:cubicBezTo>
                    <a:cubicBezTo>
                      <a:pt x="41910" y="24955"/>
                      <a:pt x="40767" y="20383"/>
                      <a:pt x="38576" y="17240"/>
                    </a:cubicBezTo>
                    <a:cubicBezTo>
                      <a:pt x="36386" y="14097"/>
                      <a:pt x="33338" y="12573"/>
                      <a:pt x="29432" y="12573"/>
                    </a:cubicBezTo>
                    <a:cubicBezTo>
                      <a:pt x="27051" y="12573"/>
                      <a:pt x="24860" y="13144"/>
                      <a:pt x="22860" y="14383"/>
                    </a:cubicBezTo>
                    <a:cubicBezTo>
                      <a:pt x="20860" y="15621"/>
                      <a:pt x="19145" y="17621"/>
                      <a:pt x="17907" y="20383"/>
                    </a:cubicBezTo>
                    <a:cubicBezTo>
                      <a:pt x="16669" y="23146"/>
                      <a:pt x="15907" y="26956"/>
                      <a:pt x="15907" y="31528"/>
                    </a:cubicBezTo>
                    <a:cubicBezTo>
                      <a:pt x="15907" y="36100"/>
                      <a:pt x="16573" y="39719"/>
                      <a:pt x="17812" y="42481"/>
                    </a:cubicBezTo>
                    <a:cubicBezTo>
                      <a:pt x="19050" y="45244"/>
                      <a:pt x="20764" y="47244"/>
                      <a:pt x="22765" y="48482"/>
                    </a:cubicBezTo>
                    <a:cubicBezTo>
                      <a:pt x="24765" y="49720"/>
                      <a:pt x="26956" y="50292"/>
                      <a:pt x="29242" y="50292"/>
                    </a:cubicBezTo>
                    <a:cubicBezTo>
                      <a:pt x="33052" y="50292"/>
                      <a:pt x="36100" y="48673"/>
                      <a:pt x="38386" y="45529"/>
                    </a:cubicBezTo>
                    <a:close/>
                  </a:path>
                </a:pathLst>
              </a:custGeom>
              <a:solidFill>
                <a:srgbClr val="231F20"/>
              </a:solidFill>
              <a:ln w="9525" cap="flat">
                <a:noFill/>
                <a:prstDash val="solid"/>
                <a:miter/>
              </a:ln>
            </p:spPr>
            <p:txBody>
              <a:bodyPr rtlCol="0" anchor="ctr"/>
              <a:lstStyle/>
              <a:p>
                <a:pPr marL="0" marR="0" lvl="0" indent="0" algn="l" defTabSz="913578" rtl="0" eaLnBrk="1" fontAlgn="auto" latinLnBrk="0" hangingPunct="1">
                  <a:lnSpc>
                    <a:spcPct val="100000"/>
                  </a:lnSpc>
                  <a:spcBef>
                    <a:spcPts val="0"/>
                  </a:spcBef>
                  <a:spcAft>
                    <a:spcPts val="0"/>
                  </a:spcAft>
                  <a:buClrTx/>
                  <a:buSzTx/>
                  <a:buFontTx/>
                  <a:buNone/>
                  <a:tabLst/>
                  <a:defRPr/>
                </a:pPr>
                <a:endParaRPr kumimoji="0" lang="en-US" sz="17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358" name="Freeform: Shape 183">
                <a:extLst>
                  <a:ext uri="{FF2B5EF4-FFF2-40B4-BE49-F238E27FC236}">
                    <a16:creationId xmlns:a16="http://schemas.microsoft.com/office/drawing/2014/main" id="{8457970C-FD3E-BB9A-A6D3-F54540927DCA}"/>
                  </a:ext>
                </a:extLst>
              </p:cNvPr>
              <p:cNvSpPr/>
              <p:nvPr/>
            </p:nvSpPr>
            <p:spPr>
              <a:xfrm>
                <a:off x="5705093" y="3205924"/>
                <a:ext cx="55245" cy="62769"/>
              </a:xfrm>
              <a:custGeom>
                <a:avLst/>
                <a:gdLst>
                  <a:gd name="connsiteX0" fmla="*/ 7715 w 55245"/>
                  <a:gd name="connsiteY0" fmla="*/ 54769 h 62769"/>
                  <a:gd name="connsiteX1" fmla="*/ 0 w 55245"/>
                  <a:gd name="connsiteY1" fmla="*/ 31242 h 62769"/>
                  <a:gd name="connsiteX2" fmla="*/ 3810 w 55245"/>
                  <a:gd name="connsiteY2" fmla="*/ 13716 h 62769"/>
                  <a:gd name="connsiteX3" fmla="*/ 14097 w 55245"/>
                  <a:gd name="connsiteY3" fmla="*/ 3334 h 62769"/>
                  <a:gd name="connsiteX4" fmla="*/ 28480 w 55245"/>
                  <a:gd name="connsiteY4" fmla="*/ 0 h 62769"/>
                  <a:gd name="connsiteX5" fmla="*/ 43720 w 55245"/>
                  <a:gd name="connsiteY5" fmla="*/ 4000 h 62769"/>
                  <a:gd name="connsiteX6" fmla="*/ 52483 w 55245"/>
                  <a:gd name="connsiteY6" fmla="*/ 14478 h 62769"/>
                  <a:gd name="connsiteX7" fmla="*/ 55245 w 55245"/>
                  <a:gd name="connsiteY7" fmla="*/ 29146 h 62769"/>
                  <a:gd name="connsiteX8" fmla="*/ 54864 w 55245"/>
                  <a:gd name="connsiteY8" fmla="*/ 35433 h 62769"/>
                  <a:gd name="connsiteX9" fmla="*/ 16478 w 55245"/>
                  <a:gd name="connsiteY9" fmla="*/ 35433 h 62769"/>
                  <a:gd name="connsiteX10" fmla="*/ 19812 w 55245"/>
                  <a:gd name="connsiteY10" fmla="*/ 46577 h 62769"/>
                  <a:gd name="connsiteX11" fmla="*/ 30194 w 55245"/>
                  <a:gd name="connsiteY11" fmla="*/ 50673 h 62769"/>
                  <a:gd name="connsiteX12" fmla="*/ 35909 w 55245"/>
                  <a:gd name="connsiteY12" fmla="*/ 50006 h 62769"/>
                  <a:gd name="connsiteX13" fmla="*/ 40958 w 55245"/>
                  <a:gd name="connsiteY13" fmla="*/ 48006 h 62769"/>
                  <a:gd name="connsiteX14" fmla="*/ 46958 w 55245"/>
                  <a:gd name="connsiteY14" fmla="*/ 44196 h 62769"/>
                  <a:gd name="connsiteX15" fmla="*/ 53340 w 55245"/>
                  <a:gd name="connsiteY15" fmla="*/ 54388 h 62769"/>
                  <a:gd name="connsiteX16" fmla="*/ 42672 w 55245"/>
                  <a:gd name="connsiteY16" fmla="*/ 60579 h 62769"/>
                  <a:gd name="connsiteX17" fmla="*/ 29432 w 55245"/>
                  <a:gd name="connsiteY17" fmla="*/ 62770 h 62769"/>
                  <a:gd name="connsiteX18" fmla="*/ 7811 w 55245"/>
                  <a:gd name="connsiteY18" fmla="*/ 54864 h 62769"/>
                  <a:gd name="connsiteX19" fmla="*/ 40005 w 55245"/>
                  <a:gd name="connsiteY19" fmla="*/ 24765 h 62769"/>
                  <a:gd name="connsiteX20" fmla="*/ 36862 w 55245"/>
                  <a:gd name="connsiteY20" fmla="*/ 14764 h 62769"/>
                  <a:gd name="connsiteX21" fmla="*/ 28385 w 55245"/>
                  <a:gd name="connsiteY21" fmla="*/ 11525 h 62769"/>
                  <a:gd name="connsiteX22" fmla="*/ 20003 w 55245"/>
                  <a:gd name="connsiteY22" fmla="*/ 14764 h 62769"/>
                  <a:gd name="connsiteX23" fmla="*/ 16669 w 55245"/>
                  <a:gd name="connsiteY23" fmla="*/ 24765 h 62769"/>
                  <a:gd name="connsiteX24" fmla="*/ 40100 w 55245"/>
                  <a:gd name="connsiteY24" fmla="*/ 24765 h 62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55245" h="62769">
                    <a:moveTo>
                      <a:pt x="7715" y="54769"/>
                    </a:moveTo>
                    <a:cubicBezTo>
                      <a:pt x="2572" y="49530"/>
                      <a:pt x="0" y="41624"/>
                      <a:pt x="0" y="31242"/>
                    </a:cubicBezTo>
                    <a:cubicBezTo>
                      <a:pt x="0" y="24289"/>
                      <a:pt x="1238" y="18383"/>
                      <a:pt x="3810" y="13716"/>
                    </a:cubicBezTo>
                    <a:cubicBezTo>
                      <a:pt x="6382" y="9049"/>
                      <a:pt x="9811" y="5620"/>
                      <a:pt x="14097" y="3334"/>
                    </a:cubicBezTo>
                    <a:cubicBezTo>
                      <a:pt x="18383" y="1048"/>
                      <a:pt x="23146" y="0"/>
                      <a:pt x="28480" y="0"/>
                    </a:cubicBezTo>
                    <a:cubicBezTo>
                      <a:pt x="34576" y="0"/>
                      <a:pt x="39719" y="1333"/>
                      <a:pt x="43720" y="4000"/>
                    </a:cubicBezTo>
                    <a:cubicBezTo>
                      <a:pt x="47720" y="6667"/>
                      <a:pt x="50673" y="10192"/>
                      <a:pt x="52483" y="14478"/>
                    </a:cubicBezTo>
                    <a:cubicBezTo>
                      <a:pt x="54293" y="18764"/>
                      <a:pt x="55245" y="23717"/>
                      <a:pt x="55245" y="29146"/>
                    </a:cubicBezTo>
                    <a:cubicBezTo>
                      <a:pt x="55245" y="31242"/>
                      <a:pt x="55150" y="33338"/>
                      <a:pt x="54864" y="35433"/>
                    </a:cubicBezTo>
                    <a:lnTo>
                      <a:pt x="16478" y="35433"/>
                    </a:lnTo>
                    <a:cubicBezTo>
                      <a:pt x="16478" y="40100"/>
                      <a:pt x="17621" y="43815"/>
                      <a:pt x="19812" y="46577"/>
                    </a:cubicBezTo>
                    <a:cubicBezTo>
                      <a:pt x="22003" y="49339"/>
                      <a:pt x="25527" y="50673"/>
                      <a:pt x="30194" y="50673"/>
                    </a:cubicBezTo>
                    <a:cubicBezTo>
                      <a:pt x="32290" y="50673"/>
                      <a:pt x="34195" y="50483"/>
                      <a:pt x="35909" y="50006"/>
                    </a:cubicBezTo>
                    <a:cubicBezTo>
                      <a:pt x="37624" y="49530"/>
                      <a:pt x="39338" y="48863"/>
                      <a:pt x="40958" y="48006"/>
                    </a:cubicBezTo>
                    <a:cubicBezTo>
                      <a:pt x="42577" y="47149"/>
                      <a:pt x="44577" y="45815"/>
                      <a:pt x="46958" y="44196"/>
                    </a:cubicBezTo>
                    <a:lnTo>
                      <a:pt x="53340" y="54388"/>
                    </a:lnTo>
                    <a:cubicBezTo>
                      <a:pt x="49816" y="57055"/>
                      <a:pt x="46196" y="59150"/>
                      <a:pt x="42672" y="60579"/>
                    </a:cubicBezTo>
                    <a:cubicBezTo>
                      <a:pt x="39148" y="62008"/>
                      <a:pt x="34671" y="62770"/>
                      <a:pt x="29432" y="62770"/>
                    </a:cubicBezTo>
                    <a:cubicBezTo>
                      <a:pt x="20193" y="62770"/>
                      <a:pt x="12954" y="60103"/>
                      <a:pt x="7811" y="54864"/>
                    </a:cubicBezTo>
                    <a:close/>
                    <a:moveTo>
                      <a:pt x="40005" y="24765"/>
                    </a:moveTo>
                    <a:cubicBezTo>
                      <a:pt x="39815" y="20193"/>
                      <a:pt x="38767" y="16859"/>
                      <a:pt x="36862" y="14764"/>
                    </a:cubicBezTo>
                    <a:cubicBezTo>
                      <a:pt x="34957" y="12668"/>
                      <a:pt x="32099" y="11525"/>
                      <a:pt x="28385" y="11525"/>
                    </a:cubicBezTo>
                    <a:cubicBezTo>
                      <a:pt x="24670" y="11525"/>
                      <a:pt x="22098" y="12573"/>
                      <a:pt x="20003" y="14764"/>
                    </a:cubicBezTo>
                    <a:cubicBezTo>
                      <a:pt x="17907" y="16954"/>
                      <a:pt x="16764" y="20288"/>
                      <a:pt x="16669" y="24765"/>
                    </a:cubicBezTo>
                    <a:lnTo>
                      <a:pt x="40100" y="24765"/>
                    </a:lnTo>
                    <a:close/>
                  </a:path>
                </a:pathLst>
              </a:custGeom>
              <a:solidFill>
                <a:srgbClr val="231F20"/>
              </a:solidFill>
              <a:ln w="9525" cap="flat">
                <a:noFill/>
                <a:prstDash val="solid"/>
                <a:miter/>
              </a:ln>
            </p:spPr>
            <p:txBody>
              <a:bodyPr rtlCol="0" anchor="ctr"/>
              <a:lstStyle/>
              <a:p>
                <a:pPr marL="0" marR="0" lvl="0" indent="0" algn="l" defTabSz="913578" rtl="0" eaLnBrk="1" fontAlgn="auto" latinLnBrk="0" hangingPunct="1">
                  <a:lnSpc>
                    <a:spcPct val="100000"/>
                  </a:lnSpc>
                  <a:spcBef>
                    <a:spcPts val="0"/>
                  </a:spcBef>
                  <a:spcAft>
                    <a:spcPts val="0"/>
                  </a:spcAft>
                  <a:buClrTx/>
                  <a:buSzTx/>
                  <a:buFontTx/>
                  <a:buNone/>
                  <a:tabLst/>
                  <a:defRPr/>
                </a:pPr>
                <a:endParaRPr kumimoji="0" lang="en-US" sz="17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359" name="Freeform: Shape 184">
                <a:extLst>
                  <a:ext uri="{FF2B5EF4-FFF2-40B4-BE49-F238E27FC236}">
                    <a16:creationId xmlns:a16="http://schemas.microsoft.com/office/drawing/2014/main" id="{9B3B4B01-3F20-01E3-8F61-99E891AEDB9B}"/>
                  </a:ext>
                </a:extLst>
              </p:cNvPr>
              <p:cNvSpPr/>
              <p:nvPr/>
            </p:nvSpPr>
            <p:spPr>
              <a:xfrm>
                <a:off x="5771768" y="3205924"/>
                <a:ext cx="55149" cy="61721"/>
              </a:xfrm>
              <a:custGeom>
                <a:avLst/>
                <a:gdLst>
                  <a:gd name="connsiteX0" fmla="*/ 381 w 55149"/>
                  <a:gd name="connsiteY0" fmla="*/ 14668 h 61721"/>
                  <a:gd name="connsiteX1" fmla="*/ 286 w 55149"/>
                  <a:gd name="connsiteY1" fmla="*/ 6763 h 61721"/>
                  <a:gd name="connsiteX2" fmla="*/ 0 w 55149"/>
                  <a:gd name="connsiteY2" fmla="*/ 1238 h 61721"/>
                  <a:gd name="connsiteX3" fmla="*/ 14954 w 55149"/>
                  <a:gd name="connsiteY3" fmla="*/ 1238 h 61721"/>
                  <a:gd name="connsiteX4" fmla="*/ 15430 w 55149"/>
                  <a:gd name="connsiteY4" fmla="*/ 6191 h 61721"/>
                  <a:gd name="connsiteX5" fmla="*/ 15716 w 55149"/>
                  <a:gd name="connsiteY5" fmla="*/ 12097 h 61721"/>
                  <a:gd name="connsiteX6" fmla="*/ 15907 w 55149"/>
                  <a:gd name="connsiteY6" fmla="*/ 12097 h 61721"/>
                  <a:gd name="connsiteX7" fmla="*/ 23908 w 55149"/>
                  <a:gd name="connsiteY7" fmla="*/ 2953 h 61721"/>
                  <a:gd name="connsiteX8" fmla="*/ 35338 w 55149"/>
                  <a:gd name="connsiteY8" fmla="*/ 0 h 61721"/>
                  <a:gd name="connsiteX9" fmla="*/ 50387 w 55149"/>
                  <a:gd name="connsiteY9" fmla="*/ 6382 h 61721"/>
                  <a:gd name="connsiteX10" fmla="*/ 55150 w 55149"/>
                  <a:gd name="connsiteY10" fmla="*/ 23336 h 61721"/>
                  <a:gd name="connsiteX11" fmla="*/ 55150 w 55149"/>
                  <a:gd name="connsiteY11" fmla="*/ 61627 h 61721"/>
                  <a:gd name="connsiteX12" fmla="*/ 39529 w 55149"/>
                  <a:gd name="connsiteY12" fmla="*/ 61627 h 61721"/>
                  <a:gd name="connsiteX13" fmla="*/ 39529 w 55149"/>
                  <a:gd name="connsiteY13" fmla="*/ 27813 h 61721"/>
                  <a:gd name="connsiteX14" fmla="*/ 37243 w 55149"/>
                  <a:gd name="connsiteY14" fmla="*/ 17240 h 61721"/>
                  <a:gd name="connsiteX15" fmla="*/ 29337 w 55149"/>
                  <a:gd name="connsiteY15" fmla="*/ 13525 h 61721"/>
                  <a:gd name="connsiteX16" fmla="*/ 22574 w 55149"/>
                  <a:gd name="connsiteY16" fmla="*/ 15526 h 61721"/>
                  <a:gd name="connsiteX17" fmla="*/ 17812 w 55149"/>
                  <a:gd name="connsiteY17" fmla="*/ 21146 h 61721"/>
                  <a:gd name="connsiteX18" fmla="*/ 16097 w 55149"/>
                  <a:gd name="connsiteY18" fmla="*/ 29337 h 61721"/>
                  <a:gd name="connsiteX19" fmla="*/ 16097 w 55149"/>
                  <a:gd name="connsiteY19" fmla="*/ 61722 h 61721"/>
                  <a:gd name="connsiteX20" fmla="*/ 381 w 55149"/>
                  <a:gd name="connsiteY20" fmla="*/ 61722 h 61721"/>
                  <a:gd name="connsiteX21" fmla="*/ 381 w 55149"/>
                  <a:gd name="connsiteY21" fmla="*/ 14859 h 617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5149" h="61721">
                    <a:moveTo>
                      <a:pt x="381" y="14668"/>
                    </a:moveTo>
                    <a:cubicBezTo>
                      <a:pt x="381" y="12097"/>
                      <a:pt x="381" y="9430"/>
                      <a:pt x="286" y="6763"/>
                    </a:cubicBezTo>
                    <a:cubicBezTo>
                      <a:pt x="191" y="4096"/>
                      <a:pt x="95" y="2191"/>
                      <a:pt x="0" y="1238"/>
                    </a:cubicBezTo>
                    <a:lnTo>
                      <a:pt x="14954" y="1238"/>
                    </a:lnTo>
                    <a:cubicBezTo>
                      <a:pt x="15145" y="2096"/>
                      <a:pt x="15240" y="3715"/>
                      <a:pt x="15430" y="6191"/>
                    </a:cubicBezTo>
                    <a:cubicBezTo>
                      <a:pt x="15621" y="8668"/>
                      <a:pt x="15716" y="10668"/>
                      <a:pt x="15716" y="12097"/>
                    </a:cubicBezTo>
                    <a:lnTo>
                      <a:pt x="15907" y="12097"/>
                    </a:lnTo>
                    <a:cubicBezTo>
                      <a:pt x="18002" y="8001"/>
                      <a:pt x="20669" y="4953"/>
                      <a:pt x="23908" y="2953"/>
                    </a:cubicBezTo>
                    <a:cubicBezTo>
                      <a:pt x="27146" y="952"/>
                      <a:pt x="30956" y="0"/>
                      <a:pt x="35338" y="0"/>
                    </a:cubicBezTo>
                    <a:cubicBezTo>
                      <a:pt x="42196" y="0"/>
                      <a:pt x="47244" y="2096"/>
                      <a:pt x="50387" y="6382"/>
                    </a:cubicBezTo>
                    <a:cubicBezTo>
                      <a:pt x="53530" y="10668"/>
                      <a:pt x="55150" y="16288"/>
                      <a:pt x="55150" y="23336"/>
                    </a:cubicBezTo>
                    <a:lnTo>
                      <a:pt x="55150" y="61627"/>
                    </a:lnTo>
                    <a:lnTo>
                      <a:pt x="39529" y="61627"/>
                    </a:lnTo>
                    <a:lnTo>
                      <a:pt x="39529" y="27813"/>
                    </a:lnTo>
                    <a:cubicBezTo>
                      <a:pt x="39529" y="23241"/>
                      <a:pt x="38767" y="19717"/>
                      <a:pt x="37243" y="17240"/>
                    </a:cubicBezTo>
                    <a:cubicBezTo>
                      <a:pt x="35719" y="14764"/>
                      <a:pt x="33052" y="13525"/>
                      <a:pt x="29337" y="13525"/>
                    </a:cubicBezTo>
                    <a:cubicBezTo>
                      <a:pt x="26765" y="13525"/>
                      <a:pt x="24575" y="14192"/>
                      <a:pt x="22574" y="15526"/>
                    </a:cubicBezTo>
                    <a:cubicBezTo>
                      <a:pt x="20574" y="16859"/>
                      <a:pt x="18955" y="18669"/>
                      <a:pt x="17812" y="21146"/>
                    </a:cubicBezTo>
                    <a:cubicBezTo>
                      <a:pt x="16669" y="23622"/>
                      <a:pt x="16097" y="26289"/>
                      <a:pt x="16097" y="29337"/>
                    </a:cubicBezTo>
                    <a:lnTo>
                      <a:pt x="16097" y="61722"/>
                    </a:lnTo>
                    <a:lnTo>
                      <a:pt x="381" y="61722"/>
                    </a:lnTo>
                    <a:lnTo>
                      <a:pt x="381" y="14859"/>
                    </a:lnTo>
                    <a:close/>
                  </a:path>
                </a:pathLst>
              </a:custGeom>
              <a:solidFill>
                <a:srgbClr val="231F20"/>
              </a:solidFill>
              <a:ln w="9525" cap="flat">
                <a:noFill/>
                <a:prstDash val="solid"/>
                <a:miter/>
              </a:ln>
            </p:spPr>
            <p:txBody>
              <a:bodyPr rtlCol="0" anchor="ctr"/>
              <a:lstStyle/>
              <a:p>
                <a:pPr marL="0" marR="0" lvl="0" indent="0" algn="l" defTabSz="913578" rtl="0" eaLnBrk="1" fontAlgn="auto" latinLnBrk="0" hangingPunct="1">
                  <a:lnSpc>
                    <a:spcPct val="100000"/>
                  </a:lnSpc>
                  <a:spcBef>
                    <a:spcPts val="0"/>
                  </a:spcBef>
                  <a:spcAft>
                    <a:spcPts val="0"/>
                  </a:spcAft>
                  <a:buClrTx/>
                  <a:buSzTx/>
                  <a:buFontTx/>
                  <a:buNone/>
                  <a:tabLst/>
                  <a:defRPr/>
                </a:pPr>
                <a:endParaRPr kumimoji="0" lang="en-US" sz="17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360" name="Freeform: Shape 185">
                <a:extLst>
                  <a:ext uri="{FF2B5EF4-FFF2-40B4-BE49-F238E27FC236}">
                    <a16:creationId xmlns:a16="http://schemas.microsoft.com/office/drawing/2014/main" id="{F081E5C9-428B-7765-18C3-F158959B8663}"/>
                  </a:ext>
                </a:extLst>
              </p:cNvPr>
              <p:cNvSpPr/>
              <p:nvPr/>
            </p:nvSpPr>
            <p:spPr>
              <a:xfrm>
                <a:off x="5838729" y="3184588"/>
                <a:ext cx="58197" cy="84010"/>
              </a:xfrm>
              <a:custGeom>
                <a:avLst/>
                <a:gdLst>
                  <a:gd name="connsiteX0" fmla="*/ 10763 w 58197"/>
                  <a:gd name="connsiteY0" fmla="*/ 80010 h 84010"/>
                  <a:gd name="connsiteX1" fmla="*/ 2667 w 58197"/>
                  <a:gd name="connsiteY1" fmla="*/ 68961 h 84010"/>
                  <a:gd name="connsiteX2" fmla="*/ 0 w 58197"/>
                  <a:gd name="connsiteY2" fmla="*/ 52673 h 84010"/>
                  <a:gd name="connsiteX3" fmla="*/ 2858 w 58197"/>
                  <a:gd name="connsiteY3" fmla="*/ 36386 h 84010"/>
                  <a:gd name="connsiteX4" fmla="*/ 11335 w 58197"/>
                  <a:gd name="connsiteY4" fmla="*/ 25337 h 84010"/>
                  <a:gd name="connsiteX5" fmla="*/ 25051 w 58197"/>
                  <a:gd name="connsiteY5" fmla="*/ 21336 h 84010"/>
                  <a:gd name="connsiteX6" fmla="*/ 35052 w 58197"/>
                  <a:gd name="connsiteY6" fmla="*/ 23717 h 84010"/>
                  <a:gd name="connsiteX7" fmla="*/ 42101 w 58197"/>
                  <a:gd name="connsiteY7" fmla="*/ 30861 h 84010"/>
                  <a:gd name="connsiteX8" fmla="*/ 42196 w 58197"/>
                  <a:gd name="connsiteY8" fmla="*/ 30861 h 84010"/>
                  <a:gd name="connsiteX9" fmla="*/ 42196 w 58197"/>
                  <a:gd name="connsiteY9" fmla="*/ 28194 h 84010"/>
                  <a:gd name="connsiteX10" fmla="*/ 42196 w 58197"/>
                  <a:gd name="connsiteY10" fmla="*/ 22003 h 84010"/>
                  <a:gd name="connsiteX11" fmla="*/ 42196 w 58197"/>
                  <a:gd name="connsiteY11" fmla="*/ 0 h 84010"/>
                  <a:gd name="connsiteX12" fmla="*/ 57817 w 58197"/>
                  <a:gd name="connsiteY12" fmla="*/ 0 h 84010"/>
                  <a:gd name="connsiteX13" fmla="*/ 57817 w 58197"/>
                  <a:gd name="connsiteY13" fmla="*/ 69723 h 84010"/>
                  <a:gd name="connsiteX14" fmla="*/ 57912 w 58197"/>
                  <a:gd name="connsiteY14" fmla="*/ 76962 h 84010"/>
                  <a:gd name="connsiteX15" fmla="*/ 58103 w 58197"/>
                  <a:gd name="connsiteY15" fmla="*/ 81058 h 84010"/>
                  <a:gd name="connsiteX16" fmla="*/ 58198 w 58197"/>
                  <a:gd name="connsiteY16" fmla="*/ 82867 h 84010"/>
                  <a:gd name="connsiteX17" fmla="*/ 43053 w 58197"/>
                  <a:gd name="connsiteY17" fmla="*/ 82867 h 84010"/>
                  <a:gd name="connsiteX18" fmla="*/ 42482 w 58197"/>
                  <a:gd name="connsiteY18" fmla="*/ 79153 h 84010"/>
                  <a:gd name="connsiteX19" fmla="*/ 42196 w 58197"/>
                  <a:gd name="connsiteY19" fmla="*/ 74200 h 84010"/>
                  <a:gd name="connsiteX20" fmla="*/ 42005 w 58197"/>
                  <a:gd name="connsiteY20" fmla="*/ 74200 h 84010"/>
                  <a:gd name="connsiteX21" fmla="*/ 34766 w 58197"/>
                  <a:gd name="connsiteY21" fmla="*/ 81629 h 84010"/>
                  <a:gd name="connsiteX22" fmla="*/ 23908 w 58197"/>
                  <a:gd name="connsiteY22" fmla="*/ 84011 h 84010"/>
                  <a:gd name="connsiteX23" fmla="*/ 10859 w 58197"/>
                  <a:gd name="connsiteY23" fmla="*/ 80010 h 84010"/>
                  <a:gd name="connsiteX24" fmla="*/ 35338 w 58197"/>
                  <a:gd name="connsiteY24" fmla="*/ 69723 h 84010"/>
                  <a:gd name="connsiteX25" fmla="*/ 40386 w 58197"/>
                  <a:gd name="connsiteY25" fmla="*/ 63627 h 84010"/>
                  <a:gd name="connsiteX26" fmla="*/ 42386 w 58197"/>
                  <a:gd name="connsiteY26" fmla="*/ 52388 h 84010"/>
                  <a:gd name="connsiteX27" fmla="*/ 38481 w 58197"/>
                  <a:gd name="connsiteY27" fmla="*/ 38005 h 84010"/>
                  <a:gd name="connsiteX28" fmla="*/ 28956 w 58197"/>
                  <a:gd name="connsiteY28" fmla="*/ 33719 h 84010"/>
                  <a:gd name="connsiteX29" fmla="*/ 19812 w 58197"/>
                  <a:gd name="connsiteY29" fmla="*/ 38386 h 84010"/>
                  <a:gd name="connsiteX30" fmla="*/ 16383 w 58197"/>
                  <a:gd name="connsiteY30" fmla="*/ 52673 h 84010"/>
                  <a:gd name="connsiteX31" fmla="*/ 19717 w 58197"/>
                  <a:gd name="connsiteY31" fmla="*/ 66675 h 84010"/>
                  <a:gd name="connsiteX32" fmla="*/ 28861 w 58197"/>
                  <a:gd name="connsiteY32" fmla="*/ 71533 h 84010"/>
                  <a:gd name="connsiteX33" fmla="*/ 35433 w 58197"/>
                  <a:gd name="connsiteY33" fmla="*/ 69723 h 84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58197" h="84010">
                    <a:moveTo>
                      <a:pt x="10763" y="80010"/>
                    </a:moveTo>
                    <a:cubicBezTo>
                      <a:pt x="7144" y="77343"/>
                      <a:pt x="4477" y="73628"/>
                      <a:pt x="2667" y="68961"/>
                    </a:cubicBezTo>
                    <a:cubicBezTo>
                      <a:pt x="857" y="64294"/>
                      <a:pt x="0" y="58865"/>
                      <a:pt x="0" y="52673"/>
                    </a:cubicBezTo>
                    <a:cubicBezTo>
                      <a:pt x="0" y="46482"/>
                      <a:pt x="953" y="41148"/>
                      <a:pt x="2858" y="36386"/>
                    </a:cubicBezTo>
                    <a:cubicBezTo>
                      <a:pt x="4763" y="31623"/>
                      <a:pt x="7620" y="28004"/>
                      <a:pt x="11335" y="25337"/>
                    </a:cubicBezTo>
                    <a:cubicBezTo>
                      <a:pt x="15050" y="22670"/>
                      <a:pt x="19621" y="21336"/>
                      <a:pt x="25051" y="21336"/>
                    </a:cubicBezTo>
                    <a:cubicBezTo>
                      <a:pt x="28670" y="21336"/>
                      <a:pt x="31909" y="22098"/>
                      <a:pt x="35052" y="23717"/>
                    </a:cubicBezTo>
                    <a:cubicBezTo>
                      <a:pt x="38195" y="25337"/>
                      <a:pt x="40481" y="27623"/>
                      <a:pt x="42101" y="30861"/>
                    </a:cubicBezTo>
                    <a:lnTo>
                      <a:pt x="42196" y="30861"/>
                    </a:lnTo>
                    <a:cubicBezTo>
                      <a:pt x="42196" y="29908"/>
                      <a:pt x="42196" y="29051"/>
                      <a:pt x="42196" y="28194"/>
                    </a:cubicBezTo>
                    <a:lnTo>
                      <a:pt x="42196" y="22003"/>
                    </a:lnTo>
                    <a:cubicBezTo>
                      <a:pt x="42196" y="22003"/>
                      <a:pt x="42196" y="0"/>
                      <a:pt x="42196" y="0"/>
                    </a:cubicBezTo>
                    <a:lnTo>
                      <a:pt x="57817" y="0"/>
                    </a:lnTo>
                    <a:lnTo>
                      <a:pt x="57817" y="69723"/>
                    </a:lnTo>
                    <a:cubicBezTo>
                      <a:pt x="57817" y="72295"/>
                      <a:pt x="57817" y="74676"/>
                      <a:pt x="57912" y="76962"/>
                    </a:cubicBezTo>
                    <a:cubicBezTo>
                      <a:pt x="58007" y="79248"/>
                      <a:pt x="58103" y="80582"/>
                      <a:pt x="58103" y="81058"/>
                    </a:cubicBezTo>
                    <a:cubicBezTo>
                      <a:pt x="58103" y="82010"/>
                      <a:pt x="58198" y="82677"/>
                      <a:pt x="58198" y="82867"/>
                    </a:cubicBezTo>
                    <a:lnTo>
                      <a:pt x="43053" y="82867"/>
                    </a:lnTo>
                    <a:cubicBezTo>
                      <a:pt x="42863" y="82391"/>
                      <a:pt x="42672" y="81153"/>
                      <a:pt x="42482" y="79153"/>
                    </a:cubicBezTo>
                    <a:cubicBezTo>
                      <a:pt x="42291" y="77153"/>
                      <a:pt x="42196" y="75533"/>
                      <a:pt x="42196" y="74200"/>
                    </a:cubicBezTo>
                    <a:lnTo>
                      <a:pt x="42005" y="74200"/>
                    </a:lnTo>
                    <a:cubicBezTo>
                      <a:pt x="40291" y="77533"/>
                      <a:pt x="37910" y="80010"/>
                      <a:pt x="34766" y="81629"/>
                    </a:cubicBezTo>
                    <a:cubicBezTo>
                      <a:pt x="31623" y="83249"/>
                      <a:pt x="28004" y="84011"/>
                      <a:pt x="23908" y="84011"/>
                    </a:cubicBezTo>
                    <a:cubicBezTo>
                      <a:pt x="18764" y="84011"/>
                      <a:pt x="14383" y="82677"/>
                      <a:pt x="10859" y="80010"/>
                    </a:cubicBezTo>
                    <a:close/>
                    <a:moveTo>
                      <a:pt x="35338" y="69723"/>
                    </a:moveTo>
                    <a:cubicBezTo>
                      <a:pt x="37338" y="68485"/>
                      <a:pt x="39053" y="66485"/>
                      <a:pt x="40386" y="63627"/>
                    </a:cubicBezTo>
                    <a:cubicBezTo>
                      <a:pt x="41720" y="60770"/>
                      <a:pt x="42386" y="57055"/>
                      <a:pt x="42386" y="52388"/>
                    </a:cubicBezTo>
                    <a:cubicBezTo>
                      <a:pt x="42386" y="45720"/>
                      <a:pt x="41053" y="40862"/>
                      <a:pt x="38481" y="38005"/>
                    </a:cubicBezTo>
                    <a:cubicBezTo>
                      <a:pt x="35909" y="35147"/>
                      <a:pt x="32766" y="33719"/>
                      <a:pt x="28956" y="33719"/>
                    </a:cubicBezTo>
                    <a:cubicBezTo>
                      <a:pt x="25146" y="33719"/>
                      <a:pt x="22098" y="35242"/>
                      <a:pt x="19812" y="38386"/>
                    </a:cubicBezTo>
                    <a:cubicBezTo>
                      <a:pt x="17526" y="41529"/>
                      <a:pt x="16383" y="46292"/>
                      <a:pt x="16383" y="52673"/>
                    </a:cubicBezTo>
                    <a:cubicBezTo>
                      <a:pt x="16383" y="59055"/>
                      <a:pt x="17526" y="63437"/>
                      <a:pt x="19717" y="66675"/>
                    </a:cubicBezTo>
                    <a:cubicBezTo>
                      <a:pt x="21908" y="69913"/>
                      <a:pt x="24955" y="71533"/>
                      <a:pt x="28861" y="71533"/>
                    </a:cubicBezTo>
                    <a:cubicBezTo>
                      <a:pt x="31147" y="71533"/>
                      <a:pt x="33338" y="70961"/>
                      <a:pt x="35433" y="69723"/>
                    </a:cubicBezTo>
                    <a:close/>
                  </a:path>
                </a:pathLst>
              </a:custGeom>
              <a:solidFill>
                <a:srgbClr val="231F20"/>
              </a:solidFill>
              <a:ln w="9525" cap="flat">
                <a:noFill/>
                <a:prstDash val="solid"/>
                <a:miter/>
              </a:ln>
            </p:spPr>
            <p:txBody>
              <a:bodyPr rtlCol="0" anchor="ctr"/>
              <a:lstStyle/>
              <a:p>
                <a:pPr marL="0" marR="0" lvl="0" indent="0" algn="l" defTabSz="913578" rtl="0" eaLnBrk="1" fontAlgn="auto" latinLnBrk="0" hangingPunct="1">
                  <a:lnSpc>
                    <a:spcPct val="100000"/>
                  </a:lnSpc>
                  <a:spcBef>
                    <a:spcPts val="0"/>
                  </a:spcBef>
                  <a:spcAft>
                    <a:spcPts val="0"/>
                  </a:spcAft>
                  <a:buClrTx/>
                  <a:buSzTx/>
                  <a:buFontTx/>
                  <a:buNone/>
                  <a:tabLst/>
                  <a:defRPr/>
                </a:pPr>
                <a:endParaRPr kumimoji="0" lang="en-US" sz="17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361" name="Freeform: Shape 186">
                <a:extLst>
                  <a:ext uri="{FF2B5EF4-FFF2-40B4-BE49-F238E27FC236}">
                    <a16:creationId xmlns:a16="http://schemas.microsoft.com/office/drawing/2014/main" id="{CA39C296-BC5A-DB62-27F7-D4956927C4ED}"/>
                  </a:ext>
                </a:extLst>
              </p:cNvPr>
              <p:cNvSpPr/>
              <p:nvPr/>
            </p:nvSpPr>
            <p:spPr>
              <a:xfrm>
                <a:off x="5943790" y="3205924"/>
                <a:ext cx="87058" cy="61721"/>
              </a:xfrm>
              <a:custGeom>
                <a:avLst/>
                <a:gdLst>
                  <a:gd name="connsiteX0" fmla="*/ 381 w 87058"/>
                  <a:gd name="connsiteY0" fmla="*/ 14668 h 61721"/>
                  <a:gd name="connsiteX1" fmla="*/ 286 w 87058"/>
                  <a:gd name="connsiteY1" fmla="*/ 6763 h 61721"/>
                  <a:gd name="connsiteX2" fmla="*/ 0 w 87058"/>
                  <a:gd name="connsiteY2" fmla="*/ 1238 h 61721"/>
                  <a:gd name="connsiteX3" fmla="*/ 14954 w 87058"/>
                  <a:gd name="connsiteY3" fmla="*/ 1238 h 61721"/>
                  <a:gd name="connsiteX4" fmla="*/ 15431 w 87058"/>
                  <a:gd name="connsiteY4" fmla="*/ 6191 h 61721"/>
                  <a:gd name="connsiteX5" fmla="*/ 15716 w 87058"/>
                  <a:gd name="connsiteY5" fmla="*/ 12097 h 61721"/>
                  <a:gd name="connsiteX6" fmla="*/ 15907 w 87058"/>
                  <a:gd name="connsiteY6" fmla="*/ 12097 h 61721"/>
                  <a:gd name="connsiteX7" fmla="*/ 23146 w 87058"/>
                  <a:gd name="connsiteY7" fmla="*/ 2953 h 61721"/>
                  <a:gd name="connsiteX8" fmla="*/ 33528 w 87058"/>
                  <a:gd name="connsiteY8" fmla="*/ 0 h 61721"/>
                  <a:gd name="connsiteX9" fmla="*/ 44577 w 87058"/>
                  <a:gd name="connsiteY9" fmla="*/ 3143 h 61721"/>
                  <a:gd name="connsiteX10" fmla="*/ 50292 w 87058"/>
                  <a:gd name="connsiteY10" fmla="*/ 12192 h 61721"/>
                  <a:gd name="connsiteX11" fmla="*/ 50673 w 87058"/>
                  <a:gd name="connsiteY11" fmla="*/ 12192 h 61721"/>
                  <a:gd name="connsiteX12" fmla="*/ 58103 w 87058"/>
                  <a:gd name="connsiteY12" fmla="*/ 2858 h 61721"/>
                  <a:gd name="connsiteX13" fmla="*/ 68961 w 87058"/>
                  <a:gd name="connsiteY13" fmla="*/ 95 h 61721"/>
                  <a:gd name="connsiteX14" fmla="*/ 82677 w 87058"/>
                  <a:gd name="connsiteY14" fmla="*/ 6477 h 61721"/>
                  <a:gd name="connsiteX15" fmla="*/ 87059 w 87058"/>
                  <a:gd name="connsiteY15" fmla="*/ 23431 h 61721"/>
                  <a:gd name="connsiteX16" fmla="*/ 87059 w 87058"/>
                  <a:gd name="connsiteY16" fmla="*/ 61722 h 61721"/>
                  <a:gd name="connsiteX17" fmla="*/ 71533 w 87058"/>
                  <a:gd name="connsiteY17" fmla="*/ 61722 h 61721"/>
                  <a:gd name="connsiteX18" fmla="*/ 71533 w 87058"/>
                  <a:gd name="connsiteY18" fmla="*/ 27908 h 61721"/>
                  <a:gd name="connsiteX19" fmla="*/ 69533 w 87058"/>
                  <a:gd name="connsiteY19" fmla="*/ 17431 h 61721"/>
                  <a:gd name="connsiteX20" fmla="*/ 62865 w 87058"/>
                  <a:gd name="connsiteY20" fmla="*/ 13716 h 61721"/>
                  <a:gd name="connsiteX21" fmla="*/ 57245 w 87058"/>
                  <a:gd name="connsiteY21" fmla="*/ 15621 h 61721"/>
                  <a:gd name="connsiteX22" fmla="*/ 53245 w 87058"/>
                  <a:gd name="connsiteY22" fmla="*/ 20860 h 61721"/>
                  <a:gd name="connsiteX23" fmla="*/ 51626 w 87058"/>
                  <a:gd name="connsiteY23" fmla="*/ 28575 h 61721"/>
                  <a:gd name="connsiteX24" fmla="*/ 51626 w 87058"/>
                  <a:gd name="connsiteY24" fmla="*/ 61722 h 61721"/>
                  <a:gd name="connsiteX25" fmla="*/ 36100 w 87058"/>
                  <a:gd name="connsiteY25" fmla="*/ 61722 h 61721"/>
                  <a:gd name="connsiteX26" fmla="*/ 36100 w 87058"/>
                  <a:gd name="connsiteY26" fmla="*/ 27908 h 61721"/>
                  <a:gd name="connsiteX27" fmla="*/ 34100 w 87058"/>
                  <a:gd name="connsiteY27" fmla="*/ 17431 h 61721"/>
                  <a:gd name="connsiteX28" fmla="*/ 27432 w 87058"/>
                  <a:gd name="connsiteY28" fmla="*/ 13716 h 61721"/>
                  <a:gd name="connsiteX29" fmla="*/ 21717 w 87058"/>
                  <a:gd name="connsiteY29" fmla="*/ 15716 h 61721"/>
                  <a:gd name="connsiteX30" fmla="*/ 17717 w 87058"/>
                  <a:gd name="connsiteY30" fmla="*/ 21241 h 61721"/>
                  <a:gd name="connsiteX31" fmla="*/ 16288 w 87058"/>
                  <a:gd name="connsiteY31" fmla="*/ 29337 h 61721"/>
                  <a:gd name="connsiteX32" fmla="*/ 16288 w 87058"/>
                  <a:gd name="connsiteY32" fmla="*/ 61722 h 61721"/>
                  <a:gd name="connsiteX33" fmla="*/ 571 w 87058"/>
                  <a:gd name="connsiteY33" fmla="*/ 61722 h 61721"/>
                  <a:gd name="connsiteX34" fmla="*/ 571 w 87058"/>
                  <a:gd name="connsiteY34" fmla="*/ 14859 h 617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87058" h="61721">
                    <a:moveTo>
                      <a:pt x="381" y="14668"/>
                    </a:moveTo>
                    <a:cubicBezTo>
                      <a:pt x="381" y="12097"/>
                      <a:pt x="381" y="9430"/>
                      <a:pt x="286" y="6763"/>
                    </a:cubicBezTo>
                    <a:cubicBezTo>
                      <a:pt x="191" y="4096"/>
                      <a:pt x="95" y="2191"/>
                      <a:pt x="0" y="1238"/>
                    </a:cubicBezTo>
                    <a:lnTo>
                      <a:pt x="14954" y="1238"/>
                    </a:lnTo>
                    <a:cubicBezTo>
                      <a:pt x="15145" y="2096"/>
                      <a:pt x="15240" y="3715"/>
                      <a:pt x="15431" y="6191"/>
                    </a:cubicBezTo>
                    <a:cubicBezTo>
                      <a:pt x="15621" y="8668"/>
                      <a:pt x="15716" y="10668"/>
                      <a:pt x="15716" y="12097"/>
                    </a:cubicBezTo>
                    <a:lnTo>
                      <a:pt x="15907" y="12097"/>
                    </a:lnTo>
                    <a:cubicBezTo>
                      <a:pt x="17812" y="8001"/>
                      <a:pt x="20193" y="4953"/>
                      <a:pt x="23146" y="2953"/>
                    </a:cubicBezTo>
                    <a:cubicBezTo>
                      <a:pt x="26099" y="952"/>
                      <a:pt x="29528" y="0"/>
                      <a:pt x="33528" y="0"/>
                    </a:cubicBezTo>
                    <a:cubicBezTo>
                      <a:pt x="38100" y="0"/>
                      <a:pt x="41720" y="1048"/>
                      <a:pt x="44577" y="3143"/>
                    </a:cubicBezTo>
                    <a:cubicBezTo>
                      <a:pt x="47435" y="5239"/>
                      <a:pt x="49340" y="8192"/>
                      <a:pt x="50292" y="12192"/>
                    </a:cubicBezTo>
                    <a:lnTo>
                      <a:pt x="50673" y="12192"/>
                    </a:lnTo>
                    <a:cubicBezTo>
                      <a:pt x="52673" y="7810"/>
                      <a:pt x="55245" y="4667"/>
                      <a:pt x="58103" y="2858"/>
                    </a:cubicBezTo>
                    <a:cubicBezTo>
                      <a:pt x="60960" y="1048"/>
                      <a:pt x="64675" y="95"/>
                      <a:pt x="68961" y="95"/>
                    </a:cubicBezTo>
                    <a:cubicBezTo>
                      <a:pt x="75248" y="95"/>
                      <a:pt x="79820" y="2191"/>
                      <a:pt x="82677" y="6477"/>
                    </a:cubicBezTo>
                    <a:cubicBezTo>
                      <a:pt x="85535" y="10763"/>
                      <a:pt x="87059" y="16383"/>
                      <a:pt x="87059" y="23431"/>
                    </a:cubicBezTo>
                    <a:lnTo>
                      <a:pt x="87059" y="61722"/>
                    </a:lnTo>
                    <a:lnTo>
                      <a:pt x="71533" y="61722"/>
                    </a:lnTo>
                    <a:lnTo>
                      <a:pt x="71533" y="27908"/>
                    </a:lnTo>
                    <a:cubicBezTo>
                      <a:pt x="71533" y="23336"/>
                      <a:pt x="70866" y="19907"/>
                      <a:pt x="69533" y="17431"/>
                    </a:cubicBezTo>
                    <a:cubicBezTo>
                      <a:pt x="68199" y="14954"/>
                      <a:pt x="66008" y="13716"/>
                      <a:pt x="62865" y="13716"/>
                    </a:cubicBezTo>
                    <a:cubicBezTo>
                      <a:pt x="60770" y="13716"/>
                      <a:pt x="58865" y="14383"/>
                      <a:pt x="57245" y="15621"/>
                    </a:cubicBezTo>
                    <a:cubicBezTo>
                      <a:pt x="55626" y="16859"/>
                      <a:pt x="54197" y="18574"/>
                      <a:pt x="53245" y="20860"/>
                    </a:cubicBezTo>
                    <a:cubicBezTo>
                      <a:pt x="52292" y="23146"/>
                      <a:pt x="51721" y="25717"/>
                      <a:pt x="51626" y="28575"/>
                    </a:cubicBezTo>
                    <a:lnTo>
                      <a:pt x="51626" y="61722"/>
                    </a:lnTo>
                    <a:lnTo>
                      <a:pt x="36100" y="61722"/>
                    </a:lnTo>
                    <a:lnTo>
                      <a:pt x="36100" y="27908"/>
                    </a:lnTo>
                    <a:cubicBezTo>
                      <a:pt x="36100" y="23336"/>
                      <a:pt x="35433" y="19907"/>
                      <a:pt x="34100" y="17431"/>
                    </a:cubicBezTo>
                    <a:cubicBezTo>
                      <a:pt x="32766" y="14954"/>
                      <a:pt x="30575" y="13716"/>
                      <a:pt x="27432" y="13716"/>
                    </a:cubicBezTo>
                    <a:cubicBezTo>
                      <a:pt x="25337" y="13716"/>
                      <a:pt x="23432" y="14383"/>
                      <a:pt x="21717" y="15716"/>
                    </a:cubicBezTo>
                    <a:cubicBezTo>
                      <a:pt x="20003" y="17050"/>
                      <a:pt x="18669" y="18859"/>
                      <a:pt x="17717" y="21241"/>
                    </a:cubicBezTo>
                    <a:cubicBezTo>
                      <a:pt x="16764" y="23622"/>
                      <a:pt x="16288" y="26289"/>
                      <a:pt x="16288" y="29337"/>
                    </a:cubicBezTo>
                    <a:lnTo>
                      <a:pt x="16288" y="61722"/>
                    </a:lnTo>
                    <a:lnTo>
                      <a:pt x="571" y="61722"/>
                    </a:lnTo>
                    <a:lnTo>
                      <a:pt x="571" y="14859"/>
                    </a:lnTo>
                    <a:close/>
                  </a:path>
                </a:pathLst>
              </a:custGeom>
              <a:solidFill>
                <a:srgbClr val="231F20"/>
              </a:solidFill>
              <a:ln w="9525" cap="flat">
                <a:noFill/>
                <a:prstDash val="solid"/>
                <a:miter/>
              </a:ln>
            </p:spPr>
            <p:txBody>
              <a:bodyPr rtlCol="0" anchor="ctr"/>
              <a:lstStyle/>
              <a:p>
                <a:pPr marL="0" marR="0" lvl="0" indent="0" algn="l" defTabSz="913578" rtl="0" eaLnBrk="1" fontAlgn="auto" latinLnBrk="0" hangingPunct="1">
                  <a:lnSpc>
                    <a:spcPct val="100000"/>
                  </a:lnSpc>
                  <a:spcBef>
                    <a:spcPts val="0"/>
                  </a:spcBef>
                  <a:spcAft>
                    <a:spcPts val="0"/>
                  </a:spcAft>
                  <a:buClrTx/>
                  <a:buSzTx/>
                  <a:buFontTx/>
                  <a:buNone/>
                  <a:tabLst/>
                  <a:defRPr/>
                </a:pPr>
                <a:endParaRPr kumimoji="0" lang="en-US" sz="17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362" name="Freeform: Shape 187">
                <a:extLst>
                  <a:ext uri="{FF2B5EF4-FFF2-40B4-BE49-F238E27FC236}">
                    <a16:creationId xmlns:a16="http://schemas.microsoft.com/office/drawing/2014/main" id="{A614E934-629E-3F69-1EED-1DC11603EEB6}"/>
                  </a:ext>
                </a:extLst>
              </p:cNvPr>
              <p:cNvSpPr/>
              <p:nvPr/>
            </p:nvSpPr>
            <p:spPr>
              <a:xfrm>
                <a:off x="6041421" y="3206019"/>
                <a:ext cx="53149" cy="62674"/>
              </a:xfrm>
              <a:custGeom>
                <a:avLst/>
                <a:gdLst>
                  <a:gd name="connsiteX0" fmla="*/ 8954 w 53149"/>
                  <a:gd name="connsiteY0" fmla="*/ 60388 h 62674"/>
                  <a:gd name="connsiteX1" fmla="*/ 2381 w 53149"/>
                  <a:gd name="connsiteY1" fmla="*/ 54197 h 62674"/>
                  <a:gd name="connsiteX2" fmla="*/ 0 w 53149"/>
                  <a:gd name="connsiteY2" fmla="*/ 44387 h 62674"/>
                  <a:gd name="connsiteX3" fmla="*/ 6477 w 53149"/>
                  <a:gd name="connsiteY3" fmla="*/ 29813 h 62674"/>
                  <a:gd name="connsiteX4" fmla="*/ 23908 w 53149"/>
                  <a:gd name="connsiteY4" fmla="*/ 25051 h 62674"/>
                  <a:gd name="connsiteX5" fmla="*/ 36957 w 53149"/>
                  <a:gd name="connsiteY5" fmla="*/ 24860 h 62674"/>
                  <a:gd name="connsiteX6" fmla="*/ 36957 w 53149"/>
                  <a:gd name="connsiteY6" fmla="*/ 22003 h 62674"/>
                  <a:gd name="connsiteX7" fmla="*/ 34290 w 53149"/>
                  <a:gd name="connsiteY7" fmla="*/ 14288 h 62674"/>
                  <a:gd name="connsiteX8" fmla="*/ 27051 w 53149"/>
                  <a:gd name="connsiteY8" fmla="*/ 12097 h 62674"/>
                  <a:gd name="connsiteX9" fmla="*/ 10763 w 53149"/>
                  <a:gd name="connsiteY9" fmla="*/ 19431 h 62674"/>
                  <a:gd name="connsiteX10" fmla="*/ 3334 w 53149"/>
                  <a:gd name="connsiteY10" fmla="*/ 9620 h 62674"/>
                  <a:gd name="connsiteX11" fmla="*/ 27908 w 53149"/>
                  <a:gd name="connsiteY11" fmla="*/ 0 h 62674"/>
                  <a:gd name="connsiteX12" fmla="*/ 46196 w 53149"/>
                  <a:gd name="connsiteY12" fmla="*/ 5620 h 62674"/>
                  <a:gd name="connsiteX13" fmla="*/ 52673 w 53149"/>
                  <a:gd name="connsiteY13" fmla="*/ 21622 h 62674"/>
                  <a:gd name="connsiteX14" fmla="*/ 52673 w 53149"/>
                  <a:gd name="connsiteY14" fmla="*/ 43720 h 62674"/>
                  <a:gd name="connsiteX15" fmla="*/ 53150 w 53149"/>
                  <a:gd name="connsiteY15" fmla="*/ 61532 h 62674"/>
                  <a:gd name="connsiteX16" fmla="*/ 38291 w 53149"/>
                  <a:gd name="connsiteY16" fmla="*/ 61532 h 62674"/>
                  <a:gd name="connsiteX17" fmla="*/ 37910 w 53149"/>
                  <a:gd name="connsiteY17" fmla="*/ 53054 h 62674"/>
                  <a:gd name="connsiteX18" fmla="*/ 37529 w 53149"/>
                  <a:gd name="connsiteY18" fmla="*/ 53054 h 62674"/>
                  <a:gd name="connsiteX19" fmla="*/ 29813 w 53149"/>
                  <a:gd name="connsiteY19" fmla="*/ 60198 h 62674"/>
                  <a:gd name="connsiteX20" fmla="*/ 18764 w 53149"/>
                  <a:gd name="connsiteY20" fmla="*/ 62675 h 62674"/>
                  <a:gd name="connsiteX21" fmla="*/ 8954 w 53149"/>
                  <a:gd name="connsiteY21" fmla="*/ 60579 h 62674"/>
                  <a:gd name="connsiteX22" fmla="*/ 30575 w 53149"/>
                  <a:gd name="connsiteY22" fmla="*/ 48768 h 62674"/>
                  <a:gd name="connsiteX23" fmla="*/ 35338 w 53149"/>
                  <a:gd name="connsiteY23" fmla="*/ 43910 h 62674"/>
                  <a:gd name="connsiteX24" fmla="*/ 37052 w 53149"/>
                  <a:gd name="connsiteY24" fmla="*/ 37529 h 62674"/>
                  <a:gd name="connsiteX25" fmla="*/ 37052 w 53149"/>
                  <a:gd name="connsiteY25" fmla="*/ 34481 h 62674"/>
                  <a:gd name="connsiteX26" fmla="*/ 28956 w 53149"/>
                  <a:gd name="connsiteY26" fmla="*/ 34481 h 62674"/>
                  <a:gd name="connsiteX27" fmla="*/ 22288 w 53149"/>
                  <a:gd name="connsiteY27" fmla="*/ 35433 h 62674"/>
                  <a:gd name="connsiteX28" fmla="*/ 18098 w 53149"/>
                  <a:gd name="connsiteY28" fmla="*/ 37814 h 62674"/>
                  <a:gd name="connsiteX29" fmla="*/ 16478 w 53149"/>
                  <a:gd name="connsiteY29" fmla="*/ 43053 h 62674"/>
                  <a:gd name="connsiteX30" fmla="*/ 18479 w 53149"/>
                  <a:gd name="connsiteY30" fmla="*/ 48673 h 62674"/>
                  <a:gd name="connsiteX31" fmla="*/ 23813 w 53149"/>
                  <a:gd name="connsiteY31" fmla="*/ 50578 h 62674"/>
                  <a:gd name="connsiteX32" fmla="*/ 30671 w 53149"/>
                  <a:gd name="connsiteY32" fmla="*/ 48768 h 626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53149" h="62674">
                    <a:moveTo>
                      <a:pt x="8954" y="60388"/>
                    </a:moveTo>
                    <a:cubicBezTo>
                      <a:pt x="6191" y="58960"/>
                      <a:pt x="4001" y="56864"/>
                      <a:pt x="2381" y="54197"/>
                    </a:cubicBezTo>
                    <a:cubicBezTo>
                      <a:pt x="762" y="51530"/>
                      <a:pt x="0" y="48196"/>
                      <a:pt x="0" y="44387"/>
                    </a:cubicBezTo>
                    <a:cubicBezTo>
                      <a:pt x="0" y="37719"/>
                      <a:pt x="2191" y="32861"/>
                      <a:pt x="6477" y="29813"/>
                    </a:cubicBezTo>
                    <a:cubicBezTo>
                      <a:pt x="10763" y="26765"/>
                      <a:pt x="16574" y="25241"/>
                      <a:pt x="23908" y="25051"/>
                    </a:cubicBezTo>
                    <a:lnTo>
                      <a:pt x="36957" y="24860"/>
                    </a:lnTo>
                    <a:lnTo>
                      <a:pt x="36957" y="22003"/>
                    </a:lnTo>
                    <a:cubicBezTo>
                      <a:pt x="36957" y="18288"/>
                      <a:pt x="36100" y="15716"/>
                      <a:pt x="34290" y="14288"/>
                    </a:cubicBezTo>
                    <a:cubicBezTo>
                      <a:pt x="32480" y="12859"/>
                      <a:pt x="30099" y="12097"/>
                      <a:pt x="27051" y="12097"/>
                    </a:cubicBezTo>
                    <a:cubicBezTo>
                      <a:pt x="21717" y="12097"/>
                      <a:pt x="16288" y="14573"/>
                      <a:pt x="10763" y="19431"/>
                    </a:cubicBezTo>
                    <a:lnTo>
                      <a:pt x="3334" y="9620"/>
                    </a:lnTo>
                    <a:cubicBezTo>
                      <a:pt x="10573" y="3238"/>
                      <a:pt x="18764" y="0"/>
                      <a:pt x="27908" y="0"/>
                    </a:cubicBezTo>
                    <a:cubicBezTo>
                      <a:pt x="35719" y="0"/>
                      <a:pt x="41815" y="1905"/>
                      <a:pt x="46196" y="5620"/>
                    </a:cubicBezTo>
                    <a:cubicBezTo>
                      <a:pt x="50578" y="9335"/>
                      <a:pt x="52673" y="14669"/>
                      <a:pt x="52673" y="21622"/>
                    </a:cubicBezTo>
                    <a:lnTo>
                      <a:pt x="52673" y="43720"/>
                    </a:lnTo>
                    <a:cubicBezTo>
                      <a:pt x="52673" y="50387"/>
                      <a:pt x="52864" y="56293"/>
                      <a:pt x="53150" y="61532"/>
                    </a:cubicBezTo>
                    <a:lnTo>
                      <a:pt x="38291" y="61532"/>
                    </a:lnTo>
                    <a:cubicBezTo>
                      <a:pt x="38005" y="58865"/>
                      <a:pt x="37910" y="56102"/>
                      <a:pt x="37910" y="53054"/>
                    </a:cubicBezTo>
                    <a:lnTo>
                      <a:pt x="37529" y="53054"/>
                    </a:lnTo>
                    <a:cubicBezTo>
                      <a:pt x="35528" y="56102"/>
                      <a:pt x="32957" y="58483"/>
                      <a:pt x="29813" y="60198"/>
                    </a:cubicBezTo>
                    <a:cubicBezTo>
                      <a:pt x="26670" y="61913"/>
                      <a:pt x="22955" y="62675"/>
                      <a:pt x="18764" y="62675"/>
                    </a:cubicBezTo>
                    <a:cubicBezTo>
                      <a:pt x="15050" y="62675"/>
                      <a:pt x="11811" y="62008"/>
                      <a:pt x="8954" y="60579"/>
                    </a:cubicBezTo>
                    <a:close/>
                    <a:moveTo>
                      <a:pt x="30575" y="48768"/>
                    </a:moveTo>
                    <a:cubicBezTo>
                      <a:pt x="32576" y="47530"/>
                      <a:pt x="34195" y="45911"/>
                      <a:pt x="35338" y="43910"/>
                    </a:cubicBezTo>
                    <a:cubicBezTo>
                      <a:pt x="36481" y="41910"/>
                      <a:pt x="37052" y="39815"/>
                      <a:pt x="37052" y="37529"/>
                    </a:cubicBezTo>
                    <a:lnTo>
                      <a:pt x="37052" y="34481"/>
                    </a:lnTo>
                    <a:lnTo>
                      <a:pt x="28956" y="34481"/>
                    </a:lnTo>
                    <a:cubicBezTo>
                      <a:pt x="26194" y="34766"/>
                      <a:pt x="24003" y="35052"/>
                      <a:pt x="22288" y="35433"/>
                    </a:cubicBezTo>
                    <a:cubicBezTo>
                      <a:pt x="20574" y="35814"/>
                      <a:pt x="19145" y="36576"/>
                      <a:pt x="18098" y="37814"/>
                    </a:cubicBezTo>
                    <a:cubicBezTo>
                      <a:pt x="17050" y="39053"/>
                      <a:pt x="16478" y="40767"/>
                      <a:pt x="16478" y="43053"/>
                    </a:cubicBezTo>
                    <a:cubicBezTo>
                      <a:pt x="16478" y="45339"/>
                      <a:pt x="17145" y="47339"/>
                      <a:pt x="18479" y="48673"/>
                    </a:cubicBezTo>
                    <a:cubicBezTo>
                      <a:pt x="19812" y="50006"/>
                      <a:pt x="21622" y="50578"/>
                      <a:pt x="23813" y="50578"/>
                    </a:cubicBezTo>
                    <a:cubicBezTo>
                      <a:pt x="26384" y="50578"/>
                      <a:pt x="28670" y="50006"/>
                      <a:pt x="30671" y="48768"/>
                    </a:cubicBezTo>
                    <a:close/>
                  </a:path>
                </a:pathLst>
              </a:custGeom>
              <a:solidFill>
                <a:srgbClr val="231F20"/>
              </a:solidFill>
              <a:ln w="9525" cap="flat">
                <a:noFill/>
                <a:prstDash val="solid"/>
                <a:miter/>
              </a:ln>
            </p:spPr>
            <p:txBody>
              <a:bodyPr rtlCol="0" anchor="ctr"/>
              <a:lstStyle/>
              <a:p>
                <a:pPr marL="0" marR="0" lvl="0" indent="0" algn="l" defTabSz="913578" rtl="0" eaLnBrk="1" fontAlgn="auto" latinLnBrk="0" hangingPunct="1">
                  <a:lnSpc>
                    <a:spcPct val="100000"/>
                  </a:lnSpc>
                  <a:spcBef>
                    <a:spcPts val="0"/>
                  </a:spcBef>
                  <a:spcAft>
                    <a:spcPts val="0"/>
                  </a:spcAft>
                  <a:buClrTx/>
                  <a:buSzTx/>
                  <a:buFontTx/>
                  <a:buNone/>
                  <a:tabLst/>
                  <a:defRPr/>
                </a:pPr>
                <a:endParaRPr kumimoji="0" lang="en-US" sz="17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363" name="Freeform: Shape 188">
                <a:extLst>
                  <a:ext uri="{FF2B5EF4-FFF2-40B4-BE49-F238E27FC236}">
                    <a16:creationId xmlns:a16="http://schemas.microsoft.com/office/drawing/2014/main" id="{1DF93D75-A3F0-E35C-5B5D-C7FF45B40124}"/>
                  </a:ext>
                </a:extLst>
              </p:cNvPr>
              <p:cNvSpPr/>
              <p:nvPr/>
            </p:nvSpPr>
            <p:spPr>
              <a:xfrm>
                <a:off x="6109049" y="3205924"/>
                <a:ext cx="55149" cy="61721"/>
              </a:xfrm>
              <a:custGeom>
                <a:avLst/>
                <a:gdLst>
                  <a:gd name="connsiteX0" fmla="*/ 381 w 55149"/>
                  <a:gd name="connsiteY0" fmla="*/ 14668 h 61721"/>
                  <a:gd name="connsiteX1" fmla="*/ 286 w 55149"/>
                  <a:gd name="connsiteY1" fmla="*/ 6763 h 61721"/>
                  <a:gd name="connsiteX2" fmla="*/ 0 w 55149"/>
                  <a:gd name="connsiteY2" fmla="*/ 1238 h 61721"/>
                  <a:gd name="connsiteX3" fmla="*/ 14954 w 55149"/>
                  <a:gd name="connsiteY3" fmla="*/ 1238 h 61721"/>
                  <a:gd name="connsiteX4" fmla="*/ 15430 w 55149"/>
                  <a:gd name="connsiteY4" fmla="*/ 6191 h 61721"/>
                  <a:gd name="connsiteX5" fmla="*/ 15716 w 55149"/>
                  <a:gd name="connsiteY5" fmla="*/ 12097 h 61721"/>
                  <a:gd name="connsiteX6" fmla="*/ 15907 w 55149"/>
                  <a:gd name="connsiteY6" fmla="*/ 12097 h 61721"/>
                  <a:gd name="connsiteX7" fmla="*/ 23908 w 55149"/>
                  <a:gd name="connsiteY7" fmla="*/ 2953 h 61721"/>
                  <a:gd name="connsiteX8" fmla="*/ 35338 w 55149"/>
                  <a:gd name="connsiteY8" fmla="*/ 0 h 61721"/>
                  <a:gd name="connsiteX9" fmla="*/ 50387 w 55149"/>
                  <a:gd name="connsiteY9" fmla="*/ 6382 h 61721"/>
                  <a:gd name="connsiteX10" fmla="*/ 55150 w 55149"/>
                  <a:gd name="connsiteY10" fmla="*/ 23336 h 61721"/>
                  <a:gd name="connsiteX11" fmla="*/ 55150 w 55149"/>
                  <a:gd name="connsiteY11" fmla="*/ 61627 h 61721"/>
                  <a:gd name="connsiteX12" fmla="*/ 39529 w 55149"/>
                  <a:gd name="connsiteY12" fmla="*/ 61627 h 61721"/>
                  <a:gd name="connsiteX13" fmla="*/ 39529 w 55149"/>
                  <a:gd name="connsiteY13" fmla="*/ 27813 h 61721"/>
                  <a:gd name="connsiteX14" fmla="*/ 37243 w 55149"/>
                  <a:gd name="connsiteY14" fmla="*/ 17240 h 61721"/>
                  <a:gd name="connsiteX15" fmla="*/ 29337 w 55149"/>
                  <a:gd name="connsiteY15" fmla="*/ 13525 h 61721"/>
                  <a:gd name="connsiteX16" fmla="*/ 22574 w 55149"/>
                  <a:gd name="connsiteY16" fmla="*/ 15526 h 61721"/>
                  <a:gd name="connsiteX17" fmla="*/ 17812 w 55149"/>
                  <a:gd name="connsiteY17" fmla="*/ 21146 h 61721"/>
                  <a:gd name="connsiteX18" fmla="*/ 16097 w 55149"/>
                  <a:gd name="connsiteY18" fmla="*/ 29337 h 61721"/>
                  <a:gd name="connsiteX19" fmla="*/ 16097 w 55149"/>
                  <a:gd name="connsiteY19" fmla="*/ 61722 h 61721"/>
                  <a:gd name="connsiteX20" fmla="*/ 381 w 55149"/>
                  <a:gd name="connsiteY20" fmla="*/ 61722 h 61721"/>
                  <a:gd name="connsiteX21" fmla="*/ 381 w 55149"/>
                  <a:gd name="connsiteY21" fmla="*/ 14859 h 617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5149" h="61721">
                    <a:moveTo>
                      <a:pt x="381" y="14668"/>
                    </a:moveTo>
                    <a:cubicBezTo>
                      <a:pt x="381" y="12097"/>
                      <a:pt x="381" y="9430"/>
                      <a:pt x="286" y="6763"/>
                    </a:cubicBezTo>
                    <a:cubicBezTo>
                      <a:pt x="191" y="4096"/>
                      <a:pt x="95" y="2191"/>
                      <a:pt x="0" y="1238"/>
                    </a:cubicBezTo>
                    <a:lnTo>
                      <a:pt x="14954" y="1238"/>
                    </a:lnTo>
                    <a:cubicBezTo>
                      <a:pt x="15145" y="2096"/>
                      <a:pt x="15240" y="3715"/>
                      <a:pt x="15430" y="6191"/>
                    </a:cubicBezTo>
                    <a:cubicBezTo>
                      <a:pt x="15621" y="8668"/>
                      <a:pt x="15716" y="10668"/>
                      <a:pt x="15716" y="12097"/>
                    </a:cubicBezTo>
                    <a:lnTo>
                      <a:pt x="15907" y="12097"/>
                    </a:lnTo>
                    <a:cubicBezTo>
                      <a:pt x="18002" y="8001"/>
                      <a:pt x="20669" y="4953"/>
                      <a:pt x="23908" y="2953"/>
                    </a:cubicBezTo>
                    <a:cubicBezTo>
                      <a:pt x="27146" y="952"/>
                      <a:pt x="30956" y="0"/>
                      <a:pt x="35338" y="0"/>
                    </a:cubicBezTo>
                    <a:cubicBezTo>
                      <a:pt x="42196" y="0"/>
                      <a:pt x="47244" y="2096"/>
                      <a:pt x="50387" y="6382"/>
                    </a:cubicBezTo>
                    <a:cubicBezTo>
                      <a:pt x="53530" y="10668"/>
                      <a:pt x="55150" y="16288"/>
                      <a:pt x="55150" y="23336"/>
                    </a:cubicBezTo>
                    <a:lnTo>
                      <a:pt x="55150" y="61627"/>
                    </a:lnTo>
                    <a:lnTo>
                      <a:pt x="39529" y="61627"/>
                    </a:lnTo>
                    <a:lnTo>
                      <a:pt x="39529" y="27813"/>
                    </a:lnTo>
                    <a:cubicBezTo>
                      <a:pt x="39529" y="23241"/>
                      <a:pt x="38767" y="19717"/>
                      <a:pt x="37243" y="17240"/>
                    </a:cubicBezTo>
                    <a:cubicBezTo>
                      <a:pt x="35719" y="14764"/>
                      <a:pt x="33052" y="13525"/>
                      <a:pt x="29337" y="13525"/>
                    </a:cubicBezTo>
                    <a:cubicBezTo>
                      <a:pt x="26765" y="13525"/>
                      <a:pt x="24575" y="14192"/>
                      <a:pt x="22574" y="15526"/>
                    </a:cubicBezTo>
                    <a:cubicBezTo>
                      <a:pt x="20574" y="16859"/>
                      <a:pt x="18955" y="18669"/>
                      <a:pt x="17812" y="21146"/>
                    </a:cubicBezTo>
                    <a:cubicBezTo>
                      <a:pt x="16669" y="23622"/>
                      <a:pt x="16097" y="26289"/>
                      <a:pt x="16097" y="29337"/>
                    </a:cubicBezTo>
                    <a:lnTo>
                      <a:pt x="16097" y="61722"/>
                    </a:lnTo>
                    <a:lnTo>
                      <a:pt x="381" y="61722"/>
                    </a:lnTo>
                    <a:lnTo>
                      <a:pt x="381" y="14859"/>
                    </a:lnTo>
                    <a:close/>
                  </a:path>
                </a:pathLst>
              </a:custGeom>
              <a:solidFill>
                <a:srgbClr val="231F20"/>
              </a:solidFill>
              <a:ln w="9525" cap="flat">
                <a:noFill/>
                <a:prstDash val="solid"/>
                <a:miter/>
              </a:ln>
            </p:spPr>
            <p:txBody>
              <a:bodyPr rtlCol="0" anchor="ctr"/>
              <a:lstStyle/>
              <a:p>
                <a:pPr marL="0" marR="0" lvl="0" indent="0" algn="l" defTabSz="913578" rtl="0" eaLnBrk="1" fontAlgn="auto" latinLnBrk="0" hangingPunct="1">
                  <a:lnSpc>
                    <a:spcPct val="100000"/>
                  </a:lnSpc>
                  <a:spcBef>
                    <a:spcPts val="0"/>
                  </a:spcBef>
                  <a:spcAft>
                    <a:spcPts val="0"/>
                  </a:spcAft>
                  <a:buClrTx/>
                  <a:buSzTx/>
                  <a:buFontTx/>
                  <a:buNone/>
                  <a:tabLst/>
                  <a:defRPr/>
                </a:pPr>
                <a:endParaRPr kumimoji="0" lang="en-US" sz="17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364" name="Freeform: Shape 189">
                <a:extLst>
                  <a:ext uri="{FF2B5EF4-FFF2-40B4-BE49-F238E27FC236}">
                    <a16:creationId xmlns:a16="http://schemas.microsoft.com/office/drawing/2014/main" id="{CC803078-F1CA-A04E-DF8F-3E7D5DE30B13}"/>
                  </a:ext>
                </a:extLst>
              </p:cNvPr>
              <p:cNvSpPr/>
              <p:nvPr/>
            </p:nvSpPr>
            <p:spPr>
              <a:xfrm>
                <a:off x="6174866" y="3206019"/>
                <a:ext cx="53149" cy="62674"/>
              </a:xfrm>
              <a:custGeom>
                <a:avLst/>
                <a:gdLst>
                  <a:gd name="connsiteX0" fmla="*/ 8954 w 53149"/>
                  <a:gd name="connsiteY0" fmla="*/ 60388 h 62674"/>
                  <a:gd name="connsiteX1" fmla="*/ 2381 w 53149"/>
                  <a:gd name="connsiteY1" fmla="*/ 54197 h 62674"/>
                  <a:gd name="connsiteX2" fmla="*/ 0 w 53149"/>
                  <a:gd name="connsiteY2" fmla="*/ 44387 h 62674"/>
                  <a:gd name="connsiteX3" fmla="*/ 6477 w 53149"/>
                  <a:gd name="connsiteY3" fmla="*/ 29813 h 62674"/>
                  <a:gd name="connsiteX4" fmla="*/ 23908 w 53149"/>
                  <a:gd name="connsiteY4" fmla="*/ 25051 h 62674"/>
                  <a:gd name="connsiteX5" fmla="*/ 36957 w 53149"/>
                  <a:gd name="connsiteY5" fmla="*/ 24860 h 62674"/>
                  <a:gd name="connsiteX6" fmla="*/ 36957 w 53149"/>
                  <a:gd name="connsiteY6" fmla="*/ 22003 h 62674"/>
                  <a:gd name="connsiteX7" fmla="*/ 34290 w 53149"/>
                  <a:gd name="connsiteY7" fmla="*/ 14288 h 62674"/>
                  <a:gd name="connsiteX8" fmla="*/ 27051 w 53149"/>
                  <a:gd name="connsiteY8" fmla="*/ 12097 h 62674"/>
                  <a:gd name="connsiteX9" fmla="*/ 10763 w 53149"/>
                  <a:gd name="connsiteY9" fmla="*/ 19431 h 62674"/>
                  <a:gd name="connsiteX10" fmla="*/ 3334 w 53149"/>
                  <a:gd name="connsiteY10" fmla="*/ 9620 h 62674"/>
                  <a:gd name="connsiteX11" fmla="*/ 27908 w 53149"/>
                  <a:gd name="connsiteY11" fmla="*/ 0 h 62674"/>
                  <a:gd name="connsiteX12" fmla="*/ 46196 w 53149"/>
                  <a:gd name="connsiteY12" fmla="*/ 5620 h 62674"/>
                  <a:gd name="connsiteX13" fmla="*/ 52673 w 53149"/>
                  <a:gd name="connsiteY13" fmla="*/ 21622 h 62674"/>
                  <a:gd name="connsiteX14" fmla="*/ 52673 w 53149"/>
                  <a:gd name="connsiteY14" fmla="*/ 43720 h 62674"/>
                  <a:gd name="connsiteX15" fmla="*/ 53149 w 53149"/>
                  <a:gd name="connsiteY15" fmla="*/ 61532 h 62674"/>
                  <a:gd name="connsiteX16" fmla="*/ 38290 w 53149"/>
                  <a:gd name="connsiteY16" fmla="*/ 61532 h 62674"/>
                  <a:gd name="connsiteX17" fmla="*/ 37910 w 53149"/>
                  <a:gd name="connsiteY17" fmla="*/ 53054 h 62674"/>
                  <a:gd name="connsiteX18" fmla="*/ 37529 w 53149"/>
                  <a:gd name="connsiteY18" fmla="*/ 53054 h 62674"/>
                  <a:gd name="connsiteX19" fmla="*/ 29813 w 53149"/>
                  <a:gd name="connsiteY19" fmla="*/ 60198 h 62674"/>
                  <a:gd name="connsiteX20" fmla="*/ 18764 w 53149"/>
                  <a:gd name="connsiteY20" fmla="*/ 62675 h 62674"/>
                  <a:gd name="connsiteX21" fmla="*/ 8954 w 53149"/>
                  <a:gd name="connsiteY21" fmla="*/ 60579 h 62674"/>
                  <a:gd name="connsiteX22" fmla="*/ 30575 w 53149"/>
                  <a:gd name="connsiteY22" fmla="*/ 48768 h 62674"/>
                  <a:gd name="connsiteX23" fmla="*/ 35338 w 53149"/>
                  <a:gd name="connsiteY23" fmla="*/ 43910 h 62674"/>
                  <a:gd name="connsiteX24" fmla="*/ 37052 w 53149"/>
                  <a:gd name="connsiteY24" fmla="*/ 37529 h 62674"/>
                  <a:gd name="connsiteX25" fmla="*/ 37052 w 53149"/>
                  <a:gd name="connsiteY25" fmla="*/ 34481 h 62674"/>
                  <a:gd name="connsiteX26" fmla="*/ 28956 w 53149"/>
                  <a:gd name="connsiteY26" fmla="*/ 34481 h 62674"/>
                  <a:gd name="connsiteX27" fmla="*/ 22288 w 53149"/>
                  <a:gd name="connsiteY27" fmla="*/ 35433 h 62674"/>
                  <a:gd name="connsiteX28" fmla="*/ 18097 w 53149"/>
                  <a:gd name="connsiteY28" fmla="*/ 37814 h 62674"/>
                  <a:gd name="connsiteX29" fmla="*/ 16478 w 53149"/>
                  <a:gd name="connsiteY29" fmla="*/ 43053 h 62674"/>
                  <a:gd name="connsiteX30" fmla="*/ 18479 w 53149"/>
                  <a:gd name="connsiteY30" fmla="*/ 48673 h 62674"/>
                  <a:gd name="connsiteX31" fmla="*/ 23813 w 53149"/>
                  <a:gd name="connsiteY31" fmla="*/ 50578 h 62674"/>
                  <a:gd name="connsiteX32" fmla="*/ 30671 w 53149"/>
                  <a:gd name="connsiteY32" fmla="*/ 48768 h 626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53149" h="62674">
                    <a:moveTo>
                      <a:pt x="8954" y="60388"/>
                    </a:moveTo>
                    <a:cubicBezTo>
                      <a:pt x="6191" y="58960"/>
                      <a:pt x="4001" y="56864"/>
                      <a:pt x="2381" y="54197"/>
                    </a:cubicBezTo>
                    <a:cubicBezTo>
                      <a:pt x="762" y="51530"/>
                      <a:pt x="0" y="48196"/>
                      <a:pt x="0" y="44387"/>
                    </a:cubicBezTo>
                    <a:cubicBezTo>
                      <a:pt x="0" y="37719"/>
                      <a:pt x="2191" y="32861"/>
                      <a:pt x="6477" y="29813"/>
                    </a:cubicBezTo>
                    <a:cubicBezTo>
                      <a:pt x="10763" y="26765"/>
                      <a:pt x="16573" y="25241"/>
                      <a:pt x="23908" y="25051"/>
                    </a:cubicBezTo>
                    <a:lnTo>
                      <a:pt x="36957" y="24860"/>
                    </a:lnTo>
                    <a:lnTo>
                      <a:pt x="36957" y="22003"/>
                    </a:lnTo>
                    <a:cubicBezTo>
                      <a:pt x="36957" y="18288"/>
                      <a:pt x="36100" y="15716"/>
                      <a:pt x="34290" y="14288"/>
                    </a:cubicBezTo>
                    <a:cubicBezTo>
                      <a:pt x="32480" y="12859"/>
                      <a:pt x="30099" y="12097"/>
                      <a:pt x="27051" y="12097"/>
                    </a:cubicBezTo>
                    <a:cubicBezTo>
                      <a:pt x="21717" y="12097"/>
                      <a:pt x="16288" y="14573"/>
                      <a:pt x="10763" y="19431"/>
                    </a:cubicBezTo>
                    <a:lnTo>
                      <a:pt x="3334" y="9620"/>
                    </a:lnTo>
                    <a:cubicBezTo>
                      <a:pt x="10573" y="3238"/>
                      <a:pt x="18764" y="0"/>
                      <a:pt x="27908" y="0"/>
                    </a:cubicBezTo>
                    <a:cubicBezTo>
                      <a:pt x="35719" y="0"/>
                      <a:pt x="41815" y="1905"/>
                      <a:pt x="46196" y="5620"/>
                    </a:cubicBezTo>
                    <a:cubicBezTo>
                      <a:pt x="50578" y="9335"/>
                      <a:pt x="52673" y="14669"/>
                      <a:pt x="52673" y="21622"/>
                    </a:cubicBezTo>
                    <a:lnTo>
                      <a:pt x="52673" y="43720"/>
                    </a:lnTo>
                    <a:cubicBezTo>
                      <a:pt x="52673" y="50387"/>
                      <a:pt x="52864" y="56293"/>
                      <a:pt x="53149" y="61532"/>
                    </a:cubicBezTo>
                    <a:lnTo>
                      <a:pt x="38290" y="61532"/>
                    </a:lnTo>
                    <a:cubicBezTo>
                      <a:pt x="38005" y="58865"/>
                      <a:pt x="37910" y="56102"/>
                      <a:pt x="37910" y="53054"/>
                    </a:cubicBezTo>
                    <a:lnTo>
                      <a:pt x="37529" y="53054"/>
                    </a:lnTo>
                    <a:cubicBezTo>
                      <a:pt x="35528" y="56102"/>
                      <a:pt x="32956" y="58483"/>
                      <a:pt x="29813" y="60198"/>
                    </a:cubicBezTo>
                    <a:cubicBezTo>
                      <a:pt x="26670" y="61913"/>
                      <a:pt x="22955" y="62675"/>
                      <a:pt x="18764" y="62675"/>
                    </a:cubicBezTo>
                    <a:cubicBezTo>
                      <a:pt x="15049" y="62675"/>
                      <a:pt x="11811" y="62008"/>
                      <a:pt x="8954" y="60579"/>
                    </a:cubicBezTo>
                    <a:close/>
                    <a:moveTo>
                      <a:pt x="30575" y="48768"/>
                    </a:moveTo>
                    <a:cubicBezTo>
                      <a:pt x="32576" y="47530"/>
                      <a:pt x="34195" y="45911"/>
                      <a:pt x="35338" y="43910"/>
                    </a:cubicBezTo>
                    <a:cubicBezTo>
                      <a:pt x="36481" y="41910"/>
                      <a:pt x="37052" y="39815"/>
                      <a:pt x="37052" y="37529"/>
                    </a:cubicBezTo>
                    <a:lnTo>
                      <a:pt x="37052" y="34481"/>
                    </a:lnTo>
                    <a:lnTo>
                      <a:pt x="28956" y="34481"/>
                    </a:lnTo>
                    <a:cubicBezTo>
                      <a:pt x="26194" y="34766"/>
                      <a:pt x="24003" y="35052"/>
                      <a:pt x="22288" y="35433"/>
                    </a:cubicBezTo>
                    <a:cubicBezTo>
                      <a:pt x="20574" y="35814"/>
                      <a:pt x="19145" y="36576"/>
                      <a:pt x="18097" y="37814"/>
                    </a:cubicBezTo>
                    <a:cubicBezTo>
                      <a:pt x="17050" y="39053"/>
                      <a:pt x="16478" y="40767"/>
                      <a:pt x="16478" y="43053"/>
                    </a:cubicBezTo>
                    <a:cubicBezTo>
                      <a:pt x="16478" y="45339"/>
                      <a:pt x="17145" y="47339"/>
                      <a:pt x="18479" y="48673"/>
                    </a:cubicBezTo>
                    <a:cubicBezTo>
                      <a:pt x="19812" y="50006"/>
                      <a:pt x="21622" y="50578"/>
                      <a:pt x="23813" y="50578"/>
                    </a:cubicBezTo>
                    <a:cubicBezTo>
                      <a:pt x="26384" y="50578"/>
                      <a:pt x="28670" y="50006"/>
                      <a:pt x="30671" y="48768"/>
                    </a:cubicBezTo>
                    <a:close/>
                  </a:path>
                </a:pathLst>
              </a:custGeom>
              <a:solidFill>
                <a:srgbClr val="231F20"/>
              </a:solidFill>
              <a:ln w="9525" cap="flat">
                <a:noFill/>
                <a:prstDash val="solid"/>
                <a:miter/>
              </a:ln>
            </p:spPr>
            <p:txBody>
              <a:bodyPr rtlCol="0" anchor="ctr"/>
              <a:lstStyle/>
              <a:p>
                <a:pPr marL="0" marR="0" lvl="0" indent="0" algn="l" defTabSz="913578" rtl="0" eaLnBrk="1" fontAlgn="auto" latinLnBrk="0" hangingPunct="1">
                  <a:lnSpc>
                    <a:spcPct val="100000"/>
                  </a:lnSpc>
                  <a:spcBef>
                    <a:spcPts val="0"/>
                  </a:spcBef>
                  <a:spcAft>
                    <a:spcPts val="0"/>
                  </a:spcAft>
                  <a:buClrTx/>
                  <a:buSzTx/>
                  <a:buFontTx/>
                  <a:buNone/>
                  <a:tabLst/>
                  <a:defRPr/>
                </a:pPr>
                <a:endParaRPr kumimoji="0" lang="en-US" sz="17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365" name="Freeform: Shape 190">
                <a:extLst>
                  <a:ext uri="{FF2B5EF4-FFF2-40B4-BE49-F238E27FC236}">
                    <a16:creationId xmlns:a16="http://schemas.microsoft.com/office/drawing/2014/main" id="{63E3B98D-EBA3-6C2D-B2A6-3F9EF11A68DB}"/>
                  </a:ext>
                </a:extLst>
              </p:cNvPr>
              <p:cNvSpPr/>
              <p:nvPr/>
            </p:nvSpPr>
            <p:spPr>
              <a:xfrm>
                <a:off x="6238303" y="3201447"/>
                <a:ext cx="60769" cy="89725"/>
              </a:xfrm>
              <a:custGeom>
                <a:avLst/>
                <a:gdLst>
                  <a:gd name="connsiteX0" fmla="*/ 48196 w 60769"/>
                  <a:gd name="connsiteY0" fmla="*/ 54292 h 89725"/>
                  <a:gd name="connsiteX1" fmla="*/ 57245 w 60769"/>
                  <a:gd name="connsiteY1" fmla="*/ 59246 h 89725"/>
                  <a:gd name="connsiteX2" fmla="*/ 60770 w 60769"/>
                  <a:gd name="connsiteY2" fmla="*/ 70866 h 89725"/>
                  <a:gd name="connsiteX3" fmla="*/ 53149 w 60769"/>
                  <a:gd name="connsiteY3" fmla="*/ 85058 h 89725"/>
                  <a:gd name="connsiteX4" fmla="*/ 28956 w 60769"/>
                  <a:gd name="connsiteY4" fmla="*/ 89725 h 89725"/>
                  <a:gd name="connsiteX5" fmla="*/ 12192 w 60769"/>
                  <a:gd name="connsiteY5" fmla="*/ 88297 h 89725"/>
                  <a:gd name="connsiteX6" fmla="*/ 2953 w 60769"/>
                  <a:gd name="connsiteY6" fmla="*/ 83629 h 89725"/>
                  <a:gd name="connsiteX7" fmla="*/ 0 w 60769"/>
                  <a:gd name="connsiteY7" fmla="*/ 74867 h 89725"/>
                  <a:gd name="connsiteX8" fmla="*/ 2000 w 60769"/>
                  <a:gd name="connsiteY8" fmla="*/ 68008 h 89725"/>
                  <a:gd name="connsiteX9" fmla="*/ 8001 w 60769"/>
                  <a:gd name="connsiteY9" fmla="*/ 62198 h 89725"/>
                  <a:gd name="connsiteX10" fmla="*/ 4286 w 60769"/>
                  <a:gd name="connsiteY10" fmla="*/ 53626 h 89725"/>
                  <a:gd name="connsiteX11" fmla="*/ 6191 w 60769"/>
                  <a:gd name="connsiteY11" fmla="*/ 46768 h 89725"/>
                  <a:gd name="connsiteX12" fmla="*/ 11621 w 60769"/>
                  <a:gd name="connsiteY12" fmla="*/ 40958 h 89725"/>
                  <a:gd name="connsiteX13" fmla="*/ 5144 w 60769"/>
                  <a:gd name="connsiteY13" fmla="*/ 34290 h 89725"/>
                  <a:gd name="connsiteX14" fmla="*/ 2953 w 60769"/>
                  <a:gd name="connsiteY14" fmla="*/ 24860 h 89725"/>
                  <a:gd name="connsiteX15" fmla="*/ 5524 w 60769"/>
                  <a:gd name="connsiteY15" fmla="*/ 14478 h 89725"/>
                  <a:gd name="connsiteX16" fmla="*/ 13811 w 60769"/>
                  <a:gd name="connsiteY16" fmla="*/ 7239 h 89725"/>
                  <a:gd name="connsiteX17" fmla="*/ 28289 w 60769"/>
                  <a:gd name="connsiteY17" fmla="*/ 4572 h 89725"/>
                  <a:gd name="connsiteX18" fmla="*/ 43720 w 60769"/>
                  <a:gd name="connsiteY18" fmla="*/ 7906 h 89725"/>
                  <a:gd name="connsiteX19" fmla="*/ 50102 w 60769"/>
                  <a:gd name="connsiteY19" fmla="*/ 2000 h 89725"/>
                  <a:gd name="connsiteX20" fmla="*/ 58388 w 60769"/>
                  <a:gd name="connsiteY20" fmla="*/ 0 h 89725"/>
                  <a:gd name="connsiteX21" fmla="*/ 58579 w 60769"/>
                  <a:gd name="connsiteY21" fmla="*/ 0 h 89725"/>
                  <a:gd name="connsiteX22" fmla="*/ 59150 w 60769"/>
                  <a:gd name="connsiteY22" fmla="*/ 12763 h 89725"/>
                  <a:gd name="connsiteX23" fmla="*/ 58960 w 60769"/>
                  <a:gd name="connsiteY23" fmla="*/ 12763 h 89725"/>
                  <a:gd name="connsiteX24" fmla="*/ 50578 w 60769"/>
                  <a:gd name="connsiteY24" fmla="*/ 14002 h 89725"/>
                  <a:gd name="connsiteX25" fmla="*/ 53530 w 60769"/>
                  <a:gd name="connsiteY25" fmla="*/ 24860 h 89725"/>
                  <a:gd name="connsiteX26" fmla="*/ 50863 w 60769"/>
                  <a:gd name="connsiteY26" fmla="*/ 35052 h 89725"/>
                  <a:gd name="connsiteX27" fmla="*/ 42481 w 60769"/>
                  <a:gd name="connsiteY27" fmla="*/ 42196 h 89725"/>
                  <a:gd name="connsiteX28" fmla="*/ 28099 w 60769"/>
                  <a:gd name="connsiteY28" fmla="*/ 44863 h 89725"/>
                  <a:gd name="connsiteX29" fmla="*/ 20479 w 60769"/>
                  <a:gd name="connsiteY29" fmla="*/ 44196 h 89725"/>
                  <a:gd name="connsiteX30" fmla="*/ 18764 w 60769"/>
                  <a:gd name="connsiteY30" fmla="*/ 46292 h 89725"/>
                  <a:gd name="connsiteX31" fmla="*/ 18193 w 60769"/>
                  <a:gd name="connsiteY31" fmla="*/ 48387 h 89725"/>
                  <a:gd name="connsiteX32" fmla="*/ 19336 w 60769"/>
                  <a:gd name="connsiteY32" fmla="*/ 50673 h 89725"/>
                  <a:gd name="connsiteX33" fmla="*/ 22670 w 60769"/>
                  <a:gd name="connsiteY33" fmla="*/ 51721 h 89725"/>
                  <a:gd name="connsiteX34" fmla="*/ 29623 w 60769"/>
                  <a:gd name="connsiteY34" fmla="*/ 52292 h 89725"/>
                  <a:gd name="connsiteX35" fmla="*/ 32385 w 60769"/>
                  <a:gd name="connsiteY35" fmla="*/ 52483 h 89725"/>
                  <a:gd name="connsiteX36" fmla="*/ 48387 w 60769"/>
                  <a:gd name="connsiteY36" fmla="*/ 54292 h 89725"/>
                  <a:gd name="connsiteX37" fmla="*/ 41815 w 60769"/>
                  <a:gd name="connsiteY37" fmla="*/ 77248 h 89725"/>
                  <a:gd name="connsiteX38" fmla="*/ 45815 w 60769"/>
                  <a:gd name="connsiteY38" fmla="*/ 72771 h 89725"/>
                  <a:gd name="connsiteX39" fmla="*/ 44196 w 60769"/>
                  <a:gd name="connsiteY39" fmla="*/ 69437 h 89725"/>
                  <a:gd name="connsiteX40" fmla="*/ 39433 w 60769"/>
                  <a:gd name="connsiteY40" fmla="*/ 67913 h 89725"/>
                  <a:gd name="connsiteX41" fmla="*/ 29432 w 60769"/>
                  <a:gd name="connsiteY41" fmla="*/ 66961 h 89725"/>
                  <a:gd name="connsiteX42" fmla="*/ 27241 w 60769"/>
                  <a:gd name="connsiteY42" fmla="*/ 66770 h 89725"/>
                  <a:gd name="connsiteX43" fmla="*/ 23146 w 60769"/>
                  <a:gd name="connsiteY43" fmla="*/ 66484 h 89725"/>
                  <a:gd name="connsiteX44" fmla="*/ 16764 w 60769"/>
                  <a:gd name="connsiteY44" fmla="*/ 65722 h 89725"/>
                  <a:gd name="connsiteX45" fmla="*/ 14764 w 60769"/>
                  <a:gd name="connsiteY45" fmla="*/ 69056 h 89725"/>
                  <a:gd name="connsiteX46" fmla="*/ 14097 w 60769"/>
                  <a:gd name="connsiteY46" fmla="*/ 72676 h 89725"/>
                  <a:gd name="connsiteX47" fmla="*/ 15716 w 60769"/>
                  <a:gd name="connsiteY47" fmla="*/ 76486 h 89725"/>
                  <a:gd name="connsiteX48" fmla="*/ 20479 w 60769"/>
                  <a:gd name="connsiteY48" fmla="*/ 78200 h 89725"/>
                  <a:gd name="connsiteX49" fmla="*/ 29432 w 60769"/>
                  <a:gd name="connsiteY49" fmla="*/ 78581 h 89725"/>
                  <a:gd name="connsiteX50" fmla="*/ 41815 w 60769"/>
                  <a:gd name="connsiteY50" fmla="*/ 77343 h 89725"/>
                  <a:gd name="connsiteX51" fmla="*/ 20288 w 60769"/>
                  <a:gd name="connsiteY51" fmla="*/ 17717 h 89725"/>
                  <a:gd name="connsiteX52" fmla="*/ 17716 w 60769"/>
                  <a:gd name="connsiteY52" fmla="*/ 24860 h 89725"/>
                  <a:gd name="connsiteX53" fmla="*/ 20288 w 60769"/>
                  <a:gd name="connsiteY53" fmla="*/ 31813 h 89725"/>
                  <a:gd name="connsiteX54" fmla="*/ 27718 w 60769"/>
                  <a:gd name="connsiteY54" fmla="*/ 34290 h 89725"/>
                  <a:gd name="connsiteX55" fmla="*/ 36004 w 60769"/>
                  <a:gd name="connsiteY55" fmla="*/ 31813 h 89725"/>
                  <a:gd name="connsiteX56" fmla="*/ 38481 w 60769"/>
                  <a:gd name="connsiteY56" fmla="*/ 24860 h 89725"/>
                  <a:gd name="connsiteX57" fmla="*/ 35909 w 60769"/>
                  <a:gd name="connsiteY57" fmla="*/ 17717 h 89725"/>
                  <a:gd name="connsiteX58" fmla="*/ 28004 w 60769"/>
                  <a:gd name="connsiteY58" fmla="*/ 15145 h 89725"/>
                  <a:gd name="connsiteX59" fmla="*/ 20193 w 60769"/>
                  <a:gd name="connsiteY59" fmla="*/ 17717 h 89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60769" h="89725">
                    <a:moveTo>
                      <a:pt x="48196" y="54292"/>
                    </a:moveTo>
                    <a:cubicBezTo>
                      <a:pt x="51816" y="55054"/>
                      <a:pt x="54864" y="56674"/>
                      <a:pt x="57245" y="59246"/>
                    </a:cubicBezTo>
                    <a:cubicBezTo>
                      <a:pt x="59627" y="61817"/>
                      <a:pt x="60770" y="65627"/>
                      <a:pt x="60770" y="70866"/>
                    </a:cubicBezTo>
                    <a:cubicBezTo>
                      <a:pt x="60770" y="77248"/>
                      <a:pt x="58198" y="82010"/>
                      <a:pt x="53149" y="85058"/>
                    </a:cubicBezTo>
                    <a:cubicBezTo>
                      <a:pt x="48101" y="88106"/>
                      <a:pt x="40005" y="89725"/>
                      <a:pt x="28956" y="89725"/>
                    </a:cubicBezTo>
                    <a:cubicBezTo>
                      <a:pt x="22003" y="89725"/>
                      <a:pt x="16383" y="89249"/>
                      <a:pt x="12192" y="88297"/>
                    </a:cubicBezTo>
                    <a:cubicBezTo>
                      <a:pt x="8001" y="87344"/>
                      <a:pt x="4953" y="85820"/>
                      <a:pt x="2953" y="83629"/>
                    </a:cubicBezTo>
                    <a:cubicBezTo>
                      <a:pt x="953" y="81439"/>
                      <a:pt x="0" y="78581"/>
                      <a:pt x="0" y="74867"/>
                    </a:cubicBezTo>
                    <a:cubicBezTo>
                      <a:pt x="0" y="72295"/>
                      <a:pt x="667" y="70009"/>
                      <a:pt x="2000" y="68008"/>
                    </a:cubicBezTo>
                    <a:cubicBezTo>
                      <a:pt x="3334" y="66008"/>
                      <a:pt x="5334" y="64008"/>
                      <a:pt x="8001" y="62198"/>
                    </a:cubicBezTo>
                    <a:cubicBezTo>
                      <a:pt x="5524" y="60198"/>
                      <a:pt x="4286" y="57341"/>
                      <a:pt x="4286" y="53626"/>
                    </a:cubicBezTo>
                    <a:cubicBezTo>
                      <a:pt x="4286" y="51054"/>
                      <a:pt x="4953" y="48863"/>
                      <a:pt x="6191" y="46768"/>
                    </a:cubicBezTo>
                    <a:cubicBezTo>
                      <a:pt x="7429" y="44672"/>
                      <a:pt x="9239" y="42767"/>
                      <a:pt x="11621" y="40958"/>
                    </a:cubicBezTo>
                    <a:cubicBezTo>
                      <a:pt x="8763" y="39243"/>
                      <a:pt x="6668" y="37052"/>
                      <a:pt x="5144" y="34290"/>
                    </a:cubicBezTo>
                    <a:cubicBezTo>
                      <a:pt x="3620" y="31528"/>
                      <a:pt x="2953" y="28384"/>
                      <a:pt x="2953" y="24860"/>
                    </a:cubicBezTo>
                    <a:cubicBezTo>
                      <a:pt x="2953" y="20955"/>
                      <a:pt x="3810" y="17526"/>
                      <a:pt x="5524" y="14478"/>
                    </a:cubicBezTo>
                    <a:cubicBezTo>
                      <a:pt x="7239" y="11430"/>
                      <a:pt x="10001" y="8954"/>
                      <a:pt x="13811" y="7239"/>
                    </a:cubicBezTo>
                    <a:cubicBezTo>
                      <a:pt x="17621" y="5525"/>
                      <a:pt x="22384" y="4572"/>
                      <a:pt x="28289" y="4572"/>
                    </a:cubicBezTo>
                    <a:cubicBezTo>
                      <a:pt x="34480" y="4572"/>
                      <a:pt x="39624" y="5715"/>
                      <a:pt x="43720" y="7906"/>
                    </a:cubicBezTo>
                    <a:cubicBezTo>
                      <a:pt x="45625" y="5334"/>
                      <a:pt x="47815" y="3334"/>
                      <a:pt x="50102" y="2000"/>
                    </a:cubicBezTo>
                    <a:cubicBezTo>
                      <a:pt x="52388" y="667"/>
                      <a:pt x="55150" y="0"/>
                      <a:pt x="58388" y="0"/>
                    </a:cubicBezTo>
                    <a:lnTo>
                      <a:pt x="58579" y="0"/>
                    </a:lnTo>
                    <a:lnTo>
                      <a:pt x="59150" y="12763"/>
                    </a:lnTo>
                    <a:lnTo>
                      <a:pt x="58960" y="12763"/>
                    </a:lnTo>
                    <a:cubicBezTo>
                      <a:pt x="55721" y="12763"/>
                      <a:pt x="52959" y="13145"/>
                      <a:pt x="50578" y="14002"/>
                    </a:cubicBezTo>
                    <a:cubicBezTo>
                      <a:pt x="52578" y="17145"/>
                      <a:pt x="53530" y="20764"/>
                      <a:pt x="53530" y="24860"/>
                    </a:cubicBezTo>
                    <a:cubicBezTo>
                      <a:pt x="53530" y="28575"/>
                      <a:pt x="52673" y="32004"/>
                      <a:pt x="50863" y="35052"/>
                    </a:cubicBezTo>
                    <a:cubicBezTo>
                      <a:pt x="49054" y="38100"/>
                      <a:pt x="46291" y="40481"/>
                      <a:pt x="42481" y="42196"/>
                    </a:cubicBezTo>
                    <a:cubicBezTo>
                      <a:pt x="38671" y="43910"/>
                      <a:pt x="33814" y="44863"/>
                      <a:pt x="28099" y="44863"/>
                    </a:cubicBezTo>
                    <a:cubicBezTo>
                      <a:pt x="25337" y="44863"/>
                      <a:pt x="22860" y="44672"/>
                      <a:pt x="20479" y="44196"/>
                    </a:cubicBezTo>
                    <a:cubicBezTo>
                      <a:pt x="19717" y="44958"/>
                      <a:pt x="19145" y="45720"/>
                      <a:pt x="18764" y="46292"/>
                    </a:cubicBezTo>
                    <a:cubicBezTo>
                      <a:pt x="18383" y="46863"/>
                      <a:pt x="18193" y="47625"/>
                      <a:pt x="18193" y="48387"/>
                    </a:cubicBezTo>
                    <a:cubicBezTo>
                      <a:pt x="18193" y="49435"/>
                      <a:pt x="18574" y="50197"/>
                      <a:pt x="19336" y="50673"/>
                    </a:cubicBezTo>
                    <a:cubicBezTo>
                      <a:pt x="20098" y="51149"/>
                      <a:pt x="21241" y="51530"/>
                      <a:pt x="22670" y="51721"/>
                    </a:cubicBezTo>
                    <a:cubicBezTo>
                      <a:pt x="24098" y="51911"/>
                      <a:pt x="26479" y="52102"/>
                      <a:pt x="29623" y="52292"/>
                    </a:cubicBezTo>
                    <a:lnTo>
                      <a:pt x="32385" y="52483"/>
                    </a:lnTo>
                    <a:cubicBezTo>
                      <a:pt x="39433" y="52959"/>
                      <a:pt x="44768" y="53530"/>
                      <a:pt x="48387" y="54292"/>
                    </a:cubicBezTo>
                    <a:close/>
                    <a:moveTo>
                      <a:pt x="41815" y="77248"/>
                    </a:moveTo>
                    <a:cubicBezTo>
                      <a:pt x="44482" y="76391"/>
                      <a:pt x="45815" y="74962"/>
                      <a:pt x="45815" y="72771"/>
                    </a:cubicBezTo>
                    <a:cubicBezTo>
                      <a:pt x="45815" y="71247"/>
                      <a:pt x="45244" y="70199"/>
                      <a:pt x="44196" y="69437"/>
                    </a:cubicBezTo>
                    <a:cubicBezTo>
                      <a:pt x="43148" y="68675"/>
                      <a:pt x="41529" y="68199"/>
                      <a:pt x="39433" y="67913"/>
                    </a:cubicBezTo>
                    <a:cubicBezTo>
                      <a:pt x="37338" y="67628"/>
                      <a:pt x="34004" y="67246"/>
                      <a:pt x="29432" y="66961"/>
                    </a:cubicBezTo>
                    <a:lnTo>
                      <a:pt x="27241" y="66770"/>
                    </a:lnTo>
                    <a:cubicBezTo>
                      <a:pt x="27241" y="66770"/>
                      <a:pt x="25527" y="66675"/>
                      <a:pt x="23146" y="66484"/>
                    </a:cubicBezTo>
                    <a:cubicBezTo>
                      <a:pt x="20764" y="66294"/>
                      <a:pt x="18669" y="66008"/>
                      <a:pt x="16764" y="65722"/>
                    </a:cubicBezTo>
                    <a:cubicBezTo>
                      <a:pt x="15907" y="66866"/>
                      <a:pt x="15240" y="67913"/>
                      <a:pt x="14764" y="69056"/>
                    </a:cubicBezTo>
                    <a:cubicBezTo>
                      <a:pt x="14288" y="70199"/>
                      <a:pt x="14097" y="71342"/>
                      <a:pt x="14097" y="72676"/>
                    </a:cubicBezTo>
                    <a:cubicBezTo>
                      <a:pt x="14097" y="74390"/>
                      <a:pt x="14669" y="75629"/>
                      <a:pt x="15716" y="76486"/>
                    </a:cubicBezTo>
                    <a:cubicBezTo>
                      <a:pt x="16764" y="77343"/>
                      <a:pt x="18383" y="77914"/>
                      <a:pt x="20479" y="78200"/>
                    </a:cubicBezTo>
                    <a:cubicBezTo>
                      <a:pt x="22574" y="78486"/>
                      <a:pt x="25622" y="78581"/>
                      <a:pt x="29432" y="78581"/>
                    </a:cubicBezTo>
                    <a:cubicBezTo>
                      <a:pt x="35052" y="78581"/>
                      <a:pt x="39148" y="78200"/>
                      <a:pt x="41815" y="77343"/>
                    </a:cubicBezTo>
                    <a:close/>
                    <a:moveTo>
                      <a:pt x="20288" y="17717"/>
                    </a:moveTo>
                    <a:cubicBezTo>
                      <a:pt x="18574" y="19431"/>
                      <a:pt x="17716" y="21812"/>
                      <a:pt x="17716" y="24860"/>
                    </a:cubicBezTo>
                    <a:cubicBezTo>
                      <a:pt x="17716" y="27908"/>
                      <a:pt x="18574" y="30099"/>
                      <a:pt x="20288" y="31813"/>
                    </a:cubicBezTo>
                    <a:cubicBezTo>
                      <a:pt x="22003" y="33528"/>
                      <a:pt x="24479" y="34290"/>
                      <a:pt x="27718" y="34290"/>
                    </a:cubicBezTo>
                    <a:cubicBezTo>
                      <a:pt x="31623" y="34290"/>
                      <a:pt x="34385" y="33433"/>
                      <a:pt x="36004" y="31813"/>
                    </a:cubicBezTo>
                    <a:cubicBezTo>
                      <a:pt x="37624" y="30194"/>
                      <a:pt x="38481" y="27908"/>
                      <a:pt x="38481" y="24860"/>
                    </a:cubicBezTo>
                    <a:cubicBezTo>
                      <a:pt x="38481" y="21812"/>
                      <a:pt x="37624" y="19431"/>
                      <a:pt x="35909" y="17717"/>
                    </a:cubicBezTo>
                    <a:cubicBezTo>
                      <a:pt x="34195" y="16002"/>
                      <a:pt x="31623" y="15145"/>
                      <a:pt x="28004" y="15145"/>
                    </a:cubicBezTo>
                    <a:cubicBezTo>
                      <a:pt x="24384" y="15145"/>
                      <a:pt x="21907" y="16002"/>
                      <a:pt x="20193" y="17717"/>
                    </a:cubicBezTo>
                    <a:close/>
                  </a:path>
                </a:pathLst>
              </a:custGeom>
              <a:solidFill>
                <a:srgbClr val="231F20"/>
              </a:solidFill>
              <a:ln w="9525" cap="flat">
                <a:noFill/>
                <a:prstDash val="solid"/>
                <a:miter/>
              </a:ln>
            </p:spPr>
            <p:txBody>
              <a:bodyPr rtlCol="0" anchor="ctr"/>
              <a:lstStyle/>
              <a:p>
                <a:pPr marL="0" marR="0" lvl="0" indent="0" algn="l" defTabSz="913578" rtl="0" eaLnBrk="1" fontAlgn="auto" latinLnBrk="0" hangingPunct="1">
                  <a:lnSpc>
                    <a:spcPct val="100000"/>
                  </a:lnSpc>
                  <a:spcBef>
                    <a:spcPts val="0"/>
                  </a:spcBef>
                  <a:spcAft>
                    <a:spcPts val="0"/>
                  </a:spcAft>
                  <a:buClrTx/>
                  <a:buSzTx/>
                  <a:buFontTx/>
                  <a:buNone/>
                  <a:tabLst/>
                  <a:defRPr/>
                </a:pPr>
                <a:endParaRPr kumimoji="0" lang="en-US" sz="17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366" name="Freeform: Shape 191">
                <a:extLst>
                  <a:ext uri="{FF2B5EF4-FFF2-40B4-BE49-F238E27FC236}">
                    <a16:creationId xmlns:a16="http://schemas.microsoft.com/office/drawing/2014/main" id="{05EFE3A1-96D3-1612-FC27-465DED808FB1}"/>
                  </a:ext>
                </a:extLst>
              </p:cNvPr>
              <p:cNvSpPr/>
              <p:nvPr/>
            </p:nvSpPr>
            <p:spPr>
              <a:xfrm>
                <a:off x="6304025" y="3205924"/>
                <a:ext cx="55245" cy="62769"/>
              </a:xfrm>
              <a:custGeom>
                <a:avLst/>
                <a:gdLst>
                  <a:gd name="connsiteX0" fmla="*/ 7715 w 55245"/>
                  <a:gd name="connsiteY0" fmla="*/ 54769 h 62769"/>
                  <a:gd name="connsiteX1" fmla="*/ 0 w 55245"/>
                  <a:gd name="connsiteY1" fmla="*/ 31242 h 62769"/>
                  <a:gd name="connsiteX2" fmla="*/ 3810 w 55245"/>
                  <a:gd name="connsiteY2" fmla="*/ 13716 h 62769"/>
                  <a:gd name="connsiteX3" fmla="*/ 14097 w 55245"/>
                  <a:gd name="connsiteY3" fmla="*/ 3334 h 62769"/>
                  <a:gd name="connsiteX4" fmla="*/ 28480 w 55245"/>
                  <a:gd name="connsiteY4" fmla="*/ 0 h 62769"/>
                  <a:gd name="connsiteX5" fmla="*/ 43720 w 55245"/>
                  <a:gd name="connsiteY5" fmla="*/ 4000 h 62769"/>
                  <a:gd name="connsiteX6" fmla="*/ 52483 w 55245"/>
                  <a:gd name="connsiteY6" fmla="*/ 14478 h 62769"/>
                  <a:gd name="connsiteX7" fmla="*/ 55245 w 55245"/>
                  <a:gd name="connsiteY7" fmla="*/ 29146 h 62769"/>
                  <a:gd name="connsiteX8" fmla="*/ 54864 w 55245"/>
                  <a:gd name="connsiteY8" fmla="*/ 35433 h 62769"/>
                  <a:gd name="connsiteX9" fmla="*/ 16478 w 55245"/>
                  <a:gd name="connsiteY9" fmla="*/ 35433 h 62769"/>
                  <a:gd name="connsiteX10" fmla="*/ 19812 w 55245"/>
                  <a:gd name="connsiteY10" fmla="*/ 46577 h 62769"/>
                  <a:gd name="connsiteX11" fmla="*/ 30194 w 55245"/>
                  <a:gd name="connsiteY11" fmla="*/ 50673 h 62769"/>
                  <a:gd name="connsiteX12" fmla="*/ 35909 w 55245"/>
                  <a:gd name="connsiteY12" fmla="*/ 50006 h 62769"/>
                  <a:gd name="connsiteX13" fmla="*/ 40958 w 55245"/>
                  <a:gd name="connsiteY13" fmla="*/ 48006 h 62769"/>
                  <a:gd name="connsiteX14" fmla="*/ 46958 w 55245"/>
                  <a:gd name="connsiteY14" fmla="*/ 44196 h 62769"/>
                  <a:gd name="connsiteX15" fmla="*/ 53340 w 55245"/>
                  <a:gd name="connsiteY15" fmla="*/ 54388 h 62769"/>
                  <a:gd name="connsiteX16" fmla="*/ 42672 w 55245"/>
                  <a:gd name="connsiteY16" fmla="*/ 60579 h 62769"/>
                  <a:gd name="connsiteX17" fmla="*/ 29432 w 55245"/>
                  <a:gd name="connsiteY17" fmla="*/ 62770 h 62769"/>
                  <a:gd name="connsiteX18" fmla="*/ 7811 w 55245"/>
                  <a:gd name="connsiteY18" fmla="*/ 54864 h 62769"/>
                  <a:gd name="connsiteX19" fmla="*/ 40005 w 55245"/>
                  <a:gd name="connsiteY19" fmla="*/ 24765 h 62769"/>
                  <a:gd name="connsiteX20" fmla="*/ 36862 w 55245"/>
                  <a:gd name="connsiteY20" fmla="*/ 14764 h 62769"/>
                  <a:gd name="connsiteX21" fmla="*/ 28385 w 55245"/>
                  <a:gd name="connsiteY21" fmla="*/ 11525 h 62769"/>
                  <a:gd name="connsiteX22" fmla="*/ 20003 w 55245"/>
                  <a:gd name="connsiteY22" fmla="*/ 14764 h 62769"/>
                  <a:gd name="connsiteX23" fmla="*/ 16669 w 55245"/>
                  <a:gd name="connsiteY23" fmla="*/ 24765 h 62769"/>
                  <a:gd name="connsiteX24" fmla="*/ 40100 w 55245"/>
                  <a:gd name="connsiteY24" fmla="*/ 24765 h 62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55245" h="62769">
                    <a:moveTo>
                      <a:pt x="7715" y="54769"/>
                    </a:moveTo>
                    <a:cubicBezTo>
                      <a:pt x="2572" y="49530"/>
                      <a:pt x="0" y="41624"/>
                      <a:pt x="0" y="31242"/>
                    </a:cubicBezTo>
                    <a:cubicBezTo>
                      <a:pt x="0" y="24289"/>
                      <a:pt x="1238" y="18383"/>
                      <a:pt x="3810" y="13716"/>
                    </a:cubicBezTo>
                    <a:cubicBezTo>
                      <a:pt x="6382" y="9049"/>
                      <a:pt x="9811" y="5620"/>
                      <a:pt x="14097" y="3334"/>
                    </a:cubicBezTo>
                    <a:cubicBezTo>
                      <a:pt x="18383" y="1048"/>
                      <a:pt x="23146" y="0"/>
                      <a:pt x="28480" y="0"/>
                    </a:cubicBezTo>
                    <a:cubicBezTo>
                      <a:pt x="34576" y="0"/>
                      <a:pt x="39719" y="1333"/>
                      <a:pt x="43720" y="4000"/>
                    </a:cubicBezTo>
                    <a:cubicBezTo>
                      <a:pt x="47720" y="6667"/>
                      <a:pt x="50673" y="10192"/>
                      <a:pt x="52483" y="14478"/>
                    </a:cubicBezTo>
                    <a:cubicBezTo>
                      <a:pt x="54293" y="18764"/>
                      <a:pt x="55245" y="23717"/>
                      <a:pt x="55245" y="29146"/>
                    </a:cubicBezTo>
                    <a:cubicBezTo>
                      <a:pt x="55245" y="31242"/>
                      <a:pt x="55150" y="33338"/>
                      <a:pt x="54864" y="35433"/>
                    </a:cubicBezTo>
                    <a:lnTo>
                      <a:pt x="16478" y="35433"/>
                    </a:lnTo>
                    <a:cubicBezTo>
                      <a:pt x="16478" y="40100"/>
                      <a:pt x="17621" y="43815"/>
                      <a:pt x="19812" y="46577"/>
                    </a:cubicBezTo>
                    <a:cubicBezTo>
                      <a:pt x="22003" y="49339"/>
                      <a:pt x="25527" y="50673"/>
                      <a:pt x="30194" y="50673"/>
                    </a:cubicBezTo>
                    <a:cubicBezTo>
                      <a:pt x="32290" y="50673"/>
                      <a:pt x="34195" y="50483"/>
                      <a:pt x="35909" y="50006"/>
                    </a:cubicBezTo>
                    <a:cubicBezTo>
                      <a:pt x="37624" y="49530"/>
                      <a:pt x="39338" y="48863"/>
                      <a:pt x="40958" y="48006"/>
                    </a:cubicBezTo>
                    <a:cubicBezTo>
                      <a:pt x="42577" y="47149"/>
                      <a:pt x="44577" y="45815"/>
                      <a:pt x="46958" y="44196"/>
                    </a:cubicBezTo>
                    <a:lnTo>
                      <a:pt x="53340" y="54388"/>
                    </a:lnTo>
                    <a:cubicBezTo>
                      <a:pt x="49816" y="57055"/>
                      <a:pt x="46196" y="59150"/>
                      <a:pt x="42672" y="60579"/>
                    </a:cubicBezTo>
                    <a:cubicBezTo>
                      <a:pt x="39148" y="62008"/>
                      <a:pt x="34671" y="62770"/>
                      <a:pt x="29432" y="62770"/>
                    </a:cubicBezTo>
                    <a:cubicBezTo>
                      <a:pt x="20193" y="62770"/>
                      <a:pt x="12954" y="60103"/>
                      <a:pt x="7811" y="54864"/>
                    </a:cubicBezTo>
                    <a:close/>
                    <a:moveTo>
                      <a:pt x="40005" y="24765"/>
                    </a:moveTo>
                    <a:cubicBezTo>
                      <a:pt x="39814" y="20193"/>
                      <a:pt x="38767" y="16859"/>
                      <a:pt x="36862" y="14764"/>
                    </a:cubicBezTo>
                    <a:cubicBezTo>
                      <a:pt x="34957" y="12668"/>
                      <a:pt x="32099" y="11525"/>
                      <a:pt x="28385" y="11525"/>
                    </a:cubicBezTo>
                    <a:cubicBezTo>
                      <a:pt x="24670" y="11525"/>
                      <a:pt x="22098" y="12573"/>
                      <a:pt x="20003" y="14764"/>
                    </a:cubicBezTo>
                    <a:cubicBezTo>
                      <a:pt x="17907" y="16954"/>
                      <a:pt x="16764" y="20288"/>
                      <a:pt x="16669" y="24765"/>
                    </a:cubicBezTo>
                    <a:lnTo>
                      <a:pt x="40100" y="24765"/>
                    </a:lnTo>
                    <a:close/>
                  </a:path>
                </a:pathLst>
              </a:custGeom>
              <a:solidFill>
                <a:srgbClr val="231F20"/>
              </a:solidFill>
              <a:ln w="9525" cap="flat">
                <a:noFill/>
                <a:prstDash val="solid"/>
                <a:miter/>
              </a:ln>
            </p:spPr>
            <p:txBody>
              <a:bodyPr rtlCol="0" anchor="ctr"/>
              <a:lstStyle/>
              <a:p>
                <a:pPr marL="0" marR="0" lvl="0" indent="0" algn="l" defTabSz="913578" rtl="0" eaLnBrk="1" fontAlgn="auto" latinLnBrk="0" hangingPunct="1">
                  <a:lnSpc>
                    <a:spcPct val="100000"/>
                  </a:lnSpc>
                  <a:spcBef>
                    <a:spcPts val="0"/>
                  </a:spcBef>
                  <a:spcAft>
                    <a:spcPts val="0"/>
                  </a:spcAft>
                  <a:buClrTx/>
                  <a:buSzTx/>
                  <a:buFontTx/>
                  <a:buNone/>
                  <a:tabLst/>
                  <a:defRPr/>
                </a:pPr>
                <a:endParaRPr kumimoji="0" lang="en-US" sz="17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367" name="Freeform: Shape 192">
                <a:extLst>
                  <a:ext uri="{FF2B5EF4-FFF2-40B4-BE49-F238E27FC236}">
                    <a16:creationId xmlns:a16="http://schemas.microsoft.com/office/drawing/2014/main" id="{D8132A1B-8096-6B7E-85AA-345B37ABACE7}"/>
                  </a:ext>
                </a:extLst>
              </p:cNvPr>
              <p:cNvSpPr/>
              <p:nvPr/>
            </p:nvSpPr>
            <p:spPr>
              <a:xfrm>
                <a:off x="6370796" y="3205924"/>
                <a:ext cx="87058" cy="61721"/>
              </a:xfrm>
              <a:custGeom>
                <a:avLst/>
                <a:gdLst>
                  <a:gd name="connsiteX0" fmla="*/ 381 w 87058"/>
                  <a:gd name="connsiteY0" fmla="*/ 14668 h 61721"/>
                  <a:gd name="connsiteX1" fmla="*/ 286 w 87058"/>
                  <a:gd name="connsiteY1" fmla="*/ 6763 h 61721"/>
                  <a:gd name="connsiteX2" fmla="*/ 0 w 87058"/>
                  <a:gd name="connsiteY2" fmla="*/ 1238 h 61721"/>
                  <a:gd name="connsiteX3" fmla="*/ 14954 w 87058"/>
                  <a:gd name="connsiteY3" fmla="*/ 1238 h 61721"/>
                  <a:gd name="connsiteX4" fmla="*/ 15430 w 87058"/>
                  <a:gd name="connsiteY4" fmla="*/ 6191 h 61721"/>
                  <a:gd name="connsiteX5" fmla="*/ 15716 w 87058"/>
                  <a:gd name="connsiteY5" fmla="*/ 12097 h 61721"/>
                  <a:gd name="connsiteX6" fmla="*/ 15907 w 87058"/>
                  <a:gd name="connsiteY6" fmla="*/ 12097 h 61721"/>
                  <a:gd name="connsiteX7" fmla="*/ 23146 w 87058"/>
                  <a:gd name="connsiteY7" fmla="*/ 2953 h 61721"/>
                  <a:gd name="connsiteX8" fmla="*/ 33528 w 87058"/>
                  <a:gd name="connsiteY8" fmla="*/ 0 h 61721"/>
                  <a:gd name="connsiteX9" fmla="*/ 44577 w 87058"/>
                  <a:gd name="connsiteY9" fmla="*/ 3143 h 61721"/>
                  <a:gd name="connsiteX10" fmla="*/ 50292 w 87058"/>
                  <a:gd name="connsiteY10" fmla="*/ 12192 h 61721"/>
                  <a:gd name="connsiteX11" fmla="*/ 50673 w 87058"/>
                  <a:gd name="connsiteY11" fmla="*/ 12192 h 61721"/>
                  <a:gd name="connsiteX12" fmla="*/ 58103 w 87058"/>
                  <a:gd name="connsiteY12" fmla="*/ 2858 h 61721"/>
                  <a:gd name="connsiteX13" fmla="*/ 68961 w 87058"/>
                  <a:gd name="connsiteY13" fmla="*/ 95 h 61721"/>
                  <a:gd name="connsiteX14" fmla="*/ 82677 w 87058"/>
                  <a:gd name="connsiteY14" fmla="*/ 6477 h 61721"/>
                  <a:gd name="connsiteX15" fmla="*/ 87058 w 87058"/>
                  <a:gd name="connsiteY15" fmla="*/ 23431 h 61721"/>
                  <a:gd name="connsiteX16" fmla="*/ 87058 w 87058"/>
                  <a:gd name="connsiteY16" fmla="*/ 61722 h 61721"/>
                  <a:gd name="connsiteX17" fmla="*/ 71533 w 87058"/>
                  <a:gd name="connsiteY17" fmla="*/ 61722 h 61721"/>
                  <a:gd name="connsiteX18" fmla="*/ 71533 w 87058"/>
                  <a:gd name="connsiteY18" fmla="*/ 27908 h 61721"/>
                  <a:gd name="connsiteX19" fmla="*/ 69533 w 87058"/>
                  <a:gd name="connsiteY19" fmla="*/ 17431 h 61721"/>
                  <a:gd name="connsiteX20" fmla="*/ 62865 w 87058"/>
                  <a:gd name="connsiteY20" fmla="*/ 13716 h 61721"/>
                  <a:gd name="connsiteX21" fmla="*/ 57245 w 87058"/>
                  <a:gd name="connsiteY21" fmla="*/ 15621 h 61721"/>
                  <a:gd name="connsiteX22" fmla="*/ 53245 w 87058"/>
                  <a:gd name="connsiteY22" fmla="*/ 20860 h 61721"/>
                  <a:gd name="connsiteX23" fmla="*/ 51626 w 87058"/>
                  <a:gd name="connsiteY23" fmla="*/ 28575 h 61721"/>
                  <a:gd name="connsiteX24" fmla="*/ 51626 w 87058"/>
                  <a:gd name="connsiteY24" fmla="*/ 61722 h 61721"/>
                  <a:gd name="connsiteX25" fmla="*/ 36100 w 87058"/>
                  <a:gd name="connsiteY25" fmla="*/ 61722 h 61721"/>
                  <a:gd name="connsiteX26" fmla="*/ 36100 w 87058"/>
                  <a:gd name="connsiteY26" fmla="*/ 27908 h 61721"/>
                  <a:gd name="connsiteX27" fmla="*/ 34099 w 87058"/>
                  <a:gd name="connsiteY27" fmla="*/ 17431 h 61721"/>
                  <a:gd name="connsiteX28" fmla="*/ 27432 w 87058"/>
                  <a:gd name="connsiteY28" fmla="*/ 13716 h 61721"/>
                  <a:gd name="connsiteX29" fmla="*/ 21717 w 87058"/>
                  <a:gd name="connsiteY29" fmla="*/ 15716 h 61721"/>
                  <a:gd name="connsiteX30" fmla="*/ 17716 w 87058"/>
                  <a:gd name="connsiteY30" fmla="*/ 21241 h 61721"/>
                  <a:gd name="connsiteX31" fmla="*/ 16288 w 87058"/>
                  <a:gd name="connsiteY31" fmla="*/ 29337 h 61721"/>
                  <a:gd name="connsiteX32" fmla="*/ 16288 w 87058"/>
                  <a:gd name="connsiteY32" fmla="*/ 61722 h 61721"/>
                  <a:gd name="connsiteX33" fmla="*/ 571 w 87058"/>
                  <a:gd name="connsiteY33" fmla="*/ 61722 h 61721"/>
                  <a:gd name="connsiteX34" fmla="*/ 571 w 87058"/>
                  <a:gd name="connsiteY34" fmla="*/ 14859 h 617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87058" h="61721">
                    <a:moveTo>
                      <a:pt x="381" y="14668"/>
                    </a:moveTo>
                    <a:cubicBezTo>
                      <a:pt x="381" y="12097"/>
                      <a:pt x="381" y="9430"/>
                      <a:pt x="286" y="6763"/>
                    </a:cubicBezTo>
                    <a:cubicBezTo>
                      <a:pt x="190" y="4096"/>
                      <a:pt x="95" y="2191"/>
                      <a:pt x="0" y="1238"/>
                    </a:cubicBezTo>
                    <a:lnTo>
                      <a:pt x="14954" y="1238"/>
                    </a:lnTo>
                    <a:cubicBezTo>
                      <a:pt x="15145" y="2096"/>
                      <a:pt x="15240" y="3715"/>
                      <a:pt x="15430" y="6191"/>
                    </a:cubicBezTo>
                    <a:cubicBezTo>
                      <a:pt x="15621" y="8668"/>
                      <a:pt x="15716" y="10668"/>
                      <a:pt x="15716" y="12097"/>
                    </a:cubicBezTo>
                    <a:lnTo>
                      <a:pt x="15907" y="12097"/>
                    </a:lnTo>
                    <a:cubicBezTo>
                      <a:pt x="17812" y="8001"/>
                      <a:pt x="20193" y="4953"/>
                      <a:pt x="23146" y="2953"/>
                    </a:cubicBezTo>
                    <a:cubicBezTo>
                      <a:pt x="26098" y="952"/>
                      <a:pt x="29528" y="0"/>
                      <a:pt x="33528" y="0"/>
                    </a:cubicBezTo>
                    <a:cubicBezTo>
                      <a:pt x="38100" y="0"/>
                      <a:pt x="41719" y="1048"/>
                      <a:pt x="44577" y="3143"/>
                    </a:cubicBezTo>
                    <a:cubicBezTo>
                      <a:pt x="47435" y="5239"/>
                      <a:pt x="49340" y="8192"/>
                      <a:pt x="50292" y="12192"/>
                    </a:cubicBezTo>
                    <a:lnTo>
                      <a:pt x="50673" y="12192"/>
                    </a:lnTo>
                    <a:cubicBezTo>
                      <a:pt x="52673" y="7810"/>
                      <a:pt x="55245" y="4667"/>
                      <a:pt x="58103" y="2858"/>
                    </a:cubicBezTo>
                    <a:cubicBezTo>
                      <a:pt x="60960" y="1048"/>
                      <a:pt x="64675" y="95"/>
                      <a:pt x="68961" y="95"/>
                    </a:cubicBezTo>
                    <a:cubicBezTo>
                      <a:pt x="75247" y="95"/>
                      <a:pt x="79819" y="2191"/>
                      <a:pt x="82677" y="6477"/>
                    </a:cubicBezTo>
                    <a:cubicBezTo>
                      <a:pt x="85535" y="10763"/>
                      <a:pt x="87058" y="16383"/>
                      <a:pt x="87058" y="23431"/>
                    </a:cubicBezTo>
                    <a:lnTo>
                      <a:pt x="87058" y="61722"/>
                    </a:lnTo>
                    <a:lnTo>
                      <a:pt x="71533" y="61722"/>
                    </a:lnTo>
                    <a:lnTo>
                      <a:pt x="71533" y="27908"/>
                    </a:lnTo>
                    <a:cubicBezTo>
                      <a:pt x="71533" y="23336"/>
                      <a:pt x="70866" y="19907"/>
                      <a:pt x="69533" y="17431"/>
                    </a:cubicBezTo>
                    <a:cubicBezTo>
                      <a:pt x="68199" y="14954"/>
                      <a:pt x="66008" y="13716"/>
                      <a:pt x="62865" y="13716"/>
                    </a:cubicBezTo>
                    <a:cubicBezTo>
                      <a:pt x="60769" y="13716"/>
                      <a:pt x="58865" y="14383"/>
                      <a:pt x="57245" y="15621"/>
                    </a:cubicBezTo>
                    <a:cubicBezTo>
                      <a:pt x="55626" y="16859"/>
                      <a:pt x="54197" y="18574"/>
                      <a:pt x="53245" y="20860"/>
                    </a:cubicBezTo>
                    <a:cubicBezTo>
                      <a:pt x="52292" y="23146"/>
                      <a:pt x="51721" y="25717"/>
                      <a:pt x="51626" y="28575"/>
                    </a:cubicBezTo>
                    <a:lnTo>
                      <a:pt x="51626" y="61722"/>
                    </a:lnTo>
                    <a:lnTo>
                      <a:pt x="36100" y="61722"/>
                    </a:lnTo>
                    <a:lnTo>
                      <a:pt x="36100" y="27908"/>
                    </a:lnTo>
                    <a:cubicBezTo>
                      <a:pt x="36100" y="23336"/>
                      <a:pt x="35433" y="19907"/>
                      <a:pt x="34099" y="17431"/>
                    </a:cubicBezTo>
                    <a:cubicBezTo>
                      <a:pt x="32766" y="14954"/>
                      <a:pt x="30575" y="13716"/>
                      <a:pt x="27432" y="13716"/>
                    </a:cubicBezTo>
                    <a:cubicBezTo>
                      <a:pt x="25337" y="13716"/>
                      <a:pt x="23431" y="14383"/>
                      <a:pt x="21717" y="15716"/>
                    </a:cubicBezTo>
                    <a:cubicBezTo>
                      <a:pt x="20003" y="17050"/>
                      <a:pt x="18669" y="18859"/>
                      <a:pt x="17716" y="21241"/>
                    </a:cubicBezTo>
                    <a:cubicBezTo>
                      <a:pt x="16764" y="23622"/>
                      <a:pt x="16288" y="26289"/>
                      <a:pt x="16288" y="29337"/>
                    </a:cubicBezTo>
                    <a:lnTo>
                      <a:pt x="16288" y="61722"/>
                    </a:lnTo>
                    <a:lnTo>
                      <a:pt x="571" y="61722"/>
                    </a:lnTo>
                    <a:lnTo>
                      <a:pt x="571" y="14859"/>
                    </a:lnTo>
                    <a:close/>
                  </a:path>
                </a:pathLst>
              </a:custGeom>
              <a:solidFill>
                <a:srgbClr val="231F20"/>
              </a:solidFill>
              <a:ln w="9525" cap="flat">
                <a:noFill/>
                <a:prstDash val="solid"/>
                <a:miter/>
              </a:ln>
            </p:spPr>
            <p:txBody>
              <a:bodyPr rtlCol="0" anchor="ctr"/>
              <a:lstStyle/>
              <a:p>
                <a:pPr marL="0" marR="0" lvl="0" indent="0" algn="l" defTabSz="913578" rtl="0" eaLnBrk="1" fontAlgn="auto" latinLnBrk="0" hangingPunct="1">
                  <a:lnSpc>
                    <a:spcPct val="100000"/>
                  </a:lnSpc>
                  <a:spcBef>
                    <a:spcPts val="0"/>
                  </a:spcBef>
                  <a:spcAft>
                    <a:spcPts val="0"/>
                  </a:spcAft>
                  <a:buClrTx/>
                  <a:buSzTx/>
                  <a:buFontTx/>
                  <a:buNone/>
                  <a:tabLst/>
                  <a:defRPr/>
                </a:pPr>
                <a:endParaRPr kumimoji="0" lang="en-US" sz="17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368" name="Freeform: Shape 193">
                <a:extLst>
                  <a:ext uri="{FF2B5EF4-FFF2-40B4-BE49-F238E27FC236}">
                    <a16:creationId xmlns:a16="http://schemas.microsoft.com/office/drawing/2014/main" id="{2B14725F-3A4A-C7BD-23E8-00D31AAA31A7}"/>
                  </a:ext>
                </a:extLst>
              </p:cNvPr>
              <p:cNvSpPr/>
              <p:nvPr/>
            </p:nvSpPr>
            <p:spPr>
              <a:xfrm>
                <a:off x="6469284" y="3205924"/>
                <a:ext cx="55244" cy="62769"/>
              </a:xfrm>
              <a:custGeom>
                <a:avLst/>
                <a:gdLst>
                  <a:gd name="connsiteX0" fmla="*/ 7715 w 55244"/>
                  <a:gd name="connsiteY0" fmla="*/ 54769 h 62769"/>
                  <a:gd name="connsiteX1" fmla="*/ 0 w 55244"/>
                  <a:gd name="connsiteY1" fmla="*/ 31242 h 62769"/>
                  <a:gd name="connsiteX2" fmla="*/ 3810 w 55244"/>
                  <a:gd name="connsiteY2" fmla="*/ 13716 h 62769"/>
                  <a:gd name="connsiteX3" fmla="*/ 14097 w 55244"/>
                  <a:gd name="connsiteY3" fmla="*/ 3334 h 62769"/>
                  <a:gd name="connsiteX4" fmla="*/ 28480 w 55244"/>
                  <a:gd name="connsiteY4" fmla="*/ 0 h 62769"/>
                  <a:gd name="connsiteX5" fmla="*/ 43720 w 55244"/>
                  <a:gd name="connsiteY5" fmla="*/ 4000 h 62769"/>
                  <a:gd name="connsiteX6" fmla="*/ 52483 w 55244"/>
                  <a:gd name="connsiteY6" fmla="*/ 14478 h 62769"/>
                  <a:gd name="connsiteX7" fmla="*/ 55245 w 55244"/>
                  <a:gd name="connsiteY7" fmla="*/ 29146 h 62769"/>
                  <a:gd name="connsiteX8" fmla="*/ 54864 w 55244"/>
                  <a:gd name="connsiteY8" fmla="*/ 35433 h 62769"/>
                  <a:gd name="connsiteX9" fmla="*/ 16478 w 55244"/>
                  <a:gd name="connsiteY9" fmla="*/ 35433 h 62769"/>
                  <a:gd name="connsiteX10" fmla="*/ 19812 w 55244"/>
                  <a:gd name="connsiteY10" fmla="*/ 46577 h 62769"/>
                  <a:gd name="connsiteX11" fmla="*/ 30194 w 55244"/>
                  <a:gd name="connsiteY11" fmla="*/ 50673 h 62769"/>
                  <a:gd name="connsiteX12" fmla="*/ 35909 w 55244"/>
                  <a:gd name="connsiteY12" fmla="*/ 50006 h 62769"/>
                  <a:gd name="connsiteX13" fmla="*/ 40957 w 55244"/>
                  <a:gd name="connsiteY13" fmla="*/ 48006 h 62769"/>
                  <a:gd name="connsiteX14" fmla="*/ 46958 w 55244"/>
                  <a:gd name="connsiteY14" fmla="*/ 44196 h 62769"/>
                  <a:gd name="connsiteX15" fmla="*/ 53340 w 55244"/>
                  <a:gd name="connsiteY15" fmla="*/ 54388 h 62769"/>
                  <a:gd name="connsiteX16" fmla="*/ 42672 w 55244"/>
                  <a:gd name="connsiteY16" fmla="*/ 60579 h 62769"/>
                  <a:gd name="connsiteX17" fmla="*/ 29433 w 55244"/>
                  <a:gd name="connsiteY17" fmla="*/ 62770 h 62769"/>
                  <a:gd name="connsiteX18" fmla="*/ 7811 w 55244"/>
                  <a:gd name="connsiteY18" fmla="*/ 54864 h 62769"/>
                  <a:gd name="connsiteX19" fmla="*/ 40005 w 55244"/>
                  <a:gd name="connsiteY19" fmla="*/ 24765 h 62769"/>
                  <a:gd name="connsiteX20" fmla="*/ 36862 w 55244"/>
                  <a:gd name="connsiteY20" fmla="*/ 14764 h 62769"/>
                  <a:gd name="connsiteX21" fmla="*/ 28384 w 55244"/>
                  <a:gd name="connsiteY21" fmla="*/ 11525 h 62769"/>
                  <a:gd name="connsiteX22" fmla="*/ 20002 w 55244"/>
                  <a:gd name="connsiteY22" fmla="*/ 14764 h 62769"/>
                  <a:gd name="connsiteX23" fmla="*/ 16669 w 55244"/>
                  <a:gd name="connsiteY23" fmla="*/ 24765 h 62769"/>
                  <a:gd name="connsiteX24" fmla="*/ 40100 w 55244"/>
                  <a:gd name="connsiteY24" fmla="*/ 24765 h 62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55244" h="62769">
                    <a:moveTo>
                      <a:pt x="7715" y="54769"/>
                    </a:moveTo>
                    <a:cubicBezTo>
                      <a:pt x="2572" y="49530"/>
                      <a:pt x="0" y="41624"/>
                      <a:pt x="0" y="31242"/>
                    </a:cubicBezTo>
                    <a:cubicBezTo>
                      <a:pt x="0" y="24289"/>
                      <a:pt x="1238" y="18383"/>
                      <a:pt x="3810" y="13716"/>
                    </a:cubicBezTo>
                    <a:cubicBezTo>
                      <a:pt x="6382" y="9049"/>
                      <a:pt x="9810" y="5620"/>
                      <a:pt x="14097" y="3334"/>
                    </a:cubicBezTo>
                    <a:cubicBezTo>
                      <a:pt x="18383" y="1048"/>
                      <a:pt x="23146" y="0"/>
                      <a:pt x="28480" y="0"/>
                    </a:cubicBezTo>
                    <a:cubicBezTo>
                      <a:pt x="34576" y="0"/>
                      <a:pt x="39719" y="1333"/>
                      <a:pt x="43720" y="4000"/>
                    </a:cubicBezTo>
                    <a:cubicBezTo>
                      <a:pt x="47720" y="6667"/>
                      <a:pt x="50673" y="10192"/>
                      <a:pt x="52483" y="14478"/>
                    </a:cubicBezTo>
                    <a:cubicBezTo>
                      <a:pt x="54293" y="18764"/>
                      <a:pt x="55245" y="23717"/>
                      <a:pt x="55245" y="29146"/>
                    </a:cubicBezTo>
                    <a:cubicBezTo>
                      <a:pt x="55245" y="31242"/>
                      <a:pt x="55150" y="33338"/>
                      <a:pt x="54864" y="35433"/>
                    </a:cubicBezTo>
                    <a:lnTo>
                      <a:pt x="16478" y="35433"/>
                    </a:lnTo>
                    <a:cubicBezTo>
                      <a:pt x="16478" y="40100"/>
                      <a:pt x="17621" y="43815"/>
                      <a:pt x="19812" y="46577"/>
                    </a:cubicBezTo>
                    <a:cubicBezTo>
                      <a:pt x="22003" y="49339"/>
                      <a:pt x="25527" y="50673"/>
                      <a:pt x="30194" y="50673"/>
                    </a:cubicBezTo>
                    <a:cubicBezTo>
                      <a:pt x="32290" y="50673"/>
                      <a:pt x="34195" y="50483"/>
                      <a:pt x="35909" y="50006"/>
                    </a:cubicBezTo>
                    <a:cubicBezTo>
                      <a:pt x="37624" y="49530"/>
                      <a:pt x="39338" y="48863"/>
                      <a:pt x="40957" y="48006"/>
                    </a:cubicBezTo>
                    <a:cubicBezTo>
                      <a:pt x="42576" y="47149"/>
                      <a:pt x="44577" y="45815"/>
                      <a:pt x="46958" y="44196"/>
                    </a:cubicBezTo>
                    <a:lnTo>
                      <a:pt x="53340" y="54388"/>
                    </a:lnTo>
                    <a:cubicBezTo>
                      <a:pt x="49816" y="57055"/>
                      <a:pt x="46196" y="59150"/>
                      <a:pt x="42672" y="60579"/>
                    </a:cubicBezTo>
                    <a:cubicBezTo>
                      <a:pt x="39148" y="62008"/>
                      <a:pt x="34671" y="62770"/>
                      <a:pt x="29433" y="62770"/>
                    </a:cubicBezTo>
                    <a:cubicBezTo>
                      <a:pt x="20193" y="62770"/>
                      <a:pt x="12954" y="60103"/>
                      <a:pt x="7811" y="54864"/>
                    </a:cubicBezTo>
                    <a:close/>
                    <a:moveTo>
                      <a:pt x="40005" y="24765"/>
                    </a:moveTo>
                    <a:cubicBezTo>
                      <a:pt x="39814" y="20193"/>
                      <a:pt x="38767" y="16859"/>
                      <a:pt x="36862" y="14764"/>
                    </a:cubicBezTo>
                    <a:cubicBezTo>
                      <a:pt x="34957" y="12668"/>
                      <a:pt x="32099" y="11525"/>
                      <a:pt x="28384" y="11525"/>
                    </a:cubicBezTo>
                    <a:cubicBezTo>
                      <a:pt x="24670" y="11525"/>
                      <a:pt x="22098" y="12573"/>
                      <a:pt x="20002" y="14764"/>
                    </a:cubicBezTo>
                    <a:cubicBezTo>
                      <a:pt x="17907" y="16954"/>
                      <a:pt x="16764" y="20288"/>
                      <a:pt x="16669" y="24765"/>
                    </a:cubicBezTo>
                    <a:lnTo>
                      <a:pt x="40100" y="24765"/>
                    </a:lnTo>
                    <a:close/>
                  </a:path>
                </a:pathLst>
              </a:custGeom>
              <a:solidFill>
                <a:srgbClr val="231F20"/>
              </a:solidFill>
              <a:ln w="9525" cap="flat">
                <a:noFill/>
                <a:prstDash val="solid"/>
                <a:miter/>
              </a:ln>
            </p:spPr>
            <p:txBody>
              <a:bodyPr rtlCol="0" anchor="ctr"/>
              <a:lstStyle/>
              <a:p>
                <a:pPr marL="0" marR="0" lvl="0" indent="0" algn="l" defTabSz="913578" rtl="0" eaLnBrk="1" fontAlgn="auto" latinLnBrk="0" hangingPunct="1">
                  <a:lnSpc>
                    <a:spcPct val="100000"/>
                  </a:lnSpc>
                  <a:spcBef>
                    <a:spcPts val="0"/>
                  </a:spcBef>
                  <a:spcAft>
                    <a:spcPts val="0"/>
                  </a:spcAft>
                  <a:buClrTx/>
                  <a:buSzTx/>
                  <a:buFontTx/>
                  <a:buNone/>
                  <a:tabLst/>
                  <a:defRPr/>
                </a:pPr>
                <a:endParaRPr kumimoji="0" lang="en-US" sz="17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369" name="Freeform: Shape 194">
                <a:extLst>
                  <a:ext uri="{FF2B5EF4-FFF2-40B4-BE49-F238E27FC236}">
                    <a16:creationId xmlns:a16="http://schemas.microsoft.com/office/drawing/2014/main" id="{A90240D7-0D34-19FA-07D4-688437A257F1}"/>
                  </a:ext>
                </a:extLst>
              </p:cNvPr>
              <p:cNvSpPr/>
              <p:nvPr/>
            </p:nvSpPr>
            <p:spPr>
              <a:xfrm>
                <a:off x="6535959" y="3205924"/>
                <a:ext cx="55149" cy="61721"/>
              </a:xfrm>
              <a:custGeom>
                <a:avLst/>
                <a:gdLst>
                  <a:gd name="connsiteX0" fmla="*/ 381 w 55149"/>
                  <a:gd name="connsiteY0" fmla="*/ 14668 h 61721"/>
                  <a:gd name="connsiteX1" fmla="*/ 285 w 55149"/>
                  <a:gd name="connsiteY1" fmla="*/ 6763 h 61721"/>
                  <a:gd name="connsiteX2" fmla="*/ 0 w 55149"/>
                  <a:gd name="connsiteY2" fmla="*/ 1238 h 61721"/>
                  <a:gd name="connsiteX3" fmla="*/ 14954 w 55149"/>
                  <a:gd name="connsiteY3" fmla="*/ 1238 h 61721"/>
                  <a:gd name="connsiteX4" fmla="*/ 15430 w 55149"/>
                  <a:gd name="connsiteY4" fmla="*/ 6191 h 61721"/>
                  <a:gd name="connsiteX5" fmla="*/ 15716 w 55149"/>
                  <a:gd name="connsiteY5" fmla="*/ 12097 h 61721"/>
                  <a:gd name="connsiteX6" fmla="*/ 15907 w 55149"/>
                  <a:gd name="connsiteY6" fmla="*/ 12097 h 61721"/>
                  <a:gd name="connsiteX7" fmla="*/ 23908 w 55149"/>
                  <a:gd name="connsiteY7" fmla="*/ 2953 h 61721"/>
                  <a:gd name="connsiteX8" fmla="*/ 35338 w 55149"/>
                  <a:gd name="connsiteY8" fmla="*/ 0 h 61721"/>
                  <a:gd name="connsiteX9" fmla="*/ 50387 w 55149"/>
                  <a:gd name="connsiteY9" fmla="*/ 6382 h 61721"/>
                  <a:gd name="connsiteX10" fmla="*/ 55150 w 55149"/>
                  <a:gd name="connsiteY10" fmla="*/ 23336 h 61721"/>
                  <a:gd name="connsiteX11" fmla="*/ 55150 w 55149"/>
                  <a:gd name="connsiteY11" fmla="*/ 61627 h 61721"/>
                  <a:gd name="connsiteX12" fmla="*/ 39529 w 55149"/>
                  <a:gd name="connsiteY12" fmla="*/ 61627 h 61721"/>
                  <a:gd name="connsiteX13" fmla="*/ 39529 w 55149"/>
                  <a:gd name="connsiteY13" fmla="*/ 27813 h 61721"/>
                  <a:gd name="connsiteX14" fmla="*/ 37242 w 55149"/>
                  <a:gd name="connsiteY14" fmla="*/ 17240 h 61721"/>
                  <a:gd name="connsiteX15" fmla="*/ 29337 w 55149"/>
                  <a:gd name="connsiteY15" fmla="*/ 13525 h 61721"/>
                  <a:gd name="connsiteX16" fmla="*/ 22574 w 55149"/>
                  <a:gd name="connsiteY16" fmla="*/ 15526 h 61721"/>
                  <a:gd name="connsiteX17" fmla="*/ 17812 w 55149"/>
                  <a:gd name="connsiteY17" fmla="*/ 21146 h 61721"/>
                  <a:gd name="connsiteX18" fmla="*/ 16097 w 55149"/>
                  <a:gd name="connsiteY18" fmla="*/ 29337 h 61721"/>
                  <a:gd name="connsiteX19" fmla="*/ 16097 w 55149"/>
                  <a:gd name="connsiteY19" fmla="*/ 61722 h 61721"/>
                  <a:gd name="connsiteX20" fmla="*/ 381 w 55149"/>
                  <a:gd name="connsiteY20" fmla="*/ 61722 h 61721"/>
                  <a:gd name="connsiteX21" fmla="*/ 381 w 55149"/>
                  <a:gd name="connsiteY21" fmla="*/ 14859 h 617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5149" h="61721">
                    <a:moveTo>
                      <a:pt x="381" y="14668"/>
                    </a:moveTo>
                    <a:cubicBezTo>
                      <a:pt x="381" y="12097"/>
                      <a:pt x="381" y="9430"/>
                      <a:pt x="285" y="6763"/>
                    </a:cubicBezTo>
                    <a:cubicBezTo>
                      <a:pt x="191" y="4096"/>
                      <a:pt x="95" y="2191"/>
                      <a:pt x="0" y="1238"/>
                    </a:cubicBezTo>
                    <a:lnTo>
                      <a:pt x="14954" y="1238"/>
                    </a:lnTo>
                    <a:cubicBezTo>
                      <a:pt x="15145" y="2096"/>
                      <a:pt x="15240" y="3715"/>
                      <a:pt x="15430" y="6191"/>
                    </a:cubicBezTo>
                    <a:cubicBezTo>
                      <a:pt x="15621" y="8668"/>
                      <a:pt x="15716" y="10668"/>
                      <a:pt x="15716" y="12097"/>
                    </a:cubicBezTo>
                    <a:lnTo>
                      <a:pt x="15907" y="12097"/>
                    </a:lnTo>
                    <a:cubicBezTo>
                      <a:pt x="18002" y="8001"/>
                      <a:pt x="20669" y="4953"/>
                      <a:pt x="23908" y="2953"/>
                    </a:cubicBezTo>
                    <a:cubicBezTo>
                      <a:pt x="27146" y="952"/>
                      <a:pt x="30956" y="0"/>
                      <a:pt x="35338" y="0"/>
                    </a:cubicBezTo>
                    <a:cubicBezTo>
                      <a:pt x="42196" y="0"/>
                      <a:pt x="47244" y="2096"/>
                      <a:pt x="50387" y="6382"/>
                    </a:cubicBezTo>
                    <a:cubicBezTo>
                      <a:pt x="53530" y="10668"/>
                      <a:pt x="55150" y="16288"/>
                      <a:pt x="55150" y="23336"/>
                    </a:cubicBezTo>
                    <a:lnTo>
                      <a:pt x="55150" y="61627"/>
                    </a:lnTo>
                    <a:lnTo>
                      <a:pt x="39529" y="61627"/>
                    </a:lnTo>
                    <a:lnTo>
                      <a:pt x="39529" y="27813"/>
                    </a:lnTo>
                    <a:cubicBezTo>
                      <a:pt x="39529" y="23241"/>
                      <a:pt x="38767" y="19717"/>
                      <a:pt x="37242" y="17240"/>
                    </a:cubicBezTo>
                    <a:cubicBezTo>
                      <a:pt x="35719" y="14764"/>
                      <a:pt x="33051" y="13525"/>
                      <a:pt x="29337" y="13525"/>
                    </a:cubicBezTo>
                    <a:cubicBezTo>
                      <a:pt x="26765" y="13525"/>
                      <a:pt x="24575" y="14192"/>
                      <a:pt x="22574" y="15526"/>
                    </a:cubicBezTo>
                    <a:cubicBezTo>
                      <a:pt x="20574" y="16859"/>
                      <a:pt x="18955" y="18669"/>
                      <a:pt x="17812" y="21146"/>
                    </a:cubicBezTo>
                    <a:cubicBezTo>
                      <a:pt x="16669" y="23622"/>
                      <a:pt x="16097" y="26289"/>
                      <a:pt x="16097" y="29337"/>
                    </a:cubicBezTo>
                    <a:lnTo>
                      <a:pt x="16097" y="61722"/>
                    </a:lnTo>
                    <a:lnTo>
                      <a:pt x="381" y="61722"/>
                    </a:lnTo>
                    <a:lnTo>
                      <a:pt x="381" y="14859"/>
                    </a:lnTo>
                    <a:close/>
                  </a:path>
                </a:pathLst>
              </a:custGeom>
              <a:solidFill>
                <a:srgbClr val="231F20"/>
              </a:solidFill>
              <a:ln w="9525" cap="flat">
                <a:noFill/>
                <a:prstDash val="solid"/>
                <a:miter/>
              </a:ln>
            </p:spPr>
            <p:txBody>
              <a:bodyPr rtlCol="0" anchor="ctr"/>
              <a:lstStyle/>
              <a:p>
                <a:pPr marL="0" marR="0" lvl="0" indent="0" algn="l" defTabSz="913578" rtl="0" eaLnBrk="1" fontAlgn="auto" latinLnBrk="0" hangingPunct="1">
                  <a:lnSpc>
                    <a:spcPct val="100000"/>
                  </a:lnSpc>
                  <a:spcBef>
                    <a:spcPts val="0"/>
                  </a:spcBef>
                  <a:spcAft>
                    <a:spcPts val="0"/>
                  </a:spcAft>
                  <a:buClrTx/>
                  <a:buSzTx/>
                  <a:buFontTx/>
                  <a:buNone/>
                  <a:tabLst/>
                  <a:defRPr/>
                </a:pPr>
                <a:endParaRPr kumimoji="0" lang="en-US" sz="17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370" name="Freeform: Shape 195">
                <a:extLst>
                  <a:ext uri="{FF2B5EF4-FFF2-40B4-BE49-F238E27FC236}">
                    <a16:creationId xmlns:a16="http://schemas.microsoft.com/office/drawing/2014/main" id="{7FDDDE77-1B00-A295-D006-16589F514773}"/>
                  </a:ext>
                </a:extLst>
              </p:cNvPr>
              <p:cNvSpPr/>
              <p:nvPr/>
            </p:nvSpPr>
            <p:spPr>
              <a:xfrm>
                <a:off x="6599586" y="3192399"/>
                <a:ext cx="35814" cy="76104"/>
              </a:xfrm>
              <a:custGeom>
                <a:avLst/>
                <a:gdLst>
                  <a:gd name="connsiteX0" fmla="*/ 11621 w 35814"/>
                  <a:gd name="connsiteY0" fmla="*/ 71914 h 76104"/>
                  <a:gd name="connsiteX1" fmla="*/ 7620 w 35814"/>
                  <a:gd name="connsiteY1" fmla="*/ 59722 h 76104"/>
                  <a:gd name="connsiteX2" fmla="*/ 7620 w 35814"/>
                  <a:gd name="connsiteY2" fmla="*/ 26384 h 76104"/>
                  <a:gd name="connsiteX3" fmla="*/ 0 w 35814"/>
                  <a:gd name="connsiteY3" fmla="*/ 26384 h 76104"/>
                  <a:gd name="connsiteX4" fmla="*/ 0 w 35814"/>
                  <a:gd name="connsiteY4" fmla="*/ 14764 h 76104"/>
                  <a:gd name="connsiteX5" fmla="*/ 8382 w 35814"/>
                  <a:gd name="connsiteY5" fmla="*/ 14764 h 76104"/>
                  <a:gd name="connsiteX6" fmla="*/ 9144 w 35814"/>
                  <a:gd name="connsiteY6" fmla="*/ 1143 h 76104"/>
                  <a:gd name="connsiteX7" fmla="*/ 23050 w 35814"/>
                  <a:gd name="connsiteY7" fmla="*/ 0 h 76104"/>
                  <a:gd name="connsiteX8" fmla="*/ 23050 w 35814"/>
                  <a:gd name="connsiteY8" fmla="*/ 14764 h 76104"/>
                  <a:gd name="connsiteX9" fmla="*/ 35052 w 35814"/>
                  <a:gd name="connsiteY9" fmla="*/ 14764 h 76104"/>
                  <a:gd name="connsiteX10" fmla="*/ 35052 w 35814"/>
                  <a:gd name="connsiteY10" fmla="*/ 26384 h 76104"/>
                  <a:gd name="connsiteX11" fmla="*/ 23050 w 35814"/>
                  <a:gd name="connsiteY11" fmla="*/ 26384 h 76104"/>
                  <a:gd name="connsiteX12" fmla="*/ 23050 w 35814"/>
                  <a:gd name="connsiteY12" fmla="*/ 55531 h 76104"/>
                  <a:gd name="connsiteX13" fmla="*/ 24479 w 35814"/>
                  <a:gd name="connsiteY13" fmla="*/ 61246 h 76104"/>
                  <a:gd name="connsiteX14" fmla="*/ 28956 w 35814"/>
                  <a:gd name="connsiteY14" fmla="*/ 63055 h 76104"/>
                  <a:gd name="connsiteX15" fmla="*/ 34671 w 35814"/>
                  <a:gd name="connsiteY15" fmla="*/ 62389 h 76104"/>
                  <a:gd name="connsiteX16" fmla="*/ 35814 w 35814"/>
                  <a:gd name="connsiteY16" fmla="*/ 74295 h 76104"/>
                  <a:gd name="connsiteX17" fmla="*/ 23050 w 35814"/>
                  <a:gd name="connsiteY17" fmla="*/ 76105 h 76104"/>
                  <a:gd name="connsiteX18" fmla="*/ 11525 w 35814"/>
                  <a:gd name="connsiteY18" fmla="*/ 72009 h 76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5814" h="76104">
                    <a:moveTo>
                      <a:pt x="11621" y="71914"/>
                    </a:moveTo>
                    <a:cubicBezTo>
                      <a:pt x="8954" y="69151"/>
                      <a:pt x="7620" y="65151"/>
                      <a:pt x="7620" y="59722"/>
                    </a:cubicBezTo>
                    <a:lnTo>
                      <a:pt x="7620" y="26384"/>
                    </a:lnTo>
                    <a:lnTo>
                      <a:pt x="0" y="26384"/>
                    </a:lnTo>
                    <a:lnTo>
                      <a:pt x="0" y="14764"/>
                    </a:lnTo>
                    <a:lnTo>
                      <a:pt x="8382" y="14764"/>
                    </a:lnTo>
                    <a:lnTo>
                      <a:pt x="9144" y="1143"/>
                    </a:lnTo>
                    <a:lnTo>
                      <a:pt x="23050" y="0"/>
                    </a:lnTo>
                    <a:lnTo>
                      <a:pt x="23050" y="14764"/>
                    </a:lnTo>
                    <a:lnTo>
                      <a:pt x="35052" y="14764"/>
                    </a:lnTo>
                    <a:lnTo>
                      <a:pt x="35052" y="26384"/>
                    </a:lnTo>
                    <a:lnTo>
                      <a:pt x="23050" y="26384"/>
                    </a:lnTo>
                    <a:lnTo>
                      <a:pt x="23050" y="55531"/>
                    </a:lnTo>
                    <a:cubicBezTo>
                      <a:pt x="23050" y="58102"/>
                      <a:pt x="23527" y="60008"/>
                      <a:pt x="24479" y="61246"/>
                    </a:cubicBezTo>
                    <a:cubicBezTo>
                      <a:pt x="25432" y="62484"/>
                      <a:pt x="26861" y="63055"/>
                      <a:pt x="28956" y="63055"/>
                    </a:cubicBezTo>
                    <a:cubicBezTo>
                      <a:pt x="30575" y="63055"/>
                      <a:pt x="32481" y="62865"/>
                      <a:pt x="34671" y="62389"/>
                    </a:cubicBezTo>
                    <a:lnTo>
                      <a:pt x="35814" y="74295"/>
                    </a:lnTo>
                    <a:cubicBezTo>
                      <a:pt x="31528" y="75438"/>
                      <a:pt x="27337" y="76105"/>
                      <a:pt x="23050" y="76105"/>
                    </a:cubicBezTo>
                    <a:cubicBezTo>
                      <a:pt x="18002" y="76105"/>
                      <a:pt x="14192" y="74771"/>
                      <a:pt x="11525" y="72009"/>
                    </a:cubicBezTo>
                    <a:close/>
                  </a:path>
                </a:pathLst>
              </a:custGeom>
              <a:solidFill>
                <a:srgbClr val="231F20"/>
              </a:solidFill>
              <a:ln w="9525" cap="flat">
                <a:noFill/>
                <a:prstDash val="solid"/>
                <a:miter/>
              </a:ln>
            </p:spPr>
            <p:txBody>
              <a:bodyPr rtlCol="0" anchor="ctr"/>
              <a:lstStyle/>
              <a:p>
                <a:pPr marL="0" marR="0" lvl="0" indent="0" algn="l" defTabSz="913578" rtl="0" eaLnBrk="1" fontAlgn="auto" latinLnBrk="0" hangingPunct="1">
                  <a:lnSpc>
                    <a:spcPct val="100000"/>
                  </a:lnSpc>
                  <a:spcBef>
                    <a:spcPts val="0"/>
                  </a:spcBef>
                  <a:spcAft>
                    <a:spcPts val="0"/>
                  </a:spcAft>
                  <a:buClrTx/>
                  <a:buSzTx/>
                  <a:buFontTx/>
                  <a:buNone/>
                  <a:tabLst/>
                  <a:defRPr/>
                </a:pPr>
                <a:endParaRPr kumimoji="0" lang="en-US" sz="17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371" name="Freeform: Shape 196">
                <a:extLst>
                  <a:ext uri="{FF2B5EF4-FFF2-40B4-BE49-F238E27FC236}">
                    <a16:creationId xmlns:a16="http://schemas.microsoft.com/office/drawing/2014/main" id="{744BAD61-FA38-7B9D-FAD7-7161CF28527F}"/>
                  </a:ext>
                </a:extLst>
              </p:cNvPr>
              <p:cNvSpPr/>
              <p:nvPr/>
            </p:nvSpPr>
            <p:spPr>
              <a:xfrm>
                <a:off x="5510117" y="3343179"/>
                <a:ext cx="53149" cy="62674"/>
              </a:xfrm>
              <a:custGeom>
                <a:avLst/>
                <a:gdLst>
                  <a:gd name="connsiteX0" fmla="*/ 8954 w 53149"/>
                  <a:gd name="connsiteY0" fmla="*/ 60388 h 62674"/>
                  <a:gd name="connsiteX1" fmla="*/ 2381 w 53149"/>
                  <a:gd name="connsiteY1" fmla="*/ 54197 h 62674"/>
                  <a:gd name="connsiteX2" fmla="*/ 0 w 53149"/>
                  <a:gd name="connsiteY2" fmla="*/ 44387 h 62674"/>
                  <a:gd name="connsiteX3" fmla="*/ 6477 w 53149"/>
                  <a:gd name="connsiteY3" fmla="*/ 29813 h 62674"/>
                  <a:gd name="connsiteX4" fmla="*/ 23908 w 53149"/>
                  <a:gd name="connsiteY4" fmla="*/ 25051 h 62674"/>
                  <a:gd name="connsiteX5" fmla="*/ 36957 w 53149"/>
                  <a:gd name="connsiteY5" fmla="*/ 24860 h 62674"/>
                  <a:gd name="connsiteX6" fmla="*/ 36957 w 53149"/>
                  <a:gd name="connsiteY6" fmla="*/ 22003 h 62674"/>
                  <a:gd name="connsiteX7" fmla="*/ 34290 w 53149"/>
                  <a:gd name="connsiteY7" fmla="*/ 14288 h 62674"/>
                  <a:gd name="connsiteX8" fmla="*/ 27051 w 53149"/>
                  <a:gd name="connsiteY8" fmla="*/ 12097 h 62674"/>
                  <a:gd name="connsiteX9" fmla="*/ 10763 w 53149"/>
                  <a:gd name="connsiteY9" fmla="*/ 19431 h 62674"/>
                  <a:gd name="connsiteX10" fmla="*/ 3334 w 53149"/>
                  <a:gd name="connsiteY10" fmla="*/ 9620 h 62674"/>
                  <a:gd name="connsiteX11" fmla="*/ 27908 w 53149"/>
                  <a:gd name="connsiteY11" fmla="*/ 0 h 62674"/>
                  <a:gd name="connsiteX12" fmla="*/ 46196 w 53149"/>
                  <a:gd name="connsiteY12" fmla="*/ 5620 h 62674"/>
                  <a:gd name="connsiteX13" fmla="*/ 52673 w 53149"/>
                  <a:gd name="connsiteY13" fmla="*/ 21622 h 62674"/>
                  <a:gd name="connsiteX14" fmla="*/ 52673 w 53149"/>
                  <a:gd name="connsiteY14" fmla="*/ 43720 h 62674"/>
                  <a:gd name="connsiteX15" fmla="*/ 53150 w 53149"/>
                  <a:gd name="connsiteY15" fmla="*/ 61532 h 62674"/>
                  <a:gd name="connsiteX16" fmla="*/ 38291 w 53149"/>
                  <a:gd name="connsiteY16" fmla="*/ 61532 h 62674"/>
                  <a:gd name="connsiteX17" fmla="*/ 37910 w 53149"/>
                  <a:gd name="connsiteY17" fmla="*/ 53054 h 62674"/>
                  <a:gd name="connsiteX18" fmla="*/ 37529 w 53149"/>
                  <a:gd name="connsiteY18" fmla="*/ 53054 h 62674"/>
                  <a:gd name="connsiteX19" fmla="*/ 29813 w 53149"/>
                  <a:gd name="connsiteY19" fmla="*/ 60198 h 62674"/>
                  <a:gd name="connsiteX20" fmla="*/ 18764 w 53149"/>
                  <a:gd name="connsiteY20" fmla="*/ 62675 h 62674"/>
                  <a:gd name="connsiteX21" fmla="*/ 8954 w 53149"/>
                  <a:gd name="connsiteY21" fmla="*/ 60579 h 62674"/>
                  <a:gd name="connsiteX22" fmla="*/ 30575 w 53149"/>
                  <a:gd name="connsiteY22" fmla="*/ 48768 h 62674"/>
                  <a:gd name="connsiteX23" fmla="*/ 35338 w 53149"/>
                  <a:gd name="connsiteY23" fmla="*/ 43910 h 62674"/>
                  <a:gd name="connsiteX24" fmla="*/ 37052 w 53149"/>
                  <a:gd name="connsiteY24" fmla="*/ 37529 h 62674"/>
                  <a:gd name="connsiteX25" fmla="*/ 37052 w 53149"/>
                  <a:gd name="connsiteY25" fmla="*/ 34480 h 62674"/>
                  <a:gd name="connsiteX26" fmla="*/ 28956 w 53149"/>
                  <a:gd name="connsiteY26" fmla="*/ 34480 h 62674"/>
                  <a:gd name="connsiteX27" fmla="*/ 22288 w 53149"/>
                  <a:gd name="connsiteY27" fmla="*/ 35433 h 62674"/>
                  <a:gd name="connsiteX28" fmla="*/ 18098 w 53149"/>
                  <a:gd name="connsiteY28" fmla="*/ 37814 h 62674"/>
                  <a:gd name="connsiteX29" fmla="*/ 16478 w 53149"/>
                  <a:gd name="connsiteY29" fmla="*/ 43053 h 62674"/>
                  <a:gd name="connsiteX30" fmla="*/ 18479 w 53149"/>
                  <a:gd name="connsiteY30" fmla="*/ 48673 h 62674"/>
                  <a:gd name="connsiteX31" fmla="*/ 23813 w 53149"/>
                  <a:gd name="connsiteY31" fmla="*/ 50578 h 62674"/>
                  <a:gd name="connsiteX32" fmla="*/ 30671 w 53149"/>
                  <a:gd name="connsiteY32" fmla="*/ 48768 h 626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53149" h="62674">
                    <a:moveTo>
                      <a:pt x="8954" y="60388"/>
                    </a:moveTo>
                    <a:cubicBezTo>
                      <a:pt x="6191" y="58960"/>
                      <a:pt x="4001" y="56864"/>
                      <a:pt x="2381" y="54197"/>
                    </a:cubicBezTo>
                    <a:cubicBezTo>
                      <a:pt x="762" y="51530"/>
                      <a:pt x="0" y="48196"/>
                      <a:pt x="0" y="44387"/>
                    </a:cubicBezTo>
                    <a:cubicBezTo>
                      <a:pt x="0" y="37719"/>
                      <a:pt x="2191" y="32861"/>
                      <a:pt x="6477" y="29813"/>
                    </a:cubicBezTo>
                    <a:cubicBezTo>
                      <a:pt x="10763" y="26765"/>
                      <a:pt x="16574" y="25241"/>
                      <a:pt x="23908" y="25051"/>
                    </a:cubicBezTo>
                    <a:lnTo>
                      <a:pt x="36957" y="24860"/>
                    </a:lnTo>
                    <a:lnTo>
                      <a:pt x="36957" y="22003"/>
                    </a:lnTo>
                    <a:cubicBezTo>
                      <a:pt x="36957" y="18288"/>
                      <a:pt x="36100" y="15716"/>
                      <a:pt x="34290" y="14288"/>
                    </a:cubicBezTo>
                    <a:cubicBezTo>
                      <a:pt x="32480" y="12859"/>
                      <a:pt x="30099" y="12097"/>
                      <a:pt x="27051" y="12097"/>
                    </a:cubicBezTo>
                    <a:cubicBezTo>
                      <a:pt x="21717" y="12097"/>
                      <a:pt x="16288" y="14573"/>
                      <a:pt x="10763" y="19431"/>
                    </a:cubicBezTo>
                    <a:lnTo>
                      <a:pt x="3334" y="9620"/>
                    </a:lnTo>
                    <a:cubicBezTo>
                      <a:pt x="10573" y="3238"/>
                      <a:pt x="18764" y="0"/>
                      <a:pt x="27908" y="0"/>
                    </a:cubicBezTo>
                    <a:cubicBezTo>
                      <a:pt x="35719" y="0"/>
                      <a:pt x="41815" y="1905"/>
                      <a:pt x="46196" y="5620"/>
                    </a:cubicBezTo>
                    <a:cubicBezTo>
                      <a:pt x="50578" y="9335"/>
                      <a:pt x="52673" y="14669"/>
                      <a:pt x="52673" y="21622"/>
                    </a:cubicBezTo>
                    <a:lnTo>
                      <a:pt x="52673" y="43720"/>
                    </a:lnTo>
                    <a:cubicBezTo>
                      <a:pt x="52673" y="50387"/>
                      <a:pt x="52864" y="56293"/>
                      <a:pt x="53150" y="61532"/>
                    </a:cubicBezTo>
                    <a:lnTo>
                      <a:pt x="38291" y="61532"/>
                    </a:lnTo>
                    <a:cubicBezTo>
                      <a:pt x="38005" y="58865"/>
                      <a:pt x="37910" y="56102"/>
                      <a:pt x="37910" y="53054"/>
                    </a:cubicBezTo>
                    <a:lnTo>
                      <a:pt x="37529" y="53054"/>
                    </a:lnTo>
                    <a:cubicBezTo>
                      <a:pt x="35528" y="56102"/>
                      <a:pt x="32957" y="58484"/>
                      <a:pt x="29813" y="60198"/>
                    </a:cubicBezTo>
                    <a:cubicBezTo>
                      <a:pt x="26670" y="61913"/>
                      <a:pt x="22955" y="62675"/>
                      <a:pt x="18764" y="62675"/>
                    </a:cubicBezTo>
                    <a:cubicBezTo>
                      <a:pt x="15050" y="62675"/>
                      <a:pt x="11811" y="62008"/>
                      <a:pt x="8954" y="60579"/>
                    </a:cubicBezTo>
                    <a:close/>
                    <a:moveTo>
                      <a:pt x="30575" y="48768"/>
                    </a:moveTo>
                    <a:cubicBezTo>
                      <a:pt x="32576" y="47530"/>
                      <a:pt x="34195" y="45911"/>
                      <a:pt x="35338" y="43910"/>
                    </a:cubicBezTo>
                    <a:cubicBezTo>
                      <a:pt x="36481" y="41910"/>
                      <a:pt x="37052" y="39815"/>
                      <a:pt x="37052" y="37529"/>
                    </a:cubicBezTo>
                    <a:lnTo>
                      <a:pt x="37052" y="34480"/>
                    </a:lnTo>
                    <a:lnTo>
                      <a:pt x="28956" y="34480"/>
                    </a:lnTo>
                    <a:cubicBezTo>
                      <a:pt x="26194" y="34766"/>
                      <a:pt x="24003" y="35052"/>
                      <a:pt x="22288" y="35433"/>
                    </a:cubicBezTo>
                    <a:cubicBezTo>
                      <a:pt x="20574" y="35814"/>
                      <a:pt x="19145" y="36576"/>
                      <a:pt x="18098" y="37814"/>
                    </a:cubicBezTo>
                    <a:cubicBezTo>
                      <a:pt x="17050" y="39053"/>
                      <a:pt x="16478" y="40767"/>
                      <a:pt x="16478" y="43053"/>
                    </a:cubicBezTo>
                    <a:cubicBezTo>
                      <a:pt x="16478" y="45339"/>
                      <a:pt x="17145" y="47339"/>
                      <a:pt x="18479" y="48673"/>
                    </a:cubicBezTo>
                    <a:cubicBezTo>
                      <a:pt x="19812" y="50006"/>
                      <a:pt x="21622" y="50578"/>
                      <a:pt x="23813" y="50578"/>
                    </a:cubicBezTo>
                    <a:cubicBezTo>
                      <a:pt x="26384" y="50578"/>
                      <a:pt x="28670" y="50006"/>
                      <a:pt x="30671" y="48768"/>
                    </a:cubicBezTo>
                    <a:close/>
                  </a:path>
                </a:pathLst>
              </a:custGeom>
              <a:solidFill>
                <a:srgbClr val="231F20"/>
              </a:solidFill>
              <a:ln w="9525" cap="flat">
                <a:noFill/>
                <a:prstDash val="solid"/>
                <a:miter/>
              </a:ln>
            </p:spPr>
            <p:txBody>
              <a:bodyPr rtlCol="0" anchor="ctr"/>
              <a:lstStyle/>
              <a:p>
                <a:pPr marL="0" marR="0" lvl="0" indent="0" algn="l" defTabSz="913578" rtl="0" eaLnBrk="1" fontAlgn="auto" latinLnBrk="0" hangingPunct="1">
                  <a:lnSpc>
                    <a:spcPct val="100000"/>
                  </a:lnSpc>
                  <a:spcBef>
                    <a:spcPts val="0"/>
                  </a:spcBef>
                  <a:spcAft>
                    <a:spcPts val="0"/>
                  </a:spcAft>
                  <a:buClrTx/>
                  <a:buSzTx/>
                  <a:buFontTx/>
                  <a:buNone/>
                  <a:tabLst/>
                  <a:defRPr/>
                </a:pPr>
                <a:endParaRPr kumimoji="0" lang="en-US" sz="17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372" name="Freeform: Shape 197">
                <a:extLst>
                  <a:ext uri="{FF2B5EF4-FFF2-40B4-BE49-F238E27FC236}">
                    <a16:creationId xmlns:a16="http://schemas.microsoft.com/office/drawing/2014/main" id="{917ABAB0-A679-03D9-95D5-93C97C151E8A}"/>
                  </a:ext>
                </a:extLst>
              </p:cNvPr>
              <p:cNvSpPr/>
              <p:nvPr/>
            </p:nvSpPr>
            <p:spPr>
              <a:xfrm>
                <a:off x="5577649" y="3343084"/>
                <a:ext cx="55149" cy="61721"/>
              </a:xfrm>
              <a:custGeom>
                <a:avLst/>
                <a:gdLst>
                  <a:gd name="connsiteX0" fmla="*/ 381 w 55149"/>
                  <a:gd name="connsiteY0" fmla="*/ 14668 h 61721"/>
                  <a:gd name="connsiteX1" fmla="*/ 286 w 55149"/>
                  <a:gd name="connsiteY1" fmla="*/ 6763 h 61721"/>
                  <a:gd name="connsiteX2" fmla="*/ 0 w 55149"/>
                  <a:gd name="connsiteY2" fmla="*/ 1238 h 61721"/>
                  <a:gd name="connsiteX3" fmla="*/ 14954 w 55149"/>
                  <a:gd name="connsiteY3" fmla="*/ 1238 h 61721"/>
                  <a:gd name="connsiteX4" fmla="*/ 15431 w 55149"/>
                  <a:gd name="connsiteY4" fmla="*/ 6191 h 61721"/>
                  <a:gd name="connsiteX5" fmla="*/ 15716 w 55149"/>
                  <a:gd name="connsiteY5" fmla="*/ 12097 h 61721"/>
                  <a:gd name="connsiteX6" fmla="*/ 15907 w 55149"/>
                  <a:gd name="connsiteY6" fmla="*/ 12097 h 61721"/>
                  <a:gd name="connsiteX7" fmla="*/ 23908 w 55149"/>
                  <a:gd name="connsiteY7" fmla="*/ 2953 h 61721"/>
                  <a:gd name="connsiteX8" fmla="*/ 35338 w 55149"/>
                  <a:gd name="connsiteY8" fmla="*/ 0 h 61721"/>
                  <a:gd name="connsiteX9" fmla="*/ 50387 w 55149"/>
                  <a:gd name="connsiteY9" fmla="*/ 6382 h 61721"/>
                  <a:gd name="connsiteX10" fmla="*/ 55150 w 55149"/>
                  <a:gd name="connsiteY10" fmla="*/ 23336 h 61721"/>
                  <a:gd name="connsiteX11" fmla="*/ 55150 w 55149"/>
                  <a:gd name="connsiteY11" fmla="*/ 61627 h 61721"/>
                  <a:gd name="connsiteX12" fmla="*/ 39529 w 55149"/>
                  <a:gd name="connsiteY12" fmla="*/ 61627 h 61721"/>
                  <a:gd name="connsiteX13" fmla="*/ 39529 w 55149"/>
                  <a:gd name="connsiteY13" fmla="*/ 27813 h 61721"/>
                  <a:gd name="connsiteX14" fmla="*/ 37243 w 55149"/>
                  <a:gd name="connsiteY14" fmla="*/ 17240 h 61721"/>
                  <a:gd name="connsiteX15" fmla="*/ 29337 w 55149"/>
                  <a:gd name="connsiteY15" fmla="*/ 13525 h 61721"/>
                  <a:gd name="connsiteX16" fmla="*/ 22574 w 55149"/>
                  <a:gd name="connsiteY16" fmla="*/ 15526 h 61721"/>
                  <a:gd name="connsiteX17" fmla="*/ 17812 w 55149"/>
                  <a:gd name="connsiteY17" fmla="*/ 21146 h 61721"/>
                  <a:gd name="connsiteX18" fmla="*/ 16097 w 55149"/>
                  <a:gd name="connsiteY18" fmla="*/ 29337 h 61721"/>
                  <a:gd name="connsiteX19" fmla="*/ 16097 w 55149"/>
                  <a:gd name="connsiteY19" fmla="*/ 61722 h 61721"/>
                  <a:gd name="connsiteX20" fmla="*/ 381 w 55149"/>
                  <a:gd name="connsiteY20" fmla="*/ 61722 h 61721"/>
                  <a:gd name="connsiteX21" fmla="*/ 381 w 55149"/>
                  <a:gd name="connsiteY21" fmla="*/ 14859 h 617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5149" h="61721">
                    <a:moveTo>
                      <a:pt x="381" y="14668"/>
                    </a:moveTo>
                    <a:cubicBezTo>
                      <a:pt x="381" y="12097"/>
                      <a:pt x="381" y="9430"/>
                      <a:pt x="286" y="6763"/>
                    </a:cubicBezTo>
                    <a:cubicBezTo>
                      <a:pt x="191" y="4096"/>
                      <a:pt x="95" y="2191"/>
                      <a:pt x="0" y="1238"/>
                    </a:cubicBezTo>
                    <a:lnTo>
                      <a:pt x="14954" y="1238"/>
                    </a:lnTo>
                    <a:cubicBezTo>
                      <a:pt x="15145" y="2096"/>
                      <a:pt x="15240" y="3715"/>
                      <a:pt x="15431" y="6191"/>
                    </a:cubicBezTo>
                    <a:cubicBezTo>
                      <a:pt x="15621" y="8668"/>
                      <a:pt x="15716" y="10668"/>
                      <a:pt x="15716" y="12097"/>
                    </a:cubicBezTo>
                    <a:lnTo>
                      <a:pt x="15907" y="12097"/>
                    </a:lnTo>
                    <a:cubicBezTo>
                      <a:pt x="18002" y="8001"/>
                      <a:pt x="20669" y="4953"/>
                      <a:pt x="23908" y="2953"/>
                    </a:cubicBezTo>
                    <a:cubicBezTo>
                      <a:pt x="27146" y="952"/>
                      <a:pt x="30956" y="0"/>
                      <a:pt x="35338" y="0"/>
                    </a:cubicBezTo>
                    <a:cubicBezTo>
                      <a:pt x="42196" y="0"/>
                      <a:pt x="47244" y="2096"/>
                      <a:pt x="50387" y="6382"/>
                    </a:cubicBezTo>
                    <a:cubicBezTo>
                      <a:pt x="53531" y="10668"/>
                      <a:pt x="55150" y="16288"/>
                      <a:pt x="55150" y="23336"/>
                    </a:cubicBezTo>
                    <a:lnTo>
                      <a:pt x="55150" y="61627"/>
                    </a:lnTo>
                    <a:lnTo>
                      <a:pt x="39529" y="61627"/>
                    </a:lnTo>
                    <a:lnTo>
                      <a:pt x="39529" y="27813"/>
                    </a:lnTo>
                    <a:cubicBezTo>
                      <a:pt x="39529" y="23241"/>
                      <a:pt x="38767" y="19717"/>
                      <a:pt x="37243" y="17240"/>
                    </a:cubicBezTo>
                    <a:cubicBezTo>
                      <a:pt x="35719" y="14764"/>
                      <a:pt x="33052" y="13525"/>
                      <a:pt x="29337" y="13525"/>
                    </a:cubicBezTo>
                    <a:cubicBezTo>
                      <a:pt x="26766" y="13525"/>
                      <a:pt x="24575" y="14192"/>
                      <a:pt x="22574" y="15526"/>
                    </a:cubicBezTo>
                    <a:cubicBezTo>
                      <a:pt x="20574" y="16859"/>
                      <a:pt x="18955" y="18669"/>
                      <a:pt x="17812" y="21146"/>
                    </a:cubicBezTo>
                    <a:cubicBezTo>
                      <a:pt x="16669" y="23622"/>
                      <a:pt x="16097" y="26289"/>
                      <a:pt x="16097" y="29337"/>
                    </a:cubicBezTo>
                    <a:lnTo>
                      <a:pt x="16097" y="61722"/>
                    </a:lnTo>
                    <a:lnTo>
                      <a:pt x="381" y="61722"/>
                    </a:lnTo>
                    <a:lnTo>
                      <a:pt x="381" y="14859"/>
                    </a:lnTo>
                    <a:close/>
                  </a:path>
                </a:pathLst>
              </a:custGeom>
              <a:solidFill>
                <a:srgbClr val="231F20"/>
              </a:solidFill>
              <a:ln w="9525" cap="flat">
                <a:noFill/>
                <a:prstDash val="solid"/>
                <a:miter/>
              </a:ln>
            </p:spPr>
            <p:txBody>
              <a:bodyPr rtlCol="0" anchor="ctr"/>
              <a:lstStyle/>
              <a:p>
                <a:pPr marL="0" marR="0" lvl="0" indent="0" algn="l" defTabSz="913578" rtl="0" eaLnBrk="1" fontAlgn="auto" latinLnBrk="0" hangingPunct="1">
                  <a:lnSpc>
                    <a:spcPct val="100000"/>
                  </a:lnSpc>
                  <a:spcBef>
                    <a:spcPts val="0"/>
                  </a:spcBef>
                  <a:spcAft>
                    <a:spcPts val="0"/>
                  </a:spcAft>
                  <a:buClrTx/>
                  <a:buSzTx/>
                  <a:buFontTx/>
                  <a:buNone/>
                  <a:tabLst/>
                  <a:defRPr/>
                </a:pPr>
                <a:endParaRPr kumimoji="0" lang="en-US" sz="17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373" name="Freeform: Shape 198">
                <a:extLst>
                  <a:ext uri="{FF2B5EF4-FFF2-40B4-BE49-F238E27FC236}">
                    <a16:creationId xmlns:a16="http://schemas.microsoft.com/office/drawing/2014/main" id="{680709BF-04C3-98B6-2C38-AE0BBA690817}"/>
                  </a:ext>
                </a:extLst>
              </p:cNvPr>
              <p:cNvSpPr/>
              <p:nvPr/>
            </p:nvSpPr>
            <p:spPr>
              <a:xfrm>
                <a:off x="5644610" y="3321748"/>
                <a:ext cx="58197" cy="84010"/>
              </a:xfrm>
              <a:custGeom>
                <a:avLst/>
                <a:gdLst>
                  <a:gd name="connsiteX0" fmla="*/ 10763 w 58197"/>
                  <a:gd name="connsiteY0" fmla="*/ 80010 h 84010"/>
                  <a:gd name="connsiteX1" fmla="*/ 2667 w 58197"/>
                  <a:gd name="connsiteY1" fmla="*/ 68961 h 84010"/>
                  <a:gd name="connsiteX2" fmla="*/ 0 w 58197"/>
                  <a:gd name="connsiteY2" fmla="*/ 52673 h 84010"/>
                  <a:gd name="connsiteX3" fmla="*/ 2858 w 58197"/>
                  <a:gd name="connsiteY3" fmla="*/ 36386 h 84010"/>
                  <a:gd name="connsiteX4" fmla="*/ 11335 w 58197"/>
                  <a:gd name="connsiteY4" fmla="*/ 25337 h 84010"/>
                  <a:gd name="connsiteX5" fmla="*/ 25051 w 58197"/>
                  <a:gd name="connsiteY5" fmla="*/ 21336 h 84010"/>
                  <a:gd name="connsiteX6" fmla="*/ 35052 w 58197"/>
                  <a:gd name="connsiteY6" fmla="*/ 23717 h 84010"/>
                  <a:gd name="connsiteX7" fmla="*/ 42101 w 58197"/>
                  <a:gd name="connsiteY7" fmla="*/ 30861 h 84010"/>
                  <a:gd name="connsiteX8" fmla="*/ 42196 w 58197"/>
                  <a:gd name="connsiteY8" fmla="*/ 30861 h 84010"/>
                  <a:gd name="connsiteX9" fmla="*/ 42196 w 58197"/>
                  <a:gd name="connsiteY9" fmla="*/ 28194 h 84010"/>
                  <a:gd name="connsiteX10" fmla="*/ 42196 w 58197"/>
                  <a:gd name="connsiteY10" fmla="*/ 22003 h 84010"/>
                  <a:gd name="connsiteX11" fmla="*/ 42196 w 58197"/>
                  <a:gd name="connsiteY11" fmla="*/ 0 h 84010"/>
                  <a:gd name="connsiteX12" fmla="*/ 57817 w 58197"/>
                  <a:gd name="connsiteY12" fmla="*/ 0 h 84010"/>
                  <a:gd name="connsiteX13" fmla="*/ 57817 w 58197"/>
                  <a:gd name="connsiteY13" fmla="*/ 69723 h 84010"/>
                  <a:gd name="connsiteX14" fmla="*/ 57912 w 58197"/>
                  <a:gd name="connsiteY14" fmla="*/ 76962 h 84010"/>
                  <a:gd name="connsiteX15" fmla="*/ 58103 w 58197"/>
                  <a:gd name="connsiteY15" fmla="*/ 81058 h 84010"/>
                  <a:gd name="connsiteX16" fmla="*/ 58198 w 58197"/>
                  <a:gd name="connsiteY16" fmla="*/ 82868 h 84010"/>
                  <a:gd name="connsiteX17" fmla="*/ 43053 w 58197"/>
                  <a:gd name="connsiteY17" fmla="*/ 82868 h 84010"/>
                  <a:gd name="connsiteX18" fmla="*/ 42482 w 58197"/>
                  <a:gd name="connsiteY18" fmla="*/ 79153 h 84010"/>
                  <a:gd name="connsiteX19" fmla="*/ 42196 w 58197"/>
                  <a:gd name="connsiteY19" fmla="*/ 74200 h 84010"/>
                  <a:gd name="connsiteX20" fmla="*/ 42005 w 58197"/>
                  <a:gd name="connsiteY20" fmla="*/ 74200 h 84010"/>
                  <a:gd name="connsiteX21" fmla="*/ 34766 w 58197"/>
                  <a:gd name="connsiteY21" fmla="*/ 81629 h 84010"/>
                  <a:gd name="connsiteX22" fmla="*/ 23908 w 58197"/>
                  <a:gd name="connsiteY22" fmla="*/ 84011 h 84010"/>
                  <a:gd name="connsiteX23" fmla="*/ 10859 w 58197"/>
                  <a:gd name="connsiteY23" fmla="*/ 80010 h 84010"/>
                  <a:gd name="connsiteX24" fmla="*/ 35338 w 58197"/>
                  <a:gd name="connsiteY24" fmla="*/ 69723 h 84010"/>
                  <a:gd name="connsiteX25" fmla="*/ 40386 w 58197"/>
                  <a:gd name="connsiteY25" fmla="*/ 63627 h 84010"/>
                  <a:gd name="connsiteX26" fmla="*/ 42386 w 58197"/>
                  <a:gd name="connsiteY26" fmla="*/ 52388 h 84010"/>
                  <a:gd name="connsiteX27" fmla="*/ 38481 w 58197"/>
                  <a:gd name="connsiteY27" fmla="*/ 38005 h 84010"/>
                  <a:gd name="connsiteX28" fmla="*/ 28956 w 58197"/>
                  <a:gd name="connsiteY28" fmla="*/ 33719 h 84010"/>
                  <a:gd name="connsiteX29" fmla="*/ 19812 w 58197"/>
                  <a:gd name="connsiteY29" fmla="*/ 38386 h 84010"/>
                  <a:gd name="connsiteX30" fmla="*/ 16383 w 58197"/>
                  <a:gd name="connsiteY30" fmla="*/ 52673 h 84010"/>
                  <a:gd name="connsiteX31" fmla="*/ 19717 w 58197"/>
                  <a:gd name="connsiteY31" fmla="*/ 66675 h 84010"/>
                  <a:gd name="connsiteX32" fmla="*/ 28861 w 58197"/>
                  <a:gd name="connsiteY32" fmla="*/ 71533 h 84010"/>
                  <a:gd name="connsiteX33" fmla="*/ 35433 w 58197"/>
                  <a:gd name="connsiteY33" fmla="*/ 69723 h 84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58197" h="84010">
                    <a:moveTo>
                      <a:pt x="10763" y="80010"/>
                    </a:moveTo>
                    <a:cubicBezTo>
                      <a:pt x="7144" y="77343"/>
                      <a:pt x="4477" y="73628"/>
                      <a:pt x="2667" y="68961"/>
                    </a:cubicBezTo>
                    <a:cubicBezTo>
                      <a:pt x="858" y="64294"/>
                      <a:pt x="0" y="58865"/>
                      <a:pt x="0" y="52673"/>
                    </a:cubicBezTo>
                    <a:cubicBezTo>
                      <a:pt x="0" y="46482"/>
                      <a:pt x="953" y="41148"/>
                      <a:pt x="2858" y="36386"/>
                    </a:cubicBezTo>
                    <a:cubicBezTo>
                      <a:pt x="4763" y="31623"/>
                      <a:pt x="7620" y="28004"/>
                      <a:pt x="11335" y="25337"/>
                    </a:cubicBezTo>
                    <a:cubicBezTo>
                      <a:pt x="15050" y="22670"/>
                      <a:pt x="19622" y="21336"/>
                      <a:pt x="25051" y="21336"/>
                    </a:cubicBezTo>
                    <a:cubicBezTo>
                      <a:pt x="28670" y="21336"/>
                      <a:pt x="31909" y="22098"/>
                      <a:pt x="35052" y="23717"/>
                    </a:cubicBezTo>
                    <a:cubicBezTo>
                      <a:pt x="38195" y="25337"/>
                      <a:pt x="40481" y="27623"/>
                      <a:pt x="42101" y="30861"/>
                    </a:cubicBezTo>
                    <a:lnTo>
                      <a:pt x="42196" y="30861"/>
                    </a:lnTo>
                    <a:cubicBezTo>
                      <a:pt x="42196" y="29909"/>
                      <a:pt x="42196" y="29051"/>
                      <a:pt x="42196" y="28194"/>
                    </a:cubicBezTo>
                    <a:lnTo>
                      <a:pt x="42196" y="22003"/>
                    </a:lnTo>
                    <a:cubicBezTo>
                      <a:pt x="42196" y="22003"/>
                      <a:pt x="42196" y="0"/>
                      <a:pt x="42196" y="0"/>
                    </a:cubicBezTo>
                    <a:lnTo>
                      <a:pt x="57817" y="0"/>
                    </a:lnTo>
                    <a:lnTo>
                      <a:pt x="57817" y="69723"/>
                    </a:lnTo>
                    <a:cubicBezTo>
                      <a:pt x="57817" y="72295"/>
                      <a:pt x="57817" y="74676"/>
                      <a:pt x="57912" y="76962"/>
                    </a:cubicBezTo>
                    <a:cubicBezTo>
                      <a:pt x="58008" y="79248"/>
                      <a:pt x="58103" y="80582"/>
                      <a:pt x="58103" y="81058"/>
                    </a:cubicBezTo>
                    <a:cubicBezTo>
                      <a:pt x="58103" y="82010"/>
                      <a:pt x="58198" y="82677"/>
                      <a:pt x="58198" y="82868"/>
                    </a:cubicBezTo>
                    <a:lnTo>
                      <a:pt x="43053" y="82868"/>
                    </a:lnTo>
                    <a:cubicBezTo>
                      <a:pt x="42863" y="82391"/>
                      <a:pt x="42672" y="81153"/>
                      <a:pt x="42482" y="79153"/>
                    </a:cubicBezTo>
                    <a:cubicBezTo>
                      <a:pt x="42291" y="77153"/>
                      <a:pt x="42196" y="75533"/>
                      <a:pt x="42196" y="74200"/>
                    </a:cubicBezTo>
                    <a:lnTo>
                      <a:pt x="42005" y="74200"/>
                    </a:lnTo>
                    <a:cubicBezTo>
                      <a:pt x="40291" y="77534"/>
                      <a:pt x="37910" y="80010"/>
                      <a:pt x="34766" y="81629"/>
                    </a:cubicBezTo>
                    <a:cubicBezTo>
                      <a:pt x="31623" y="83249"/>
                      <a:pt x="28004" y="84011"/>
                      <a:pt x="23908" y="84011"/>
                    </a:cubicBezTo>
                    <a:cubicBezTo>
                      <a:pt x="18764" y="84011"/>
                      <a:pt x="14383" y="82677"/>
                      <a:pt x="10859" y="80010"/>
                    </a:cubicBezTo>
                    <a:close/>
                    <a:moveTo>
                      <a:pt x="35338" y="69723"/>
                    </a:moveTo>
                    <a:cubicBezTo>
                      <a:pt x="37338" y="68485"/>
                      <a:pt x="39053" y="66485"/>
                      <a:pt x="40386" y="63627"/>
                    </a:cubicBezTo>
                    <a:cubicBezTo>
                      <a:pt x="41720" y="60770"/>
                      <a:pt x="42386" y="57055"/>
                      <a:pt x="42386" y="52388"/>
                    </a:cubicBezTo>
                    <a:cubicBezTo>
                      <a:pt x="42386" y="45720"/>
                      <a:pt x="41053" y="40862"/>
                      <a:pt x="38481" y="38005"/>
                    </a:cubicBezTo>
                    <a:cubicBezTo>
                      <a:pt x="35909" y="35147"/>
                      <a:pt x="32766" y="33719"/>
                      <a:pt x="28956" y="33719"/>
                    </a:cubicBezTo>
                    <a:cubicBezTo>
                      <a:pt x="25146" y="33719"/>
                      <a:pt x="22098" y="35243"/>
                      <a:pt x="19812" y="38386"/>
                    </a:cubicBezTo>
                    <a:cubicBezTo>
                      <a:pt x="17526" y="41529"/>
                      <a:pt x="16383" y="46292"/>
                      <a:pt x="16383" y="52673"/>
                    </a:cubicBezTo>
                    <a:cubicBezTo>
                      <a:pt x="16383" y="59055"/>
                      <a:pt x="17526" y="63437"/>
                      <a:pt x="19717" y="66675"/>
                    </a:cubicBezTo>
                    <a:cubicBezTo>
                      <a:pt x="21908" y="69913"/>
                      <a:pt x="24956" y="71533"/>
                      <a:pt x="28861" y="71533"/>
                    </a:cubicBezTo>
                    <a:cubicBezTo>
                      <a:pt x="31147" y="71533"/>
                      <a:pt x="33338" y="70961"/>
                      <a:pt x="35433" y="69723"/>
                    </a:cubicBezTo>
                    <a:close/>
                  </a:path>
                </a:pathLst>
              </a:custGeom>
              <a:solidFill>
                <a:srgbClr val="231F20"/>
              </a:solidFill>
              <a:ln w="9525" cap="flat">
                <a:noFill/>
                <a:prstDash val="solid"/>
                <a:miter/>
              </a:ln>
            </p:spPr>
            <p:txBody>
              <a:bodyPr rtlCol="0" anchor="ctr"/>
              <a:lstStyle/>
              <a:p>
                <a:pPr marL="0" marR="0" lvl="0" indent="0" algn="l" defTabSz="913578" rtl="0" eaLnBrk="1" fontAlgn="auto" latinLnBrk="0" hangingPunct="1">
                  <a:lnSpc>
                    <a:spcPct val="100000"/>
                  </a:lnSpc>
                  <a:spcBef>
                    <a:spcPts val="0"/>
                  </a:spcBef>
                  <a:spcAft>
                    <a:spcPts val="0"/>
                  </a:spcAft>
                  <a:buClrTx/>
                  <a:buSzTx/>
                  <a:buFontTx/>
                  <a:buNone/>
                  <a:tabLst/>
                  <a:defRPr/>
                </a:pPr>
                <a:endParaRPr kumimoji="0" lang="en-US" sz="17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374" name="Freeform: Shape 199">
                <a:extLst>
                  <a:ext uri="{FF2B5EF4-FFF2-40B4-BE49-F238E27FC236}">
                    <a16:creationId xmlns:a16="http://schemas.microsoft.com/office/drawing/2014/main" id="{567555E5-9497-D72B-B6FB-58C6D1A8CAC8}"/>
                  </a:ext>
                </a:extLst>
              </p:cNvPr>
              <p:cNvSpPr/>
              <p:nvPr/>
            </p:nvSpPr>
            <p:spPr>
              <a:xfrm>
                <a:off x="5749575" y="3321748"/>
                <a:ext cx="58483" cy="83915"/>
              </a:xfrm>
              <a:custGeom>
                <a:avLst/>
                <a:gdLst>
                  <a:gd name="connsiteX0" fmla="*/ 23813 w 58483"/>
                  <a:gd name="connsiteY0" fmla="*/ 81629 h 83915"/>
                  <a:gd name="connsiteX1" fmla="*/ 16192 w 58483"/>
                  <a:gd name="connsiteY1" fmla="*/ 74295 h 83915"/>
                  <a:gd name="connsiteX2" fmla="*/ 16097 w 58483"/>
                  <a:gd name="connsiteY2" fmla="*/ 74295 h 83915"/>
                  <a:gd name="connsiteX3" fmla="*/ 15812 w 58483"/>
                  <a:gd name="connsiteY3" fmla="*/ 79248 h 83915"/>
                  <a:gd name="connsiteX4" fmla="*/ 15240 w 58483"/>
                  <a:gd name="connsiteY4" fmla="*/ 82868 h 83915"/>
                  <a:gd name="connsiteX5" fmla="*/ 0 w 58483"/>
                  <a:gd name="connsiteY5" fmla="*/ 82868 h 83915"/>
                  <a:gd name="connsiteX6" fmla="*/ 476 w 58483"/>
                  <a:gd name="connsiteY6" fmla="*/ 69056 h 83915"/>
                  <a:gd name="connsiteX7" fmla="*/ 476 w 58483"/>
                  <a:gd name="connsiteY7" fmla="*/ 0 h 83915"/>
                  <a:gd name="connsiteX8" fmla="*/ 16192 w 58483"/>
                  <a:gd name="connsiteY8" fmla="*/ 0 h 83915"/>
                  <a:gd name="connsiteX9" fmla="*/ 16192 w 58483"/>
                  <a:gd name="connsiteY9" fmla="*/ 23241 h 83915"/>
                  <a:gd name="connsiteX10" fmla="*/ 16192 w 58483"/>
                  <a:gd name="connsiteY10" fmla="*/ 28385 h 83915"/>
                  <a:gd name="connsiteX11" fmla="*/ 16097 w 58483"/>
                  <a:gd name="connsiteY11" fmla="*/ 31813 h 83915"/>
                  <a:gd name="connsiteX12" fmla="*/ 16288 w 58483"/>
                  <a:gd name="connsiteY12" fmla="*/ 31813 h 83915"/>
                  <a:gd name="connsiteX13" fmla="*/ 24194 w 58483"/>
                  <a:gd name="connsiteY13" fmla="*/ 23908 h 83915"/>
                  <a:gd name="connsiteX14" fmla="*/ 35528 w 58483"/>
                  <a:gd name="connsiteY14" fmla="*/ 21336 h 83915"/>
                  <a:gd name="connsiteX15" fmla="*/ 48006 w 58483"/>
                  <a:gd name="connsiteY15" fmla="*/ 25337 h 83915"/>
                  <a:gd name="connsiteX16" fmla="*/ 55816 w 58483"/>
                  <a:gd name="connsiteY16" fmla="*/ 36290 h 83915"/>
                  <a:gd name="connsiteX17" fmla="*/ 58483 w 58483"/>
                  <a:gd name="connsiteY17" fmla="*/ 52388 h 83915"/>
                  <a:gd name="connsiteX18" fmla="*/ 55721 w 58483"/>
                  <a:gd name="connsiteY18" fmla="*/ 68771 h 83915"/>
                  <a:gd name="connsiteX19" fmla="*/ 47530 w 58483"/>
                  <a:gd name="connsiteY19" fmla="*/ 79915 h 83915"/>
                  <a:gd name="connsiteX20" fmla="*/ 34576 w 58483"/>
                  <a:gd name="connsiteY20" fmla="*/ 83915 h 83915"/>
                  <a:gd name="connsiteX21" fmla="*/ 24003 w 58483"/>
                  <a:gd name="connsiteY21" fmla="*/ 81534 h 83915"/>
                  <a:gd name="connsiteX22" fmla="*/ 38481 w 58483"/>
                  <a:gd name="connsiteY22" fmla="*/ 66770 h 83915"/>
                  <a:gd name="connsiteX23" fmla="*/ 42005 w 58483"/>
                  <a:gd name="connsiteY23" fmla="*/ 52388 h 83915"/>
                  <a:gd name="connsiteX24" fmla="*/ 38671 w 58483"/>
                  <a:gd name="connsiteY24" fmla="*/ 38576 h 83915"/>
                  <a:gd name="connsiteX25" fmla="*/ 29528 w 58483"/>
                  <a:gd name="connsiteY25" fmla="*/ 33814 h 83915"/>
                  <a:gd name="connsiteX26" fmla="*/ 19907 w 58483"/>
                  <a:gd name="connsiteY26" fmla="*/ 38195 h 83915"/>
                  <a:gd name="connsiteX27" fmla="*/ 16002 w 58483"/>
                  <a:gd name="connsiteY27" fmla="*/ 52769 h 83915"/>
                  <a:gd name="connsiteX28" fmla="*/ 17907 w 58483"/>
                  <a:gd name="connsiteY28" fmla="*/ 63722 h 83915"/>
                  <a:gd name="connsiteX29" fmla="*/ 22765 w 58483"/>
                  <a:gd name="connsiteY29" fmla="*/ 69628 h 83915"/>
                  <a:gd name="connsiteX30" fmla="*/ 29337 w 58483"/>
                  <a:gd name="connsiteY30" fmla="*/ 71342 h 83915"/>
                  <a:gd name="connsiteX31" fmla="*/ 38481 w 58483"/>
                  <a:gd name="connsiteY31" fmla="*/ 66580 h 83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58483" h="83915">
                    <a:moveTo>
                      <a:pt x="23813" y="81629"/>
                    </a:moveTo>
                    <a:cubicBezTo>
                      <a:pt x="20574" y="80105"/>
                      <a:pt x="18002" y="77629"/>
                      <a:pt x="16192" y="74295"/>
                    </a:cubicBezTo>
                    <a:lnTo>
                      <a:pt x="16097" y="74295"/>
                    </a:lnTo>
                    <a:cubicBezTo>
                      <a:pt x="16097" y="75724"/>
                      <a:pt x="16097" y="77343"/>
                      <a:pt x="15812" y="79248"/>
                    </a:cubicBezTo>
                    <a:cubicBezTo>
                      <a:pt x="15526" y="81153"/>
                      <a:pt x="15430" y="82391"/>
                      <a:pt x="15240" y="82868"/>
                    </a:cubicBezTo>
                    <a:lnTo>
                      <a:pt x="0" y="82868"/>
                    </a:lnTo>
                    <a:cubicBezTo>
                      <a:pt x="286" y="79343"/>
                      <a:pt x="476" y="74771"/>
                      <a:pt x="476" y="69056"/>
                    </a:cubicBezTo>
                    <a:lnTo>
                      <a:pt x="476" y="0"/>
                    </a:lnTo>
                    <a:lnTo>
                      <a:pt x="16192" y="0"/>
                    </a:lnTo>
                    <a:lnTo>
                      <a:pt x="16192" y="23241"/>
                    </a:lnTo>
                    <a:cubicBezTo>
                      <a:pt x="16192" y="24955"/>
                      <a:pt x="16192" y="26670"/>
                      <a:pt x="16192" y="28385"/>
                    </a:cubicBezTo>
                    <a:cubicBezTo>
                      <a:pt x="16192" y="30099"/>
                      <a:pt x="16097" y="31242"/>
                      <a:pt x="16097" y="31813"/>
                    </a:cubicBezTo>
                    <a:lnTo>
                      <a:pt x="16288" y="31813"/>
                    </a:lnTo>
                    <a:cubicBezTo>
                      <a:pt x="18193" y="28194"/>
                      <a:pt x="20860" y="25622"/>
                      <a:pt x="24194" y="23908"/>
                    </a:cubicBezTo>
                    <a:cubicBezTo>
                      <a:pt x="27527" y="22193"/>
                      <a:pt x="31242" y="21336"/>
                      <a:pt x="35528" y="21336"/>
                    </a:cubicBezTo>
                    <a:cubicBezTo>
                      <a:pt x="40386" y="21336"/>
                      <a:pt x="44577" y="22670"/>
                      <a:pt x="48006" y="25337"/>
                    </a:cubicBezTo>
                    <a:cubicBezTo>
                      <a:pt x="51435" y="28004"/>
                      <a:pt x="54007" y="31623"/>
                      <a:pt x="55816" y="36290"/>
                    </a:cubicBezTo>
                    <a:cubicBezTo>
                      <a:pt x="57626" y="40958"/>
                      <a:pt x="58483" y="46387"/>
                      <a:pt x="58483" y="52388"/>
                    </a:cubicBezTo>
                    <a:cubicBezTo>
                      <a:pt x="58483" y="58388"/>
                      <a:pt x="57531" y="64008"/>
                      <a:pt x="55721" y="68771"/>
                    </a:cubicBezTo>
                    <a:cubicBezTo>
                      <a:pt x="53912" y="73533"/>
                      <a:pt x="51149" y="77248"/>
                      <a:pt x="47530" y="79915"/>
                    </a:cubicBezTo>
                    <a:cubicBezTo>
                      <a:pt x="43910" y="82582"/>
                      <a:pt x="39624" y="83915"/>
                      <a:pt x="34576" y="83915"/>
                    </a:cubicBezTo>
                    <a:cubicBezTo>
                      <a:pt x="30766" y="83915"/>
                      <a:pt x="27241" y="83153"/>
                      <a:pt x="24003" y="81534"/>
                    </a:cubicBezTo>
                    <a:close/>
                    <a:moveTo>
                      <a:pt x="38481" y="66770"/>
                    </a:moveTo>
                    <a:cubicBezTo>
                      <a:pt x="40767" y="63627"/>
                      <a:pt x="42005" y="58865"/>
                      <a:pt x="42005" y="52388"/>
                    </a:cubicBezTo>
                    <a:cubicBezTo>
                      <a:pt x="42005" y="46292"/>
                      <a:pt x="40862" y="41720"/>
                      <a:pt x="38671" y="38576"/>
                    </a:cubicBezTo>
                    <a:cubicBezTo>
                      <a:pt x="36481" y="35433"/>
                      <a:pt x="33433" y="33814"/>
                      <a:pt x="29528" y="33814"/>
                    </a:cubicBezTo>
                    <a:cubicBezTo>
                      <a:pt x="25622" y="33814"/>
                      <a:pt x="22574" y="35243"/>
                      <a:pt x="19907" y="38195"/>
                    </a:cubicBezTo>
                    <a:cubicBezTo>
                      <a:pt x="17240" y="41148"/>
                      <a:pt x="16002" y="46006"/>
                      <a:pt x="16002" y="52769"/>
                    </a:cubicBezTo>
                    <a:cubicBezTo>
                      <a:pt x="16002" y="57341"/>
                      <a:pt x="16669" y="60960"/>
                      <a:pt x="17907" y="63722"/>
                    </a:cubicBezTo>
                    <a:cubicBezTo>
                      <a:pt x="19145" y="66485"/>
                      <a:pt x="20764" y="68485"/>
                      <a:pt x="22765" y="69628"/>
                    </a:cubicBezTo>
                    <a:cubicBezTo>
                      <a:pt x="24765" y="70771"/>
                      <a:pt x="26956" y="71342"/>
                      <a:pt x="29337" y="71342"/>
                    </a:cubicBezTo>
                    <a:cubicBezTo>
                      <a:pt x="33052" y="71342"/>
                      <a:pt x="36100" y="69723"/>
                      <a:pt x="38481" y="66580"/>
                    </a:cubicBezTo>
                    <a:close/>
                  </a:path>
                </a:pathLst>
              </a:custGeom>
              <a:solidFill>
                <a:srgbClr val="231F20"/>
              </a:solidFill>
              <a:ln w="9525" cap="flat">
                <a:noFill/>
                <a:prstDash val="solid"/>
                <a:miter/>
              </a:ln>
            </p:spPr>
            <p:txBody>
              <a:bodyPr rtlCol="0" anchor="ctr"/>
              <a:lstStyle/>
              <a:p>
                <a:pPr marL="0" marR="0" lvl="0" indent="0" algn="l" defTabSz="913578" rtl="0" eaLnBrk="1" fontAlgn="auto" latinLnBrk="0" hangingPunct="1">
                  <a:lnSpc>
                    <a:spcPct val="100000"/>
                  </a:lnSpc>
                  <a:spcBef>
                    <a:spcPts val="0"/>
                  </a:spcBef>
                  <a:spcAft>
                    <a:spcPts val="0"/>
                  </a:spcAft>
                  <a:buClrTx/>
                  <a:buSzTx/>
                  <a:buFontTx/>
                  <a:buNone/>
                  <a:tabLst/>
                  <a:defRPr/>
                </a:pPr>
                <a:endParaRPr kumimoji="0" lang="en-US" sz="17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375" name="Freeform: Shape 200">
                <a:extLst>
                  <a:ext uri="{FF2B5EF4-FFF2-40B4-BE49-F238E27FC236}">
                    <a16:creationId xmlns:a16="http://schemas.microsoft.com/office/drawing/2014/main" id="{7A985C41-41E5-B453-BA3E-F01B90CF784E}"/>
                  </a:ext>
                </a:extLst>
              </p:cNvPr>
              <p:cNvSpPr/>
              <p:nvPr/>
            </p:nvSpPr>
            <p:spPr>
              <a:xfrm>
                <a:off x="5819584" y="3344322"/>
                <a:ext cx="55244" cy="61531"/>
              </a:xfrm>
              <a:custGeom>
                <a:avLst/>
                <a:gdLst>
                  <a:gd name="connsiteX0" fmla="*/ 4763 w 55244"/>
                  <a:gd name="connsiteY0" fmla="*/ 55150 h 61531"/>
                  <a:gd name="connsiteX1" fmla="*/ 0 w 55244"/>
                  <a:gd name="connsiteY1" fmla="*/ 38291 h 61531"/>
                  <a:gd name="connsiteX2" fmla="*/ 0 w 55244"/>
                  <a:gd name="connsiteY2" fmla="*/ 0 h 61531"/>
                  <a:gd name="connsiteX3" fmla="*/ 15716 w 55244"/>
                  <a:gd name="connsiteY3" fmla="*/ 0 h 61531"/>
                  <a:gd name="connsiteX4" fmla="*/ 15716 w 55244"/>
                  <a:gd name="connsiteY4" fmla="*/ 33814 h 61531"/>
                  <a:gd name="connsiteX5" fmla="*/ 18002 w 55244"/>
                  <a:gd name="connsiteY5" fmla="*/ 44291 h 61531"/>
                  <a:gd name="connsiteX6" fmla="*/ 25908 w 55244"/>
                  <a:gd name="connsiteY6" fmla="*/ 48006 h 61531"/>
                  <a:gd name="connsiteX7" fmla="*/ 32671 w 55244"/>
                  <a:gd name="connsiteY7" fmla="*/ 46006 h 61531"/>
                  <a:gd name="connsiteX8" fmla="*/ 37433 w 55244"/>
                  <a:gd name="connsiteY8" fmla="*/ 40481 h 61531"/>
                  <a:gd name="connsiteX9" fmla="*/ 39148 w 55244"/>
                  <a:gd name="connsiteY9" fmla="*/ 32290 h 61531"/>
                  <a:gd name="connsiteX10" fmla="*/ 39148 w 55244"/>
                  <a:gd name="connsiteY10" fmla="*/ 0 h 61531"/>
                  <a:gd name="connsiteX11" fmla="*/ 54864 w 55244"/>
                  <a:gd name="connsiteY11" fmla="*/ 0 h 61531"/>
                  <a:gd name="connsiteX12" fmla="*/ 54864 w 55244"/>
                  <a:gd name="connsiteY12" fmla="*/ 46863 h 61531"/>
                  <a:gd name="connsiteX13" fmla="*/ 54959 w 55244"/>
                  <a:gd name="connsiteY13" fmla="*/ 54769 h 61531"/>
                  <a:gd name="connsiteX14" fmla="*/ 55245 w 55244"/>
                  <a:gd name="connsiteY14" fmla="*/ 60389 h 61531"/>
                  <a:gd name="connsiteX15" fmla="*/ 40291 w 55244"/>
                  <a:gd name="connsiteY15" fmla="*/ 60389 h 61531"/>
                  <a:gd name="connsiteX16" fmla="*/ 39910 w 55244"/>
                  <a:gd name="connsiteY16" fmla="*/ 55341 h 61531"/>
                  <a:gd name="connsiteX17" fmla="*/ 39624 w 55244"/>
                  <a:gd name="connsiteY17" fmla="*/ 49530 h 61531"/>
                  <a:gd name="connsiteX18" fmla="*/ 39338 w 55244"/>
                  <a:gd name="connsiteY18" fmla="*/ 49530 h 61531"/>
                  <a:gd name="connsiteX19" fmla="*/ 31432 w 55244"/>
                  <a:gd name="connsiteY19" fmla="*/ 58674 h 61531"/>
                  <a:gd name="connsiteX20" fmla="*/ 19907 w 55244"/>
                  <a:gd name="connsiteY20" fmla="*/ 61532 h 61531"/>
                  <a:gd name="connsiteX21" fmla="*/ 4858 w 55244"/>
                  <a:gd name="connsiteY21" fmla="*/ 55245 h 61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5244" h="61531">
                    <a:moveTo>
                      <a:pt x="4763" y="55150"/>
                    </a:moveTo>
                    <a:cubicBezTo>
                      <a:pt x="1619" y="50959"/>
                      <a:pt x="0" y="45339"/>
                      <a:pt x="0" y="38291"/>
                    </a:cubicBezTo>
                    <a:lnTo>
                      <a:pt x="0" y="0"/>
                    </a:lnTo>
                    <a:lnTo>
                      <a:pt x="15716" y="0"/>
                    </a:lnTo>
                    <a:lnTo>
                      <a:pt x="15716" y="33814"/>
                    </a:lnTo>
                    <a:cubicBezTo>
                      <a:pt x="15716" y="38291"/>
                      <a:pt x="16478" y="41815"/>
                      <a:pt x="18002" y="44291"/>
                    </a:cubicBezTo>
                    <a:cubicBezTo>
                      <a:pt x="19526" y="46768"/>
                      <a:pt x="22193" y="48006"/>
                      <a:pt x="25908" y="48006"/>
                    </a:cubicBezTo>
                    <a:cubicBezTo>
                      <a:pt x="28384" y="48006"/>
                      <a:pt x="30671" y="47339"/>
                      <a:pt x="32671" y="46006"/>
                    </a:cubicBezTo>
                    <a:cubicBezTo>
                      <a:pt x="34671" y="44672"/>
                      <a:pt x="36290" y="42863"/>
                      <a:pt x="37433" y="40481"/>
                    </a:cubicBezTo>
                    <a:cubicBezTo>
                      <a:pt x="38576" y="38100"/>
                      <a:pt x="39148" y="35338"/>
                      <a:pt x="39148" y="32290"/>
                    </a:cubicBezTo>
                    <a:lnTo>
                      <a:pt x="39148" y="0"/>
                    </a:lnTo>
                    <a:lnTo>
                      <a:pt x="54864" y="0"/>
                    </a:lnTo>
                    <a:lnTo>
                      <a:pt x="54864" y="46863"/>
                    </a:lnTo>
                    <a:cubicBezTo>
                      <a:pt x="54864" y="49435"/>
                      <a:pt x="54864" y="52007"/>
                      <a:pt x="54959" y="54769"/>
                    </a:cubicBezTo>
                    <a:cubicBezTo>
                      <a:pt x="55054" y="57531"/>
                      <a:pt x="55150" y="59341"/>
                      <a:pt x="55245" y="60389"/>
                    </a:cubicBezTo>
                    <a:lnTo>
                      <a:pt x="40291" y="60389"/>
                    </a:lnTo>
                    <a:cubicBezTo>
                      <a:pt x="40196" y="59531"/>
                      <a:pt x="40005" y="57817"/>
                      <a:pt x="39910" y="55341"/>
                    </a:cubicBezTo>
                    <a:cubicBezTo>
                      <a:pt x="39814" y="52864"/>
                      <a:pt x="39624" y="50959"/>
                      <a:pt x="39624" y="49530"/>
                    </a:cubicBezTo>
                    <a:lnTo>
                      <a:pt x="39338" y="49530"/>
                    </a:lnTo>
                    <a:cubicBezTo>
                      <a:pt x="37338" y="53626"/>
                      <a:pt x="34671" y="56674"/>
                      <a:pt x="31432" y="58674"/>
                    </a:cubicBezTo>
                    <a:cubicBezTo>
                      <a:pt x="28194" y="60674"/>
                      <a:pt x="24384" y="61532"/>
                      <a:pt x="19907" y="61532"/>
                    </a:cubicBezTo>
                    <a:cubicBezTo>
                      <a:pt x="13049" y="61532"/>
                      <a:pt x="8001" y="59436"/>
                      <a:pt x="4858" y="55245"/>
                    </a:cubicBezTo>
                    <a:close/>
                  </a:path>
                </a:pathLst>
              </a:custGeom>
              <a:solidFill>
                <a:srgbClr val="231F20"/>
              </a:solidFill>
              <a:ln w="9525" cap="flat">
                <a:noFill/>
                <a:prstDash val="solid"/>
                <a:miter/>
              </a:ln>
            </p:spPr>
            <p:txBody>
              <a:bodyPr rtlCol="0" anchor="ctr"/>
              <a:lstStyle/>
              <a:p>
                <a:pPr marL="0" marR="0" lvl="0" indent="0" algn="l" defTabSz="913578" rtl="0" eaLnBrk="1" fontAlgn="auto" latinLnBrk="0" hangingPunct="1">
                  <a:lnSpc>
                    <a:spcPct val="100000"/>
                  </a:lnSpc>
                  <a:spcBef>
                    <a:spcPts val="0"/>
                  </a:spcBef>
                  <a:spcAft>
                    <a:spcPts val="0"/>
                  </a:spcAft>
                  <a:buClrTx/>
                  <a:buSzTx/>
                  <a:buFontTx/>
                  <a:buNone/>
                  <a:tabLst/>
                  <a:defRPr/>
                </a:pPr>
                <a:endParaRPr kumimoji="0" lang="en-US" sz="17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376" name="Freeform: Shape 201">
                <a:extLst>
                  <a:ext uri="{FF2B5EF4-FFF2-40B4-BE49-F238E27FC236}">
                    <a16:creationId xmlns:a16="http://schemas.microsoft.com/office/drawing/2014/main" id="{79E06EC2-9F2A-B7A2-F61D-DF26E396D96D}"/>
                  </a:ext>
                </a:extLst>
              </p:cNvPr>
              <p:cNvSpPr/>
              <p:nvPr/>
            </p:nvSpPr>
            <p:spPr>
              <a:xfrm>
                <a:off x="5885021" y="3343084"/>
                <a:ext cx="50768" cy="62769"/>
              </a:xfrm>
              <a:custGeom>
                <a:avLst/>
                <a:gdLst>
                  <a:gd name="connsiteX0" fmla="*/ 11716 w 50768"/>
                  <a:gd name="connsiteY0" fmla="*/ 60579 h 62769"/>
                  <a:gd name="connsiteX1" fmla="*/ 0 w 50768"/>
                  <a:gd name="connsiteY1" fmla="*/ 54007 h 62769"/>
                  <a:gd name="connsiteX2" fmla="*/ 7048 w 50768"/>
                  <a:gd name="connsiteY2" fmla="*/ 43243 h 62769"/>
                  <a:gd name="connsiteX3" fmla="*/ 16383 w 50768"/>
                  <a:gd name="connsiteY3" fmla="*/ 49054 h 62769"/>
                  <a:gd name="connsiteX4" fmla="*/ 25622 w 50768"/>
                  <a:gd name="connsiteY4" fmla="*/ 50959 h 62769"/>
                  <a:gd name="connsiteX5" fmla="*/ 33338 w 50768"/>
                  <a:gd name="connsiteY5" fmla="*/ 49721 h 62769"/>
                  <a:gd name="connsiteX6" fmla="*/ 36100 w 50768"/>
                  <a:gd name="connsiteY6" fmla="*/ 45244 h 62769"/>
                  <a:gd name="connsiteX7" fmla="*/ 34671 w 50768"/>
                  <a:gd name="connsiteY7" fmla="*/ 41529 h 62769"/>
                  <a:gd name="connsiteX8" fmla="*/ 30956 w 50768"/>
                  <a:gd name="connsiteY8" fmla="*/ 39338 h 62769"/>
                  <a:gd name="connsiteX9" fmla="*/ 24574 w 50768"/>
                  <a:gd name="connsiteY9" fmla="*/ 37624 h 62769"/>
                  <a:gd name="connsiteX10" fmla="*/ 21622 w 50768"/>
                  <a:gd name="connsiteY10" fmla="*/ 36862 h 62769"/>
                  <a:gd name="connsiteX11" fmla="*/ 11525 w 50768"/>
                  <a:gd name="connsiteY11" fmla="*/ 33338 h 62769"/>
                  <a:gd name="connsiteX12" fmla="*/ 4953 w 50768"/>
                  <a:gd name="connsiteY12" fmla="*/ 27813 h 62769"/>
                  <a:gd name="connsiteX13" fmla="*/ 2381 w 50768"/>
                  <a:gd name="connsiteY13" fmla="*/ 18288 h 62769"/>
                  <a:gd name="connsiteX14" fmla="*/ 5144 w 50768"/>
                  <a:gd name="connsiteY14" fmla="*/ 8477 h 62769"/>
                  <a:gd name="connsiteX15" fmla="*/ 13145 w 50768"/>
                  <a:gd name="connsiteY15" fmla="*/ 2191 h 62769"/>
                  <a:gd name="connsiteX16" fmla="*/ 25908 w 50768"/>
                  <a:gd name="connsiteY16" fmla="*/ 0 h 62769"/>
                  <a:gd name="connsiteX17" fmla="*/ 38957 w 50768"/>
                  <a:gd name="connsiteY17" fmla="*/ 2191 h 62769"/>
                  <a:gd name="connsiteX18" fmla="*/ 49054 w 50768"/>
                  <a:gd name="connsiteY18" fmla="*/ 8763 h 62769"/>
                  <a:gd name="connsiteX19" fmla="*/ 41053 w 50768"/>
                  <a:gd name="connsiteY19" fmla="*/ 18002 h 62769"/>
                  <a:gd name="connsiteX20" fmla="*/ 26098 w 50768"/>
                  <a:gd name="connsiteY20" fmla="*/ 11716 h 62769"/>
                  <a:gd name="connsiteX21" fmla="*/ 16859 w 50768"/>
                  <a:gd name="connsiteY21" fmla="*/ 17050 h 62769"/>
                  <a:gd name="connsiteX22" fmla="*/ 18097 w 50768"/>
                  <a:gd name="connsiteY22" fmla="*/ 20288 h 62769"/>
                  <a:gd name="connsiteX23" fmla="*/ 21241 w 50768"/>
                  <a:gd name="connsiteY23" fmla="*/ 22193 h 62769"/>
                  <a:gd name="connsiteX24" fmla="*/ 26861 w 50768"/>
                  <a:gd name="connsiteY24" fmla="*/ 23717 h 62769"/>
                  <a:gd name="connsiteX25" fmla="*/ 29718 w 50768"/>
                  <a:gd name="connsiteY25" fmla="*/ 24384 h 62769"/>
                  <a:gd name="connsiteX26" fmla="*/ 40767 w 50768"/>
                  <a:gd name="connsiteY26" fmla="*/ 28004 h 62769"/>
                  <a:gd name="connsiteX27" fmla="*/ 47911 w 50768"/>
                  <a:gd name="connsiteY27" fmla="*/ 33814 h 62769"/>
                  <a:gd name="connsiteX28" fmla="*/ 50768 w 50768"/>
                  <a:gd name="connsiteY28" fmla="*/ 44005 h 62769"/>
                  <a:gd name="connsiteX29" fmla="*/ 47815 w 50768"/>
                  <a:gd name="connsiteY29" fmla="*/ 54007 h 62769"/>
                  <a:gd name="connsiteX30" fmla="*/ 39243 w 50768"/>
                  <a:gd name="connsiteY30" fmla="*/ 60484 h 62769"/>
                  <a:gd name="connsiteX31" fmla="*/ 25813 w 50768"/>
                  <a:gd name="connsiteY31" fmla="*/ 62770 h 62769"/>
                  <a:gd name="connsiteX32" fmla="*/ 11906 w 50768"/>
                  <a:gd name="connsiteY32" fmla="*/ 60674 h 62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50768" h="62769">
                    <a:moveTo>
                      <a:pt x="11716" y="60579"/>
                    </a:moveTo>
                    <a:cubicBezTo>
                      <a:pt x="7620" y="59246"/>
                      <a:pt x="3715" y="56959"/>
                      <a:pt x="0" y="54007"/>
                    </a:cubicBezTo>
                    <a:lnTo>
                      <a:pt x="7048" y="43243"/>
                    </a:lnTo>
                    <a:cubicBezTo>
                      <a:pt x="10382" y="45815"/>
                      <a:pt x="13525" y="47720"/>
                      <a:pt x="16383" y="49054"/>
                    </a:cubicBezTo>
                    <a:cubicBezTo>
                      <a:pt x="19240" y="50387"/>
                      <a:pt x="22288" y="50959"/>
                      <a:pt x="25622" y="50959"/>
                    </a:cubicBezTo>
                    <a:cubicBezTo>
                      <a:pt x="28956" y="50959"/>
                      <a:pt x="31528" y="50578"/>
                      <a:pt x="33338" y="49721"/>
                    </a:cubicBezTo>
                    <a:cubicBezTo>
                      <a:pt x="35147" y="48863"/>
                      <a:pt x="36100" y="47339"/>
                      <a:pt x="36100" y="45244"/>
                    </a:cubicBezTo>
                    <a:cubicBezTo>
                      <a:pt x="36100" y="43720"/>
                      <a:pt x="35623" y="42481"/>
                      <a:pt x="34671" y="41529"/>
                    </a:cubicBezTo>
                    <a:cubicBezTo>
                      <a:pt x="33719" y="40576"/>
                      <a:pt x="32480" y="39910"/>
                      <a:pt x="30956" y="39338"/>
                    </a:cubicBezTo>
                    <a:cubicBezTo>
                      <a:pt x="29432" y="38767"/>
                      <a:pt x="27337" y="38290"/>
                      <a:pt x="24574" y="37624"/>
                    </a:cubicBezTo>
                    <a:lnTo>
                      <a:pt x="21622" y="36862"/>
                    </a:lnTo>
                    <a:cubicBezTo>
                      <a:pt x="17526" y="35814"/>
                      <a:pt x="14192" y="34671"/>
                      <a:pt x="11525" y="33338"/>
                    </a:cubicBezTo>
                    <a:cubicBezTo>
                      <a:pt x="8858" y="32004"/>
                      <a:pt x="6667" y="30194"/>
                      <a:pt x="4953" y="27813"/>
                    </a:cubicBezTo>
                    <a:cubicBezTo>
                      <a:pt x="3238" y="25432"/>
                      <a:pt x="2381" y="22193"/>
                      <a:pt x="2381" y="18288"/>
                    </a:cubicBezTo>
                    <a:cubicBezTo>
                      <a:pt x="2381" y="14383"/>
                      <a:pt x="3334" y="11239"/>
                      <a:pt x="5144" y="8477"/>
                    </a:cubicBezTo>
                    <a:cubicBezTo>
                      <a:pt x="6953" y="5715"/>
                      <a:pt x="9620" y="3619"/>
                      <a:pt x="13145" y="2191"/>
                    </a:cubicBezTo>
                    <a:cubicBezTo>
                      <a:pt x="16669" y="762"/>
                      <a:pt x="20955" y="0"/>
                      <a:pt x="25908" y="0"/>
                    </a:cubicBezTo>
                    <a:cubicBezTo>
                      <a:pt x="30861" y="0"/>
                      <a:pt x="35052" y="762"/>
                      <a:pt x="38957" y="2191"/>
                    </a:cubicBezTo>
                    <a:cubicBezTo>
                      <a:pt x="42863" y="3619"/>
                      <a:pt x="46196" y="5810"/>
                      <a:pt x="49054" y="8763"/>
                    </a:cubicBezTo>
                    <a:lnTo>
                      <a:pt x="41053" y="18002"/>
                    </a:lnTo>
                    <a:cubicBezTo>
                      <a:pt x="36766" y="13811"/>
                      <a:pt x="31813" y="11716"/>
                      <a:pt x="26098" y="11716"/>
                    </a:cubicBezTo>
                    <a:cubicBezTo>
                      <a:pt x="19907" y="11716"/>
                      <a:pt x="16859" y="13525"/>
                      <a:pt x="16859" y="17050"/>
                    </a:cubicBezTo>
                    <a:cubicBezTo>
                      <a:pt x="16859" y="18383"/>
                      <a:pt x="17240" y="19526"/>
                      <a:pt x="18097" y="20288"/>
                    </a:cubicBezTo>
                    <a:cubicBezTo>
                      <a:pt x="18955" y="21050"/>
                      <a:pt x="19907" y="21717"/>
                      <a:pt x="21241" y="22193"/>
                    </a:cubicBezTo>
                    <a:cubicBezTo>
                      <a:pt x="22574" y="22669"/>
                      <a:pt x="24384" y="23146"/>
                      <a:pt x="26861" y="23717"/>
                    </a:cubicBezTo>
                    <a:lnTo>
                      <a:pt x="29718" y="24384"/>
                    </a:lnTo>
                    <a:cubicBezTo>
                      <a:pt x="34195" y="25527"/>
                      <a:pt x="37814" y="26670"/>
                      <a:pt x="40767" y="28004"/>
                    </a:cubicBezTo>
                    <a:cubicBezTo>
                      <a:pt x="43720" y="29337"/>
                      <a:pt x="46006" y="31242"/>
                      <a:pt x="47911" y="33814"/>
                    </a:cubicBezTo>
                    <a:cubicBezTo>
                      <a:pt x="49816" y="36385"/>
                      <a:pt x="50768" y="39814"/>
                      <a:pt x="50768" y="44005"/>
                    </a:cubicBezTo>
                    <a:cubicBezTo>
                      <a:pt x="50768" y="47815"/>
                      <a:pt x="49816" y="51149"/>
                      <a:pt x="47815" y="54007"/>
                    </a:cubicBezTo>
                    <a:cubicBezTo>
                      <a:pt x="45815" y="56864"/>
                      <a:pt x="43053" y="58960"/>
                      <a:pt x="39243" y="60484"/>
                    </a:cubicBezTo>
                    <a:cubicBezTo>
                      <a:pt x="35433" y="62008"/>
                      <a:pt x="31051" y="62770"/>
                      <a:pt x="25813" y="62770"/>
                    </a:cubicBezTo>
                    <a:cubicBezTo>
                      <a:pt x="20574" y="62770"/>
                      <a:pt x="16002" y="62103"/>
                      <a:pt x="11906" y="60674"/>
                    </a:cubicBezTo>
                    <a:close/>
                  </a:path>
                </a:pathLst>
              </a:custGeom>
              <a:solidFill>
                <a:srgbClr val="231F20"/>
              </a:solidFill>
              <a:ln w="9525" cap="flat">
                <a:noFill/>
                <a:prstDash val="solid"/>
                <a:miter/>
              </a:ln>
            </p:spPr>
            <p:txBody>
              <a:bodyPr rtlCol="0" anchor="ctr"/>
              <a:lstStyle/>
              <a:p>
                <a:pPr marL="0" marR="0" lvl="0" indent="0" algn="l" defTabSz="913578" rtl="0" eaLnBrk="1" fontAlgn="auto" latinLnBrk="0" hangingPunct="1">
                  <a:lnSpc>
                    <a:spcPct val="100000"/>
                  </a:lnSpc>
                  <a:spcBef>
                    <a:spcPts val="0"/>
                  </a:spcBef>
                  <a:spcAft>
                    <a:spcPts val="0"/>
                  </a:spcAft>
                  <a:buClrTx/>
                  <a:buSzTx/>
                  <a:buFontTx/>
                  <a:buNone/>
                  <a:tabLst/>
                  <a:defRPr/>
                </a:pPr>
                <a:endParaRPr kumimoji="0" lang="en-US" sz="17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377" name="Freeform: Shape 202">
                <a:extLst>
                  <a:ext uri="{FF2B5EF4-FFF2-40B4-BE49-F238E27FC236}">
                    <a16:creationId xmlns:a16="http://schemas.microsoft.com/office/drawing/2014/main" id="{173D6C10-4E55-F859-39C9-14CE8FD57763}"/>
                  </a:ext>
                </a:extLst>
              </p:cNvPr>
              <p:cNvSpPr/>
              <p:nvPr/>
            </p:nvSpPr>
            <p:spPr>
              <a:xfrm>
                <a:off x="5946171" y="3318605"/>
                <a:ext cx="17525" cy="85915"/>
              </a:xfrm>
              <a:custGeom>
                <a:avLst/>
                <a:gdLst>
                  <a:gd name="connsiteX0" fmla="*/ 2381 w 17525"/>
                  <a:gd name="connsiteY0" fmla="*/ 15240 h 85915"/>
                  <a:gd name="connsiteX1" fmla="*/ 0 w 17525"/>
                  <a:gd name="connsiteY1" fmla="*/ 8858 h 85915"/>
                  <a:gd name="connsiteX2" fmla="*/ 2381 w 17525"/>
                  <a:gd name="connsiteY2" fmla="*/ 2381 h 85915"/>
                  <a:gd name="connsiteX3" fmla="*/ 8858 w 17525"/>
                  <a:gd name="connsiteY3" fmla="*/ 0 h 85915"/>
                  <a:gd name="connsiteX4" fmla="*/ 15145 w 17525"/>
                  <a:gd name="connsiteY4" fmla="*/ 2381 h 85915"/>
                  <a:gd name="connsiteX5" fmla="*/ 17526 w 17525"/>
                  <a:gd name="connsiteY5" fmla="*/ 8858 h 85915"/>
                  <a:gd name="connsiteX6" fmla="*/ 15145 w 17525"/>
                  <a:gd name="connsiteY6" fmla="*/ 15240 h 85915"/>
                  <a:gd name="connsiteX7" fmla="*/ 8858 w 17525"/>
                  <a:gd name="connsiteY7" fmla="*/ 17621 h 85915"/>
                  <a:gd name="connsiteX8" fmla="*/ 2381 w 17525"/>
                  <a:gd name="connsiteY8" fmla="*/ 15240 h 85915"/>
                  <a:gd name="connsiteX9" fmla="*/ 953 w 17525"/>
                  <a:gd name="connsiteY9" fmla="*/ 25622 h 85915"/>
                  <a:gd name="connsiteX10" fmla="*/ 16669 w 17525"/>
                  <a:gd name="connsiteY10" fmla="*/ 25622 h 85915"/>
                  <a:gd name="connsiteX11" fmla="*/ 16669 w 17525"/>
                  <a:gd name="connsiteY11" fmla="*/ 85915 h 85915"/>
                  <a:gd name="connsiteX12" fmla="*/ 953 w 17525"/>
                  <a:gd name="connsiteY12" fmla="*/ 85915 h 85915"/>
                  <a:gd name="connsiteX13" fmla="*/ 953 w 17525"/>
                  <a:gd name="connsiteY13" fmla="*/ 25622 h 85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7525" h="85915">
                    <a:moveTo>
                      <a:pt x="2381" y="15240"/>
                    </a:moveTo>
                    <a:cubicBezTo>
                      <a:pt x="857" y="13621"/>
                      <a:pt x="0" y="11525"/>
                      <a:pt x="0" y="8858"/>
                    </a:cubicBezTo>
                    <a:cubicBezTo>
                      <a:pt x="0" y="6191"/>
                      <a:pt x="762" y="4000"/>
                      <a:pt x="2381" y="2381"/>
                    </a:cubicBezTo>
                    <a:cubicBezTo>
                      <a:pt x="4001" y="762"/>
                      <a:pt x="6096" y="0"/>
                      <a:pt x="8858" y="0"/>
                    </a:cubicBezTo>
                    <a:cubicBezTo>
                      <a:pt x="11621" y="0"/>
                      <a:pt x="13621" y="762"/>
                      <a:pt x="15145" y="2381"/>
                    </a:cubicBezTo>
                    <a:cubicBezTo>
                      <a:pt x="16669" y="4000"/>
                      <a:pt x="17526" y="6096"/>
                      <a:pt x="17526" y="8858"/>
                    </a:cubicBezTo>
                    <a:cubicBezTo>
                      <a:pt x="17526" y="11621"/>
                      <a:pt x="16764" y="13621"/>
                      <a:pt x="15145" y="15240"/>
                    </a:cubicBezTo>
                    <a:cubicBezTo>
                      <a:pt x="13526" y="16859"/>
                      <a:pt x="11430" y="17621"/>
                      <a:pt x="8858" y="17621"/>
                    </a:cubicBezTo>
                    <a:cubicBezTo>
                      <a:pt x="6096" y="17621"/>
                      <a:pt x="3905" y="16859"/>
                      <a:pt x="2381" y="15240"/>
                    </a:cubicBezTo>
                    <a:close/>
                    <a:moveTo>
                      <a:pt x="953" y="25622"/>
                    </a:moveTo>
                    <a:lnTo>
                      <a:pt x="16669" y="25622"/>
                    </a:lnTo>
                    <a:lnTo>
                      <a:pt x="16669" y="85915"/>
                    </a:lnTo>
                    <a:lnTo>
                      <a:pt x="953" y="85915"/>
                    </a:lnTo>
                    <a:lnTo>
                      <a:pt x="953" y="25622"/>
                    </a:lnTo>
                    <a:close/>
                  </a:path>
                </a:pathLst>
              </a:custGeom>
              <a:solidFill>
                <a:srgbClr val="231F20"/>
              </a:solidFill>
              <a:ln w="9525" cap="flat">
                <a:noFill/>
                <a:prstDash val="solid"/>
                <a:miter/>
              </a:ln>
            </p:spPr>
            <p:txBody>
              <a:bodyPr rtlCol="0" anchor="ctr"/>
              <a:lstStyle/>
              <a:p>
                <a:pPr marL="0" marR="0" lvl="0" indent="0" algn="l" defTabSz="913578" rtl="0" eaLnBrk="1" fontAlgn="auto" latinLnBrk="0" hangingPunct="1">
                  <a:lnSpc>
                    <a:spcPct val="100000"/>
                  </a:lnSpc>
                  <a:spcBef>
                    <a:spcPts val="0"/>
                  </a:spcBef>
                  <a:spcAft>
                    <a:spcPts val="0"/>
                  </a:spcAft>
                  <a:buClrTx/>
                  <a:buSzTx/>
                  <a:buFontTx/>
                  <a:buNone/>
                  <a:tabLst/>
                  <a:defRPr/>
                </a:pPr>
                <a:endParaRPr kumimoji="0" lang="en-US" sz="17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378" name="Freeform: Shape 203">
                <a:extLst>
                  <a:ext uri="{FF2B5EF4-FFF2-40B4-BE49-F238E27FC236}">
                    <a16:creationId xmlns:a16="http://schemas.microsoft.com/office/drawing/2014/main" id="{786A1326-6A24-1ECC-9723-B93002C1A408}"/>
                  </a:ext>
                </a:extLst>
              </p:cNvPr>
              <p:cNvSpPr/>
              <p:nvPr/>
            </p:nvSpPr>
            <p:spPr>
              <a:xfrm>
                <a:off x="5978556" y="3343084"/>
                <a:ext cx="55149" cy="61721"/>
              </a:xfrm>
              <a:custGeom>
                <a:avLst/>
                <a:gdLst>
                  <a:gd name="connsiteX0" fmla="*/ 381 w 55149"/>
                  <a:gd name="connsiteY0" fmla="*/ 14668 h 61721"/>
                  <a:gd name="connsiteX1" fmla="*/ 286 w 55149"/>
                  <a:gd name="connsiteY1" fmla="*/ 6763 h 61721"/>
                  <a:gd name="connsiteX2" fmla="*/ 0 w 55149"/>
                  <a:gd name="connsiteY2" fmla="*/ 1238 h 61721"/>
                  <a:gd name="connsiteX3" fmla="*/ 14954 w 55149"/>
                  <a:gd name="connsiteY3" fmla="*/ 1238 h 61721"/>
                  <a:gd name="connsiteX4" fmla="*/ 15430 w 55149"/>
                  <a:gd name="connsiteY4" fmla="*/ 6191 h 61721"/>
                  <a:gd name="connsiteX5" fmla="*/ 15716 w 55149"/>
                  <a:gd name="connsiteY5" fmla="*/ 12097 h 61721"/>
                  <a:gd name="connsiteX6" fmla="*/ 15907 w 55149"/>
                  <a:gd name="connsiteY6" fmla="*/ 12097 h 61721"/>
                  <a:gd name="connsiteX7" fmla="*/ 23908 w 55149"/>
                  <a:gd name="connsiteY7" fmla="*/ 2953 h 61721"/>
                  <a:gd name="connsiteX8" fmla="*/ 35338 w 55149"/>
                  <a:gd name="connsiteY8" fmla="*/ 0 h 61721"/>
                  <a:gd name="connsiteX9" fmla="*/ 50387 w 55149"/>
                  <a:gd name="connsiteY9" fmla="*/ 6382 h 61721"/>
                  <a:gd name="connsiteX10" fmla="*/ 55150 w 55149"/>
                  <a:gd name="connsiteY10" fmla="*/ 23336 h 61721"/>
                  <a:gd name="connsiteX11" fmla="*/ 55150 w 55149"/>
                  <a:gd name="connsiteY11" fmla="*/ 61627 h 61721"/>
                  <a:gd name="connsiteX12" fmla="*/ 39529 w 55149"/>
                  <a:gd name="connsiteY12" fmla="*/ 61627 h 61721"/>
                  <a:gd name="connsiteX13" fmla="*/ 39529 w 55149"/>
                  <a:gd name="connsiteY13" fmla="*/ 27813 h 61721"/>
                  <a:gd name="connsiteX14" fmla="*/ 37242 w 55149"/>
                  <a:gd name="connsiteY14" fmla="*/ 17240 h 61721"/>
                  <a:gd name="connsiteX15" fmla="*/ 29337 w 55149"/>
                  <a:gd name="connsiteY15" fmla="*/ 13525 h 61721"/>
                  <a:gd name="connsiteX16" fmla="*/ 22574 w 55149"/>
                  <a:gd name="connsiteY16" fmla="*/ 15526 h 61721"/>
                  <a:gd name="connsiteX17" fmla="*/ 17812 w 55149"/>
                  <a:gd name="connsiteY17" fmla="*/ 21146 h 61721"/>
                  <a:gd name="connsiteX18" fmla="*/ 16097 w 55149"/>
                  <a:gd name="connsiteY18" fmla="*/ 29337 h 61721"/>
                  <a:gd name="connsiteX19" fmla="*/ 16097 w 55149"/>
                  <a:gd name="connsiteY19" fmla="*/ 61722 h 61721"/>
                  <a:gd name="connsiteX20" fmla="*/ 381 w 55149"/>
                  <a:gd name="connsiteY20" fmla="*/ 61722 h 61721"/>
                  <a:gd name="connsiteX21" fmla="*/ 381 w 55149"/>
                  <a:gd name="connsiteY21" fmla="*/ 14859 h 617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5149" h="61721">
                    <a:moveTo>
                      <a:pt x="381" y="14668"/>
                    </a:moveTo>
                    <a:cubicBezTo>
                      <a:pt x="381" y="12097"/>
                      <a:pt x="381" y="9430"/>
                      <a:pt x="286" y="6763"/>
                    </a:cubicBezTo>
                    <a:cubicBezTo>
                      <a:pt x="190" y="4096"/>
                      <a:pt x="95" y="2191"/>
                      <a:pt x="0" y="1238"/>
                    </a:cubicBezTo>
                    <a:lnTo>
                      <a:pt x="14954" y="1238"/>
                    </a:lnTo>
                    <a:cubicBezTo>
                      <a:pt x="15145" y="2096"/>
                      <a:pt x="15240" y="3715"/>
                      <a:pt x="15430" y="6191"/>
                    </a:cubicBezTo>
                    <a:cubicBezTo>
                      <a:pt x="15621" y="8668"/>
                      <a:pt x="15716" y="10668"/>
                      <a:pt x="15716" y="12097"/>
                    </a:cubicBezTo>
                    <a:lnTo>
                      <a:pt x="15907" y="12097"/>
                    </a:lnTo>
                    <a:cubicBezTo>
                      <a:pt x="18002" y="8001"/>
                      <a:pt x="20669" y="4953"/>
                      <a:pt x="23908" y="2953"/>
                    </a:cubicBezTo>
                    <a:cubicBezTo>
                      <a:pt x="27146" y="952"/>
                      <a:pt x="30956" y="0"/>
                      <a:pt x="35338" y="0"/>
                    </a:cubicBezTo>
                    <a:cubicBezTo>
                      <a:pt x="42196" y="0"/>
                      <a:pt x="47244" y="2096"/>
                      <a:pt x="50387" y="6382"/>
                    </a:cubicBezTo>
                    <a:cubicBezTo>
                      <a:pt x="53530" y="10668"/>
                      <a:pt x="55150" y="16288"/>
                      <a:pt x="55150" y="23336"/>
                    </a:cubicBezTo>
                    <a:lnTo>
                      <a:pt x="55150" y="61627"/>
                    </a:lnTo>
                    <a:lnTo>
                      <a:pt x="39529" y="61627"/>
                    </a:lnTo>
                    <a:lnTo>
                      <a:pt x="39529" y="27813"/>
                    </a:lnTo>
                    <a:cubicBezTo>
                      <a:pt x="39529" y="23241"/>
                      <a:pt x="38767" y="19717"/>
                      <a:pt x="37242" y="17240"/>
                    </a:cubicBezTo>
                    <a:cubicBezTo>
                      <a:pt x="35719" y="14764"/>
                      <a:pt x="33052" y="13525"/>
                      <a:pt x="29337" y="13525"/>
                    </a:cubicBezTo>
                    <a:cubicBezTo>
                      <a:pt x="26765" y="13525"/>
                      <a:pt x="24574" y="14192"/>
                      <a:pt x="22574" y="15526"/>
                    </a:cubicBezTo>
                    <a:cubicBezTo>
                      <a:pt x="20574" y="16859"/>
                      <a:pt x="18955" y="18669"/>
                      <a:pt x="17812" y="21146"/>
                    </a:cubicBezTo>
                    <a:cubicBezTo>
                      <a:pt x="16669" y="23622"/>
                      <a:pt x="16097" y="26289"/>
                      <a:pt x="16097" y="29337"/>
                    </a:cubicBezTo>
                    <a:lnTo>
                      <a:pt x="16097" y="61722"/>
                    </a:lnTo>
                    <a:lnTo>
                      <a:pt x="381" y="61722"/>
                    </a:lnTo>
                    <a:lnTo>
                      <a:pt x="381" y="14859"/>
                    </a:lnTo>
                    <a:close/>
                  </a:path>
                </a:pathLst>
              </a:custGeom>
              <a:solidFill>
                <a:srgbClr val="231F20"/>
              </a:solidFill>
              <a:ln w="9525" cap="flat">
                <a:noFill/>
                <a:prstDash val="solid"/>
                <a:miter/>
              </a:ln>
            </p:spPr>
            <p:txBody>
              <a:bodyPr rtlCol="0" anchor="ctr"/>
              <a:lstStyle/>
              <a:p>
                <a:pPr marL="0" marR="0" lvl="0" indent="0" algn="l" defTabSz="913578" rtl="0" eaLnBrk="1" fontAlgn="auto" latinLnBrk="0" hangingPunct="1">
                  <a:lnSpc>
                    <a:spcPct val="100000"/>
                  </a:lnSpc>
                  <a:spcBef>
                    <a:spcPts val="0"/>
                  </a:spcBef>
                  <a:spcAft>
                    <a:spcPts val="0"/>
                  </a:spcAft>
                  <a:buClrTx/>
                  <a:buSzTx/>
                  <a:buFontTx/>
                  <a:buNone/>
                  <a:tabLst/>
                  <a:defRPr/>
                </a:pPr>
                <a:endParaRPr kumimoji="0" lang="en-US" sz="17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379" name="Freeform: Shape 204">
                <a:extLst>
                  <a:ext uri="{FF2B5EF4-FFF2-40B4-BE49-F238E27FC236}">
                    <a16:creationId xmlns:a16="http://schemas.microsoft.com/office/drawing/2014/main" id="{28044817-4790-E021-E430-7F352DF020AF}"/>
                  </a:ext>
                </a:extLst>
              </p:cNvPr>
              <p:cNvSpPr/>
              <p:nvPr/>
            </p:nvSpPr>
            <p:spPr>
              <a:xfrm>
                <a:off x="6045231" y="3343084"/>
                <a:ext cx="55244" cy="62769"/>
              </a:xfrm>
              <a:custGeom>
                <a:avLst/>
                <a:gdLst>
                  <a:gd name="connsiteX0" fmla="*/ 7715 w 55244"/>
                  <a:gd name="connsiteY0" fmla="*/ 54769 h 62769"/>
                  <a:gd name="connsiteX1" fmla="*/ 0 w 55244"/>
                  <a:gd name="connsiteY1" fmla="*/ 31242 h 62769"/>
                  <a:gd name="connsiteX2" fmla="*/ 3810 w 55244"/>
                  <a:gd name="connsiteY2" fmla="*/ 13716 h 62769"/>
                  <a:gd name="connsiteX3" fmla="*/ 14097 w 55244"/>
                  <a:gd name="connsiteY3" fmla="*/ 3334 h 62769"/>
                  <a:gd name="connsiteX4" fmla="*/ 28480 w 55244"/>
                  <a:gd name="connsiteY4" fmla="*/ 0 h 62769"/>
                  <a:gd name="connsiteX5" fmla="*/ 43720 w 55244"/>
                  <a:gd name="connsiteY5" fmla="*/ 4000 h 62769"/>
                  <a:gd name="connsiteX6" fmla="*/ 52483 w 55244"/>
                  <a:gd name="connsiteY6" fmla="*/ 14478 h 62769"/>
                  <a:gd name="connsiteX7" fmla="*/ 55245 w 55244"/>
                  <a:gd name="connsiteY7" fmla="*/ 29146 h 62769"/>
                  <a:gd name="connsiteX8" fmla="*/ 54864 w 55244"/>
                  <a:gd name="connsiteY8" fmla="*/ 35433 h 62769"/>
                  <a:gd name="connsiteX9" fmla="*/ 16478 w 55244"/>
                  <a:gd name="connsiteY9" fmla="*/ 35433 h 62769"/>
                  <a:gd name="connsiteX10" fmla="*/ 19812 w 55244"/>
                  <a:gd name="connsiteY10" fmla="*/ 46577 h 62769"/>
                  <a:gd name="connsiteX11" fmla="*/ 30194 w 55244"/>
                  <a:gd name="connsiteY11" fmla="*/ 50673 h 62769"/>
                  <a:gd name="connsiteX12" fmla="*/ 35909 w 55244"/>
                  <a:gd name="connsiteY12" fmla="*/ 50006 h 62769"/>
                  <a:gd name="connsiteX13" fmla="*/ 40957 w 55244"/>
                  <a:gd name="connsiteY13" fmla="*/ 48006 h 62769"/>
                  <a:gd name="connsiteX14" fmla="*/ 46958 w 55244"/>
                  <a:gd name="connsiteY14" fmla="*/ 44196 h 62769"/>
                  <a:gd name="connsiteX15" fmla="*/ 53340 w 55244"/>
                  <a:gd name="connsiteY15" fmla="*/ 54388 h 62769"/>
                  <a:gd name="connsiteX16" fmla="*/ 42672 w 55244"/>
                  <a:gd name="connsiteY16" fmla="*/ 60579 h 62769"/>
                  <a:gd name="connsiteX17" fmla="*/ 29432 w 55244"/>
                  <a:gd name="connsiteY17" fmla="*/ 62770 h 62769"/>
                  <a:gd name="connsiteX18" fmla="*/ 7810 w 55244"/>
                  <a:gd name="connsiteY18" fmla="*/ 54864 h 62769"/>
                  <a:gd name="connsiteX19" fmla="*/ 40005 w 55244"/>
                  <a:gd name="connsiteY19" fmla="*/ 24765 h 62769"/>
                  <a:gd name="connsiteX20" fmla="*/ 36862 w 55244"/>
                  <a:gd name="connsiteY20" fmla="*/ 14764 h 62769"/>
                  <a:gd name="connsiteX21" fmla="*/ 28384 w 55244"/>
                  <a:gd name="connsiteY21" fmla="*/ 11525 h 62769"/>
                  <a:gd name="connsiteX22" fmla="*/ 20002 w 55244"/>
                  <a:gd name="connsiteY22" fmla="*/ 14764 h 62769"/>
                  <a:gd name="connsiteX23" fmla="*/ 16669 w 55244"/>
                  <a:gd name="connsiteY23" fmla="*/ 24765 h 62769"/>
                  <a:gd name="connsiteX24" fmla="*/ 40100 w 55244"/>
                  <a:gd name="connsiteY24" fmla="*/ 24765 h 62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55244" h="62769">
                    <a:moveTo>
                      <a:pt x="7715" y="54769"/>
                    </a:moveTo>
                    <a:cubicBezTo>
                      <a:pt x="2572" y="49530"/>
                      <a:pt x="0" y="41624"/>
                      <a:pt x="0" y="31242"/>
                    </a:cubicBezTo>
                    <a:cubicBezTo>
                      <a:pt x="0" y="24289"/>
                      <a:pt x="1238" y="18383"/>
                      <a:pt x="3810" y="13716"/>
                    </a:cubicBezTo>
                    <a:cubicBezTo>
                      <a:pt x="6382" y="9049"/>
                      <a:pt x="9811" y="5620"/>
                      <a:pt x="14097" y="3334"/>
                    </a:cubicBezTo>
                    <a:cubicBezTo>
                      <a:pt x="18383" y="1048"/>
                      <a:pt x="23146" y="0"/>
                      <a:pt x="28480" y="0"/>
                    </a:cubicBezTo>
                    <a:cubicBezTo>
                      <a:pt x="34576" y="0"/>
                      <a:pt x="39719" y="1333"/>
                      <a:pt x="43720" y="4000"/>
                    </a:cubicBezTo>
                    <a:cubicBezTo>
                      <a:pt x="47720" y="6667"/>
                      <a:pt x="50673" y="10192"/>
                      <a:pt x="52483" y="14478"/>
                    </a:cubicBezTo>
                    <a:cubicBezTo>
                      <a:pt x="54292" y="18764"/>
                      <a:pt x="55245" y="23717"/>
                      <a:pt x="55245" y="29146"/>
                    </a:cubicBezTo>
                    <a:cubicBezTo>
                      <a:pt x="55245" y="31242"/>
                      <a:pt x="55150" y="33338"/>
                      <a:pt x="54864" y="35433"/>
                    </a:cubicBezTo>
                    <a:lnTo>
                      <a:pt x="16478" y="35433"/>
                    </a:lnTo>
                    <a:cubicBezTo>
                      <a:pt x="16478" y="40100"/>
                      <a:pt x="17621" y="43815"/>
                      <a:pt x="19812" y="46577"/>
                    </a:cubicBezTo>
                    <a:cubicBezTo>
                      <a:pt x="22003" y="49339"/>
                      <a:pt x="25527" y="50673"/>
                      <a:pt x="30194" y="50673"/>
                    </a:cubicBezTo>
                    <a:cubicBezTo>
                      <a:pt x="32290" y="50673"/>
                      <a:pt x="34195" y="50482"/>
                      <a:pt x="35909" y="50006"/>
                    </a:cubicBezTo>
                    <a:cubicBezTo>
                      <a:pt x="37624" y="49530"/>
                      <a:pt x="39338" y="48863"/>
                      <a:pt x="40957" y="48006"/>
                    </a:cubicBezTo>
                    <a:cubicBezTo>
                      <a:pt x="42577" y="47149"/>
                      <a:pt x="44577" y="45815"/>
                      <a:pt x="46958" y="44196"/>
                    </a:cubicBezTo>
                    <a:lnTo>
                      <a:pt x="53340" y="54388"/>
                    </a:lnTo>
                    <a:cubicBezTo>
                      <a:pt x="49816" y="57055"/>
                      <a:pt x="46196" y="59150"/>
                      <a:pt x="42672" y="60579"/>
                    </a:cubicBezTo>
                    <a:cubicBezTo>
                      <a:pt x="39148" y="62008"/>
                      <a:pt x="34671" y="62770"/>
                      <a:pt x="29432" y="62770"/>
                    </a:cubicBezTo>
                    <a:cubicBezTo>
                      <a:pt x="20193" y="62770"/>
                      <a:pt x="12954" y="60103"/>
                      <a:pt x="7810" y="54864"/>
                    </a:cubicBezTo>
                    <a:close/>
                    <a:moveTo>
                      <a:pt x="40005" y="24765"/>
                    </a:moveTo>
                    <a:cubicBezTo>
                      <a:pt x="39814" y="20193"/>
                      <a:pt x="38767" y="16859"/>
                      <a:pt x="36862" y="14764"/>
                    </a:cubicBezTo>
                    <a:cubicBezTo>
                      <a:pt x="34957" y="12668"/>
                      <a:pt x="32099" y="11525"/>
                      <a:pt x="28384" y="11525"/>
                    </a:cubicBezTo>
                    <a:cubicBezTo>
                      <a:pt x="24670" y="11525"/>
                      <a:pt x="22098" y="12573"/>
                      <a:pt x="20002" y="14764"/>
                    </a:cubicBezTo>
                    <a:cubicBezTo>
                      <a:pt x="17907" y="16954"/>
                      <a:pt x="16764" y="20288"/>
                      <a:pt x="16669" y="24765"/>
                    </a:cubicBezTo>
                    <a:lnTo>
                      <a:pt x="40100" y="24765"/>
                    </a:lnTo>
                    <a:close/>
                  </a:path>
                </a:pathLst>
              </a:custGeom>
              <a:solidFill>
                <a:srgbClr val="231F20"/>
              </a:solidFill>
              <a:ln w="9525" cap="flat">
                <a:noFill/>
                <a:prstDash val="solid"/>
                <a:miter/>
              </a:ln>
            </p:spPr>
            <p:txBody>
              <a:bodyPr rtlCol="0" anchor="ctr"/>
              <a:lstStyle/>
              <a:p>
                <a:pPr marL="0" marR="0" lvl="0" indent="0" algn="l" defTabSz="913578" rtl="0" eaLnBrk="1" fontAlgn="auto" latinLnBrk="0" hangingPunct="1">
                  <a:lnSpc>
                    <a:spcPct val="100000"/>
                  </a:lnSpc>
                  <a:spcBef>
                    <a:spcPts val="0"/>
                  </a:spcBef>
                  <a:spcAft>
                    <a:spcPts val="0"/>
                  </a:spcAft>
                  <a:buClrTx/>
                  <a:buSzTx/>
                  <a:buFontTx/>
                  <a:buNone/>
                  <a:tabLst/>
                  <a:defRPr/>
                </a:pPr>
                <a:endParaRPr kumimoji="0" lang="en-US" sz="17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380" name="Freeform: Shape 205">
                <a:extLst>
                  <a:ext uri="{FF2B5EF4-FFF2-40B4-BE49-F238E27FC236}">
                    <a16:creationId xmlns:a16="http://schemas.microsoft.com/office/drawing/2014/main" id="{605E5FCF-D717-7D28-9084-A77725107916}"/>
                  </a:ext>
                </a:extLst>
              </p:cNvPr>
              <p:cNvSpPr/>
              <p:nvPr/>
            </p:nvSpPr>
            <p:spPr>
              <a:xfrm>
                <a:off x="6107049" y="3343084"/>
                <a:ext cx="50768" cy="62769"/>
              </a:xfrm>
              <a:custGeom>
                <a:avLst/>
                <a:gdLst>
                  <a:gd name="connsiteX0" fmla="*/ 11716 w 50768"/>
                  <a:gd name="connsiteY0" fmla="*/ 60579 h 62769"/>
                  <a:gd name="connsiteX1" fmla="*/ 0 w 50768"/>
                  <a:gd name="connsiteY1" fmla="*/ 54007 h 62769"/>
                  <a:gd name="connsiteX2" fmla="*/ 7048 w 50768"/>
                  <a:gd name="connsiteY2" fmla="*/ 43243 h 62769"/>
                  <a:gd name="connsiteX3" fmla="*/ 16383 w 50768"/>
                  <a:gd name="connsiteY3" fmla="*/ 49054 h 62769"/>
                  <a:gd name="connsiteX4" fmla="*/ 25622 w 50768"/>
                  <a:gd name="connsiteY4" fmla="*/ 50959 h 62769"/>
                  <a:gd name="connsiteX5" fmla="*/ 33338 w 50768"/>
                  <a:gd name="connsiteY5" fmla="*/ 49721 h 62769"/>
                  <a:gd name="connsiteX6" fmla="*/ 36100 w 50768"/>
                  <a:gd name="connsiteY6" fmla="*/ 45244 h 62769"/>
                  <a:gd name="connsiteX7" fmla="*/ 34671 w 50768"/>
                  <a:gd name="connsiteY7" fmla="*/ 41529 h 62769"/>
                  <a:gd name="connsiteX8" fmla="*/ 30956 w 50768"/>
                  <a:gd name="connsiteY8" fmla="*/ 39338 h 62769"/>
                  <a:gd name="connsiteX9" fmla="*/ 24574 w 50768"/>
                  <a:gd name="connsiteY9" fmla="*/ 37624 h 62769"/>
                  <a:gd name="connsiteX10" fmla="*/ 21622 w 50768"/>
                  <a:gd name="connsiteY10" fmla="*/ 36862 h 62769"/>
                  <a:gd name="connsiteX11" fmla="*/ 11525 w 50768"/>
                  <a:gd name="connsiteY11" fmla="*/ 33338 h 62769"/>
                  <a:gd name="connsiteX12" fmla="*/ 4953 w 50768"/>
                  <a:gd name="connsiteY12" fmla="*/ 27813 h 62769"/>
                  <a:gd name="connsiteX13" fmla="*/ 2381 w 50768"/>
                  <a:gd name="connsiteY13" fmla="*/ 18288 h 62769"/>
                  <a:gd name="connsiteX14" fmla="*/ 5144 w 50768"/>
                  <a:gd name="connsiteY14" fmla="*/ 8477 h 62769"/>
                  <a:gd name="connsiteX15" fmla="*/ 13145 w 50768"/>
                  <a:gd name="connsiteY15" fmla="*/ 2191 h 62769"/>
                  <a:gd name="connsiteX16" fmla="*/ 25908 w 50768"/>
                  <a:gd name="connsiteY16" fmla="*/ 0 h 62769"/>
                  <a:gd name="connsiteX17" fmla="*/ 38957 w 50768"/>
                  <a:gd name="connsiteY17" fmla="*/ 2191 h 62769"/>
                  <a:gd name="connsiteX18" fmla="*/ 49054 w 50768"/>
                  <a:gd name="connsiteY18" fmla="*/ 8763 h 62769"/>
                  <a:gd name="connsiteX19" fmla="*/ 41053 w 50768"/>
                  <a:gd name="connsiteY19" fmla="*/ 18002 h 62769"/>
                  <a:gd name="connsiteX20" fmla="*/ 26098 w 50768"/>
                  <a:gd name="connsiteY20" fmla="*/ 11716 h 62769"/>
                  <a:gd name="connsiteX21" fmla="*/ 16859 w 50768"/>
                  <a:gd name="connsiteY21" fmla="*/ 17050 h 62769"/>
                  <a:gd name="connsiteX22" fmla="*/ 18097 w 50768"/>
                  <a:gd name="connsiteY22" fmla="*/ 20288 h 62769"/>
                  <a:gd name="connsiteX23" fmla="*/ 21241 w 50768"/>
                  <a:gd name="connsiteY23" fmla="*/ 22193 h 62769"/>
                  <a:gd name="connsiteX24" fmla="*/ 26861 w 50768"/>
                  <a:gd name="connsiteY24" fmla="*/ 23717 h 62769"/>
                  <a:gd name="connsiteX25" fmla="*/ 29718 w 50768"/>
                  <a:gd name="connsiteY25" fmla="*/ 24384 h 62769"/>
                  <a:gd name="connsiteX26" fmla="*/ 40767 w 50768"/>
                  <a:gd name="connsiteY26" fmla="*/ 28004 h 62769"/>
                  <a:gd name="connsiteX27" fmla="*/ 47911 w 50768"/>
                  <a:gd name="connsiteY27" fmla="*/ 33814 h 62769"/>
                  <a:gd name="connsiteX28" fmla="*/ 50768 w 50768"/>
                  <a:gd name="connsiteY28" fmla="*/ 44005 h 62769"/>
                  <a:gd name="connsiteX29" fmla="*/ 47815 w 50768"/>
                  <a:gd name="connsiteY29" fmla="*/ 54007 h 62769"/>
                  <a:gd name="connsiteX30" fmla="*/ 39243 w 50768"/>
                  <a:gd name="connsiteY30" fmla="*/ 60484 h 62769"/>
                  <a:gd name="connsiteX31" fmla="*/ 25813 w 50768"/>
                  <a:gd name="connsiteY31" fmla="*/ 62770 h 62769"/>
                  <a:gd name="connsiteX32" fmla="*/ 11906 w 50768"/>
                  <a:gd name="connsiteY32" fmla="*/ 60674 h 62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50768" h="62769">
                    <a:moveTo>
                      <a:pt x="11716" y="60579"/>
                    </a:moveTo>
                    <a:cubicBezTo>
                      <a:pt x="7620" y="59246"/>
                      <a:pt x="3715" y="56959"/>
                      <a:pt x="0" y="54007"/>
                    </a:cubicBezTo>
                    <a:lnTo>
                      <a:pt x="7048" y="43243"/>
                    </a:lnTo>
                    <a:cubicBezTo>
                      <a:pt x="10382" y="45815"/>
                      <a:pt x="13525" y="47720"/>
                      <a:pt x="16383" y="49054"/>
                    </a:cubicBezTo>
                    <a:cubicBezTo>
                      <a:pt x="19240" y="50387"/>
                      <a:pt x="22288" y="50959"/>
                      <a:pt x="25622" y="50959"/>
                    </a:cubicBezTo>
                    <a:cubicBezTo>
                      <a:pt x="28956" y="50959"/>
                      <a:pt x="31528" y="50578"/>
                      <a:pt x="33338" y="49721"/>
                    </a:cubicBezTo>
                    <a:cubicBezTo>
                      <a:pt x="35147" y="48863"/>
                      <a:pt x="36100" y="47339"/>
                      <a:pt x="36100" y="45244"/>
                    </a:cubicBezTo>
                    <a:cubicBezTo>
                      <a:pt x="36100" y="43720"/>
                      <a:pt x="35623" y="42481"/>
                      <a:pt x="34671" y="41529"/>
                    </a:cubicBezTo>
                    <a:cubicBezTo>
                      <a:pt x="33719" y="40576"/>
                      <a:pt x="32480" y="39910"/>
                      <a:pt x="30956" y="39338"/>
                    </a:cubicBezTo>
                    <a:cubicBezTo>
                      <a:pt x="29432" y="38767"/>
                      <a:pt x="27337" y="38290"/>
                      <a:pt x="24574" y="37624"/>
                    </a:cubicBezTo>
                    <a:lnTo>
                      <a:pt x="21622" y="36862"/>
                    </a:lnTo>
                    <a:cubicBezTo>
                      <a:pt x="17526" y="35814"/>
                      <a:pt x="14192" y="34671"/>
                      <a:pt x="11525" y="33338"/>
                    </a:cubicBezTo>
                    <a:cubicBezTo>
                      <a:pt x="8858" y="32004"/>
                      <a:pt x="6667" y="30194"/>
                      <a:pt x="4953" y="27813"/>
                    </a:cubicBezTo>
                    <a:cubicBezTo>
                      <a:pt x="3238" y="25432"/>
                      <a:pt x="2381" y="22193"/>
                      <a:pt x="2381" y="18288"/>
                    </a:cubicBezTo>
                    <a:cubicBezTo>
                      <a:pt x="2381" y="14383"/>
                      <a:pt x="3334" y="11239"/>
                      <a:pt x="5144" y="8477"/>
                    </a:cubicBezTo>
                    <a:cubicBezTo>
                      <a:pt x="6953" y="5715"/>
                      <a:pt x="9620" y="3619"/>
                      <a:pt x="13145" y="2191"/>
                    </a:cubicBezTo>
                    <a:cubicBezTo>
                      <a:pt x="16669" y="762"/>
                      <a:pt x="20955" y="0"/>
                      <a:pt x="25908" y="0"/>
                    </a:cubicBezTo>
                    <a:cubicBezTo>
                      <a:pt x="30861" y="0"/>
                      <a:pt x="35052" y="762"/>
                      <a:pt x="38957" y="2191"/>
                    </a:cubicBezTo>
                    <a:cubicBezTo>
                      <a:pt x="42863" y="3619"/>
                      <a:pt x="46196" y="5810"/>
                      <a:pt x="49054" y="8763"/>
                    </a:cubicBezTo>
                    <a:lnTo>
                      <a:pt x="41053" y="18002"/>
                    </a:lnTo>
                    <a:cubicBezTo>
                      <a:pt x="36766" y="13811"/>
                      <a:pt x="31813" y="11716"/>
                      <a:pt x="26098" y="11716"/>
                    </a:cubicBezTo>
                    <a:cubicBezTo>
                      <a:pt x="19907" y="11716"/>
                      <a:pt x="16859" y="13525"/>
                      <a:pt x="16859" y="17050"/>
                    </a:cubicBezTo>
                    <a:cubicBezTo>
                      <a:pt x="16859" y="18383"/>
                      <a:pt x="17240" y="19526"/>
                      <a:pt x="18097" y="20288"/>
                    </a:cubicBezTo>
                    <a:cubicBezTo>
                      <a:pt x="18955" y="21050"/>
                      <a:pt x="19907" y="21717"/>
                      <a:pt x="21241" y="22193"/>
                    </a:cubicBezTo>
                    <a:cubicBezTo>
                      <a:pt x="22574" y="22669"/>
                      <a:pt x="24384" y="23146"/>
                      <a:pt x="26861" y="23717"/>
                    </a:cubicBezTo>
                    <a:lnTo>
                      <a:pt x="29718" y="24384"/>
                    </a:lnTo>
                    <a:cubicBezTo>
                      <a:pt x="34195" y="25527"/>
                      <a:pt x="37814" y="26670"/>
                      <a:pt x="40767" y="28004"/>
                    </a:cubicBezTo>
                    <a:cubicBezTo>
                      <a:pt x="43720" y="29337"/>
                      <a:pt x="46006" y="31242"/>
                      <a:pt x="47911" y="33814"/>
                    </a:cubicBezTo>
                    <a:cubicBezTo>
                      <a:pt x="49816" y="36385"/>
                      <a:pt x="50768" y="39814"/>
                      <a:pt x="50768" y="44005"/>
                    </a:cubicBezTo>
                    <a:cubicBezTo>
                      <a:pt x="50768" y="47815"/>
                      <a:pt x="49816" y="51149"/>
                      <a:pt x="47815" y="54007"/>
                    </a:cubicBezTo>
                    <a:cubicBezTo>
                      <a:pt x="45815" y="56864"/>
                      <a:pt x="43053" y="58960"/>
                      <a:pt x="39243" y="60484"/>
                    </a:cubicBezTo>
                    <a:cubicBezTo>
                      <a:pt x="35433" y="62008"/>
                      <a:pt x="31052" y="62770"/>
                      <a:pt x="25813" y="62770"/>
                    </a:cubicBezTo>
                    <a:cubicBezTo>
                      <a:pt x="20574" y="62770"/>
                      <a:pt x="16002" y="62103"/>
                      <a:pt x="11906" y="60674"/>
                    </a:cubicBezTo>
                    <a:close/>
                  </a:path>
                </a:pathLst>
              </a:custGeom>
              <a:solidFill>
                <a:srgbClr val="231F20"/>
              </a:solidFill>
              <a:ln w="9525" cap="flat">
                <a:noFill/>
                <a:prstDash val="solid"/>
                <a:miter/>
              </a:ln>
            </p:spPr>
            <p:txBody>
              <a:bodyPr rtlCol="0" anchor="ctr"/>
              <a:lstStyle/>
              <a:p>
                <a:pPr marL="0" marR="0" lvl="0" indent="0" algn="l" defTabSz="913578" rtl="0" eaLnBrk="1" fontAlgn="auto" latinLnBrk="0" hangingPunct="1">
                  <a:lnSpc>
                    <a:spcPct val="100000"/>
                  </a:lnSpc>
                  <a:spcBef>
                    <a:spcPts val="0"/>
                  </a:spcBef>
                  <a:spcAft>
                    <a:spcPts val="0"/>
                  </a:spcAft>
                  <a:buClrTx/>
                  <a:buSzTx/>
                  <a:buFontTx/>
                  <a:buNone/>
                  <a:tabLst/>
                  <a:defRPr/>
                </a:pPr>
                <a:endParaRPr kumimoji="0" lang="en-US" sz="17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381" name="Freeform: Shape 206">
                <a:extLst>
                  <a:ext uri="{FF2B5EF4-FFF2-40B4-BE49-F238E27FC236}">
                    <a16:creationId xmlns:a16="http://schemas.microsoft.com/office/drawing/2014/main" id="{FB0E2925-82DC-84F2-FB1F-EFEEF47FEDE1}"/>
                  </a:ext>
                </a:extLst>
              </p:cNvPr>
              <p:cNvSpPr/>
              <p:nvPr/>
            </p:nvSpPr>
            <p:spPr>
              <a:xfrm>
                <a:off x="6163817" y="3343084"/>
                <a:ext cx="50768" cy="62769"/>
              </a:xfrm>
              <a:custGeom>
                <a:avLst/>
                <a:gdLst>
                  <a:gd name="connsiteX0" fmla="*/ 11716 w 50768"/>
                  <a:gd name="connsiteY0" fmla="*/ 60579 h 62769"/>
                  <a:gd name="connsiteX1" fmla="*/ 0 w 50768"/>
                  <a:gd name="connsiteY1" fmla="*/ 54007 h 62769"/>
                  <a:gd name="connsiteX2" fmla="*/ 7048 w 50768"/>
                  <a:gd name="connsiteY2" fmla="*/ 43243 h 62769"/>
                  <a:gd name="connsiteX3" fmla="*/ 16383 w 50768"/>
                  <a:gd name="connsiteY3" fmla="*/ 49054 h 62769"/>
                  <a:gd name="connsiteX4" fmla="*/ 25622 w 50768"/>
                  <a:gd name="connsiteY4" fmla="*/ 50959 h 62769"/>
                  <a:gd name="connsiteX5" fmla="*/ 33338 w 50768"/>
                  <a:gd name="connsiteY5" fmla="*/ 49721 h 62769"/>
                  <a:gd name="connsiteX6" fmla="*/ 36100 w 50768"/>
                  <a:gd name="connsiteY6" fmla="*/ 45244 h 62769"/>
                  <a:gd name="connsiteX7" fmla="*/ 34671 w 50768"/>
                  <a:gd name="connsiteY7" fmla="*/ 41529 h 62769"/>
                  <a:gd name="connsiteX8" fmla="*/ 30956 w 50768"/>
                  <a:gd name="connsiteY8" fmla="*/ 39338 h 62769"/>
                  <a:gd name="connsiteX9" fmla="*/ 24575 w 50768"/>
                  <a:gd name="connsiteY9" fmla="*/ 37624 h 62769"/>
                  <a:gd name="connsiteX10" fmla="*/ 21622 w 50768"/>
                  <a:gd name="connsiteY10" fmla="*/ 36862 h 62769"/>
                  <a:gd name="connsiteX11" fmla="*/ 11525 w 50768"/>
                  <a:gd name="connsiteY11" fmla="*/ 33338 h 62769"/>
                  <a:gd name="connsiteX12" fmla="*/ 4953 w 50768"/>
                  <a:gd name="connsiteY12" fmla="*/ 27813 h 62769"/>
                  <a:gd name="connsiteX13" fmla="*/ 2381 w 50768"/>
                  <a:gd name="connsiteY13" fmla="*/ 18288 h 62769"/>
                  <a:gd name="connsiteX14" fmla="*/ 5144 w 50768"/>
                  <a:gd name="connsiteY14" fmla="*/ 8477 h 62769"/>
                  <a:gd name="connsiteX15" fmla="*/ 13145 w 50768"/>
                  <a:gd name="connsiteY15" fmla="*/ 2191 h 62769"/>
                  <a:gd name="connsiteX16" fmla="*/ 25908 w 50768"/>
                  <a:gd name="connsiteY16" fmla="*/ 0 h 62769"/>
                  <a:gd name="connsiteX17" fmla="*/ 38957 w 50768"/>
                  <a:gd name="connsiteY17" fmla="*/ 2191 h 62769"/>
                  <a:gd name="connsiteX18" fmla="*/ 49054 w 50768"/>
                  <a:gd name="connsiteY18" fmla="*/ 8763 h 62769"/>
                  <a:gd name="connsiteX19" fmla="*/ 41053 w 50768"/>
                  <a:gd name="connsiteY19" fmla="*/ 18002 h 62769"/>
                  <a:gd name="connsiteX20" fmla="*/ 26098 w 50768"/>
                  <a:gd name="connsiteY20" fmla="*/ 11716 h 62769"/>
                  <a:gd name="connsiteX21" fmla="*/ 16859 w 50768"/>
                  <a:gd name="connsiteY21" fmla="*/ 17050 h 62769"/>
                  <a:gd name="connsiteX22" fmla="*/ 18097 w 50768"/>
                  <a:gd name="connsiteY22" fmla="*/ 20288 h 62769"/>
                  <a:gd name="connsiteX23" fmla="*/ 21241 w 50768"/>
                  <a:gd name="connsiteY23" fmla="*/ 22193 h 62769"/>
                  <a:gd name="connsiteX24" fmla="*/ 26861 w 50768"/>
                  <a:gd name="connsiteY24" fmla="*/ 23717 h 62769"/>
                  <a:gd name="connsiteX25" fmla="*/ 29718 w 50768"/>
                  <a:gd name="connsiteY25" fmla="*/ 24384 h 62769"/>
                  <a:gd name="connsiteX26" fmla="*/ 40767 w 50768"/>
                  <a:gd name="connsiteY26" fmla="*/ 28004 h 62769"/>
                  <a:gd name="connsiteX27" fmla="*/ 47911 w 50768"/>
                  <a:gd name="connsiteY27" fmla="*/ 33814 h 62769"/>
                  <a:gd name="connsiteX28" fmla="*/ 50768 w 50768"/>
                  <a:gd name="connsiteY28" fmla="*/ 44005 h 62769"/>
                  <a:gd name="connsiteX29" fmla="*/ 47816 w 50768"/>
                  <a:gd name="connsiteY29" fmla="*/ 54007 h 62769"/>
                  <a:gd name="connsiteX30" fmla="*/ 39243 w 50768"/>
                  <a:gd name="connsiteY30" fmla="*/ 60484 h 62769"/>
                  <a:gd name="connsiteX31" fmla="*/ 25813 w 50768"/>
                  <a:gd name="connsiteY31" fmla="*/ 62770 h 62769"/>
                  <a:gd name="connsiteX32" fmla="*/ 11906 w 50768"/>
                  <a:gd name="connsiteY32" fmla="*/ 60674 h 62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50768" h="62769">
                    <a:moveTo>
                      <a:pt x="11716" y="60579"/>
                    </a:moveTo>
                    <a:cubicBezTo>
                      <a:pt x="7620" y="59246"/>
                      <a:pt x="3715" y="56959"/>
                      <a:pt x="0" y="54007"/>
                    </a:cubicBezTo>
                    <a:lnTo>
                      <a:pt x="7048" y="43243"/>
                    </a:lnTo>
                    <a:cubicBezTo>
                      <a:pt x="10382" y="45815"/>
                      <a:pt x="13526" y="47720"/>
                      <a:pt x="16383" y="49054"/>
                    </a:cubicBezTo>
                    <a:cubicBezTo>
                      <a:pt x="19241" y="50387"/>
                      <a:pt x="22288" y="50959"/>
                      <a:pt x="25622" y="50959"/>
                    </a:cubicBezTo>
                    <a:cubicBezTo>
                      <a:pt x="28956" y="50959"/>
                      <a:pt x="31528" y="50578"/>
                      <a:pt x="33338" y="49721"/>
                    </a:cubicBezTo>
                    <a:cubicBezTo>
                      <a:pt x="35147" y="48863"/>
                      <a:pt x="36100" y="47339"/>
                      <a:pt x="36100" y="45244"/>
                    </a:cubicBezTo>
                    <a:cubicBezTo>
                      <a:pt x="36100" y="43720"/>
                      <a:pt x="35623" y="42481"/>
                      <a:pt x="34671" y="41529"/>
                    </a:cubicBezTo>
                    <a:cubicBezTo>
                      <a:pt x="33719" y="40576"/>
                      <a:pt x="32480" y="39910"/>
                      <a:pt x="30956" y="39338"/>
                    </a:cubicBezTo>
                    <a:cubicBezTo>
                      <a:pt x="29432" y="38767"/>
                      <a:pt x="27337" y="38290"/>
                      <a:pt x="24575" y="37624"/>
                    </a:cubicBezTo>
                    <a:lnTo>
                      <a:pt x="21622" y="36862"/>
                    </a:lnTo>
                    <a:cubicBezTo>
                      <a:pt x="17526" y="35814"/>
                      <a:pt x="14192" y="34671"/>
                      <a:pt x="11525" y="33338"/>
                    </a:cubicBezTo>
                    <a:cubicBezTo>
                      <a:pt x="8858" y="32004"/>
                      <a:pt x="6668" y="30194"/>
                      <a:pt x="4953" y="27813"/>
                    </a:cubicBezTo>
                    <a:cubicBezTo>
                      <a:pt x="3238" y="25432"/>
                      <a:pt x="2381" y="22193"/>
                      <a:pt x="2381" y="18288"/>
                    </a:cubicBezTo>
                    <a:cubicBezTo>
                      <a:pt x="2381" y="14383"/>
                      <a:pt x="3334" y="11239"/>
                      <a:pt x="5144" y="8477"/>
                    </a:cubicBezTo>
                    <a:cubicBezTo>
                      <a:pt x="6953" y="5715"/>
                      <a:pt x="9620" y="3619"/>
                      <a:pt x="13145" y="2191"/>
                    </a:cubicBezTo>
                    <a:cubicBezTo>
                      <a:pt x="16669" y="762"/>
                      <a:pt x="20955" y="0"/>
                      <a:pt x="25908" y="0"/>
                    </a:cubicBezTo>
                    <a:cubicBezTo>
                      <a:pt x="30861" y="0"/>
                      <a:pt x="35052" y="762"/>
                      <a:pt x="38957" y="2191"/>
                    </a:cubicBezTo>
                    <a:cubicBezTo>
                      <a:pt x="42863" y="3619"/>
                      <a:pt x="46196" y="5810"/>
                      <a:pt x="49054" y="8763"/>
                    </a:cubicBezTo>
                    <a:lnTo>
                      <a:pt x="41053" y="18002"/>
                    </a:lnTo>
                    <a:cubicBezTo>
                      <a:pt x="36767" y="13811"/>
                      <a:pt x="31813" y="11716"/>
                      <a:pt x="26098" y="11716"/>
                    </a:cubicBezTo>
                    <a:cubicBezTo>
                      <a:pt x="19907" y="11716"/>
                      <a:pt x="16859" y="13525"/>
                      <a:pt x="16859" y="17050"/>
                    </a:cubicBezTo>
                    <a:cubicBezTo>
                      <a:pt x="16859" y="18383"/>
                      <a:pt x="17240" y="19526"/>
                      <a:pt x="18097" y="20288"/>
                    </a:cubicBezTo>
                    <a:cubicBezTo>
                      <a:pt x="18955" y="21050"/>
                      <a:pt x="19907" y="21717"/>
                      <a:pt x="21241" y="22193"/>
                    </a:cubicBezTo>
                    <a:cubicBezTo>
                      <a:pt x="22574" y="22669"/>
                      <a:pt x="24384" y="23146"/>
                      <a:pt x="26861" y="23717"/>
                    </a:cubicBezTo>
                    <a:lnTo>
                      <a:pt x="29718" y="24384"/>
                    </a:lnTo>
                    <a:cubicBezTo>
                      <a:pt x="34195" y="25527"/>
                      <a:pt x="37814" y="26670"/>
                      <a:pt x="40767" y="28004"/>
                    </a:cubicBezTo>
                    <a:cubicBezTo>
                      <a:pt x="43720" y="29337"/>
                      <a:pt x="46006" y="31242"/>
                      <a:pt x="47911" y="33814"/>
                    </a:cubicBezTo>
                    <a:cubicBezTo>
                      <a:pt x="49816" y="36385"/>
                      <a:pt x="50768" y="39814"/>
                      <a:pt x="50768" y="44005"/>
                    </a:cubicBezTo>
                    <a:cubicBezTo>
                      <a:pt x="50768" y="47815"/>
                      <a:pt x="49816" y="51149"/>
                      <a:pt x="47816" y="54007"/>
                    </a:cubicBezTo>
                    <a:cubicBezTo>
                      <a:pt x="45815" y="56864"/>
                      <a:pt x="43053" y="58960"/>
                      <a:pt x="39243" y="60484"/>
                    </a:cubicBezTo>
                    <a:cubicBezTo>
                      <a:pt x="35433" y="62008"/>
                      <a:pt x="31052" y="62770"/>
                      <a:pt x="25813" y="62770"/>
                    </a:cubicBezTo>
                    <a:cubicBezTo>
                      <a:pt x="20574" y="62770"/>
                      <a:pt x="16002" y="62103"/>
                      <a:pt x="11906" y="60674"/>
                    </a:cubicBezTo>
                    <a:close/>
                  </a:path>
                </a:pathLst>
              </a:custGeom>
              <a:solidFill>
                <a:srgbClr val="231F20"/>
              </a:solidFill>
              <a:ln w="9525" cap="flat">
                <a:noFill/>
                <a:prstDash val="solid"/>
                <a:miter/>
              </a:ln>
            </p:spPr>
            <p:txBody>
              <a:bodyPr rtlCol="0" anchor="ctr"/>
              <a:lstStyle/>
              <a:p>
                <a:pPr marL="0" marR="0" lvl="0" indent="0" algn="l" defTabSz="913578" rtl="0" eaLnBrk="1" fontAlgn="auto" latinLnBrk="0" hangingPunct="1">
                  <a:lnSpc>
                    <a:spcPct val="100000"/>
                  </a:lnSpc>
                  <a:spcBef>
                    <a:spcPts val="0"/>
                  </a:spcBef>
                  <a:spcAft>
                    <a:spcPts val="0"/>
                  </a:spcAft>
                  <a:buClrTx/>
                  <a:buSzTx/>
                  <a:buFontTx/>
                  <a:buNone/>
                  <a:tabLst/>
                  <a:defRPr/>
                </a:pPr>
                <a:endParaRPr kumimoji="0" lang="en-US" sz="17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382" name="Freeform: Shape 207">
                <a:extLst>
                  <a:ext uri="{FF2B5EF4-FFF2-40B4-BE49-F238E27FC236}">
                    <a16:creationId xmlns:a16="http://schemas.microsoft.com/office/drawing/2014/main" id="{39DF5BE3-8FAA-6D08-1B2E-EDB73795B6F2}"/>
                  </a:ext>
                </a:extLst>
              </p:cNvPr>
              <p:cNvSpPr/>
              <p:nvPr/>
            </p:nvSpPr>
            <p:spPr>
              <a:xfrm>
                <a:off x="6257258" y="3343084"/>
                <a:ext cx="55149" cy="61721"/>
              </a:xfrm>
              <a:custGeom>
                <a:avLst/>
                <a:gdLst>
                  <a:gd name="connsiteX0" fmla="*/ 381 w 55149"/>
                  <a:gd name="connsiteY0" fmla="*/ 14668 h 61721"/>
                  <a:gd name="connsiteX1" fmla="*/ 286 w 55149"/>
                  <a:gd name="connsiteY1" fmla="*/ 6763 h 61721"/>
                  <a:gd name="connsiteX2" fmla="*/ 0 w 55149"/>
                  <a:gd name="connsiteY2" fmla="*/ 1238 h 61721"/>
                  <a:gd name="connsiteX3" fmla="*/ 14954 w 55149"/>
                  <a:gd name="connsiteY3" fmla="*/ 1238 h 61721"/>
                  <a:gd name="connsiteX4" fmla="*/ 15430 w 55149"/>
                  <a:gd name="connsiteY4" fmla="*/ 6191 h 61721"/>
                  <a:gd name="connsiteX5" fmla="*/ 15716 w 55149"/>
                  <a:gd name="connsiteY5" fmla="*/ 12097 h 61721"/>
                  <a:gd name="connsiteX6" fmla="*/ 15907 w 55149"/>
                  <a:gd name="connsiteY6" fmla="*/ 12097 h 61721"/>
                  <a:gd name="connsiteX7" fmla="*/ 23908 w 55149"/>
                  <a:gd name="connsiteY7" fmla="*/ 2953 h 61721"/>
                  <a:gd name="connsiteX8" fmla="*/ 35338 w 55149"/>
                  <a:gd name="connsiteY8" fmla="*/ 0 h 61721"/>
                  <a:gd name="connsiteX9" fmla="*/ 50387 w 55149"/>
                  <a:gd name="connsiteY9" fmla="*/ 6382 h 61721"/>
                  <a:gd name="connsiteX10" fmla="*/ 55150 w 55149"/>
                  <a:gd name="connsiteY10" fmla="*/ 23336 h 61721"/>
                  <a:gd name="connsiteX11" fmla="*/ 55150 w 55149"/>
                  <a:gd name="connsiteY11" fmla="*/ 61627 h 61721"/>
                  <a:gd name="connsiteX12" fmla="*/ 39529 w 55149"/>
                  <a:gd name="connsiteY12" fmla="*/ 61627 h 61721"/>
                  <a:gd name="connsiteX13" fmla="*/ 39529 w 55149"/>
                  <a:gd name="connsiteY13" fmla="*/ 27813 h 61721"/>
                  <a:gd name="connsiteX14" fmla="*/ 37243 w 55149"/>
                  <a:gd name="connsiteY14" fmla="*/ 17240 h 61721"/>
                  <a:gd name="connsiteX15" fmla="*/ 29337 w 55149"/>
                  <a:gd name="connsiteY15" fmla="*/ 13525 h 61721"/>
                  <a:gd name="connsiteX16" fmla="*/ 22574 w 55149"/>
                  <a:gd name="connsiteY16" fmla="*/ 15526 h 61721"/>
                  <a:gd name="connsiteX17" fmla="*/ 17812 w 55149"/>
                  <a:gd name="connsiteY17" fmla="*/ 21146 h 61721"/>
                  <a:gd name="connsiteX18" fmla="*/ 16097 w 55149"/>
                  <a:gd name="connsiteY18" fmla="*/ 29337 h 61721"/>
                  <a:gd name="connsiteX19" fmla="*/ 16097 w 55149"/>
                  <a:gd name="connsiteY19" fmla="*/ 61722 h 61721"/>
                  <a:gd name="connsiteX20" fmla="*/ 381 w 55149"/>
                  <a:gd name="connsiteY20" fmla="*/ 61722 h 61721"/>
                  <a:gd name="connsiteX21" fmla="*/ 381 w 55149"/>
                  <a:gd name="connsiteY21" fmla="*/ 14859 h 617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5149" h="61721">
                    <a:moveTo>
                      <a:pt x="381" y="14668"/>
                    </a:moveTo>
                    <a:cubicBezTo>
                      <a:pt x="381" y="12097"/>
                      <a:pt x="381" y="9430"/>
                      <a:pt x="286" y="6763"/>
                    </a:cubicBezTo>
                    <a:cubicBezTo>
                      <a:pt x="191" y="4096"/>
                      <a:pt x="95" y="2191"/>
                      <a:pt x="0" y="1238"/>
                    </a:cubicBezTo>
                    <a:lnTo>
                      <a:pt x="14954" y="1238"/>
                    </a:lnTo>
                    <a:cubicBezTo>
                      <a:pt x="15145" y="2096"/>
                      <a:pt x="15240" y="3715"/>
                      <a:pt x="15430" y="6191"/>
                    </a:cubicBezTo>
                    <a:cubicBezTo>
                      <a:pt x="15621" y="8668"/>
                      <a:pt x="15716" y="10668"/>
                      <a:pt x="15716" y="12097"/>
                    </a:cubicBezTo>
                    <a:lnTo>
                      <a:pt x="15907" y="12097"/>
                    </a:lnTo>
                    <a:cubicBezTo>
                      <a:pt x="18002" y="8001"/>
                      <a:pt x="20669" y="4953"/>
                      <a:pt x="23908" y="2953"/>
                    </a:cubicBezTo>
                    <a:cubicBezTo>
                      <a:pt x="27146" y="952"/>
                      <a:pt x="30956" y="0"/>
                      <a:pt x="35338" y="0"/>
                    </a:cubicBezTo>
                    <a:cubicBezTo>
                      <a:pt x="42196" y="0"/>
                      <a:pt x="47244" y="2096"/>
                      <a:pt x="50387" y="6382"/>
                    </a:cubicBezTo>
                    <a:cubicBezTo>
                      <a:pt x="53530" y="10668"/>
                      <a:pt x="55150" y="16288"/>
                      <a:pt x="55150" y="23336"/>
                    </a:cubicBezTo>
                    <a:lnTo>
                      <a:pt x="55150" y="61627"/>
                    </a:lnTo>
                    <a:lnTo>
                      <a:pt x="39529" y="61627"/>
                    </a:lnTo>
                    <a:lnTo>
                      <a:pt x="39529" y="27813"/>
                    </a:lnTo>
                    <a:cubicBezTo>
                      <a:pt x="39529" y="23241"/>
                      <a:pt x="38767" y="19717"/>
                      <a:pt x="37243" y="17240"/>
                    </a:cubicBezTo>
                    <a:cubicBezTo>
                      <a:pt x="35719" y="14764"/>
                      <a:pt x="33052" y="13525"/>
                      <a:pt x="29337" y="13525"/>
                    </a:cubicBezTo>
                    <a:cubicBezTo>
                      <a:pt x="26765" y="13525"/>
                      <a:pt x="24575" y="14192"/>
                      <a:pt x="22574" y="15526"/>
                    </a:cubicBezTo>
                    <a:cubicBezTo>
                      <a:pt x="20574" y="16859"/>
                      <a:pt x="18955" y="18669"/>
                      <a:pt x="17812" y="21146"/>
                    </a:cubicBezTo>
                    <a:cubicBezTo>
                      <a:pt x="16669" y="23622"/>
                      <a:pt x="16097" y="26289"/>
                      <a:pt x="16097" y="29337"/>
                    </a:cubicBezTo>
                    <a:lnTo>
                      <a:pt x="16097" y="61722"/>
                    </a:lnTo>
                    <a:lnTo>
                      <a:pt x="381" y="61722"/>
                    </a:lnTo>
                    <a:lnTo>
                      <a:pt x="381" y="14859"/>
                    </a:lnTo>
                    <a:close/>
                  </a:path>
                </a:pathLst>
              </a:custGeom>
              <a:solidFill>
                <a:srgbClr val="231F20"/>
              </a:solidFill>
              <a:ln w="9525" cap="flat">
                <a:noFill/>
                <a:prstDash val="solid"/>
                <a:miter/>
              </a:ln>
            </p:spPr>
            <p:txBody>
              <a:bodyPr rtlCol="0" anchor="ctr"/>
              <a:lstStyle/>
              <a:p>
                <a:pPr marL="0" marR="0" lvl="0" indent="0" algn="l" defTabSz="913578" rtl="0" eaLnBrk="1" fontAlgn="auto" latinLnBrk="0" hangingPunct="1">
                  <a:lnSpc>
                    <a:spcPct val="100000"/>
                  </a:lnSpc>
                  <a:spcBef>
                    <a:spcPts val="0"/>
                  </a:spcBef>
                  <a:spcAft>
                    <a:spcPts val="0"/>
                  </a:spcAft>
                  <a:buClrTx/>
                  <a:buSzTx/>
                  <a:buFontTx/>
                  <a:buNone/>
                  <a:tabLst/>
                  <a:defRPr/>
                </a:pPr>
                <a:endParaRPr kumimoji="0" lang="en-US" sz="17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383" name="Freeform: Shape 208">
                <a:extLst>
                  <a:ext uri="{FF2B5EF4-FFF2-40B4-BE49-F238E27FC236}">
                    <a16:creationId xmlns:a16="http://schemas.microsoft.com/office/drawing/2014/main" id="{991C542C-B9DF-6EFB-0F74-8B299CF3F63B}"/>
                  </a:ext>
                </a:extLst>
              </p:cNvPr>
              <p:cNvSpPr/>
              <p:nvPr/>
            </p:nvSpPr>
            <p:spPr>
              <a:xfrm>
                <a:off x="6324028" y="3343084"/>
                <a:ext cx="55244" cy="62769"/>
              </a:xfrm>
              <a:custGeom>
                <a:avLst/>
                <a:gdLst>
                  <a:gd name="connsiteX0" fmla="*/ 7715 w 55244"/>
                  <a:gd name="connsiteY0" fmla="*/ 54769 h 62769"/>
                  <a:gd name="connsiteX1" fmla="*/ 0 w 55244"/>
                  <a:gd name="connsiteY1" fmla="*/ 31242 h 62769"/>
                  <a:gd name="connsiteX2" fmla="*/ 3810 w 55244"/>
                  <a:gd name="connsiteY2" fmla="*/ 13716 h 62769"/>
                  <a:gd name="connsiteX3" fmla="*/ 14097 w 55244"/>
                  <a:gd name="connsiteY3" fmla="*/ 3334 h 62769"/>
                  <a:gd name="connsiteX4" fmla="*/ 28480 w 55244"/>
                  <a:gd name="connsiteY4" fmla="*/ 0 h 62769"/>
                  <a:gd name="connsiteX5" fmla="*/ 43720 w 55244"/>
                  <a:gd name="connsiteY5" fmla="*/ 4000 h 62769"/>
                  <a:gd name="connsiteX6" fmla="*/ 52483 w 55244"/>
                  <a:gd name="connsiteY6" fmla="*/ 14478 h 62769"/>
                  <a:gd name="connsiteX7" fmla="*/ 55245 w 55244"/>
                  <a:gd name="connsiteY7" fmla="*/ 29146 h 62769"/>
                  <a:gd name="connsiteX8" fmla="*/ 54864 w 55244"/>
                  <a:gd name="connsiteY8" fmla="*/ 35433 h 62769"/>
                  <a:gd name="connsiteX9" fmla="*/ 16478 w 55244"/>
                  <a:gd name="connsiteY9" fmla="*/ 35433 h 62769"/>
                  <a:gd name="connsiteX10" fmla="*/ 19812 w 55244"/>
                  <a:gd name="connsiteY10" fmla="*/ 46577 h 62769"/>
                  <a:gd name="connsiteX11" fmla="*/ 30194 w 55244"/>
                  <a:gd name="connsiteY11" fmla="*/ 50673 h 62769"/>
                  <a:gd name="connsiteX12" fmla="*/ 35909 w 55244"/>
                  <a:gd name="connsiteY12" fmla="*/ 50006 h 62769"/>
                  <a:gd name="connsiteX13" fmla="*/ 40957 w 55244"/>
                  <a:gd name="connsiteY13" fmla="*/ 48006 h 62769"/>
                  <a:gd name="connsiteX14" fmla="*/ 46958 w 55244"/>
                  <a:gd name="connsiteY14" fmla="*/ 44196 h 62769"/>
                  <a:gd name="connsiteX15" fmla="*/ 53340 w 55244"/>
                  <a:gd name="connsiteY15" fmla="*/ 54388 h 62769"/>
                  <a:gd name="connsiteX16" fmla="*/ 42672 w 55244"/>
                  <a:gd name="connsiteY16" fmla="*/ 60579 h 62769"/>
                  <a:gd name="connsiteX17" fmla="*/ 29432 w 55244"/>
                  <a:gd name="connsiteY17" fmla="*/ 62770 h 62769"/>
                  <a:gd name="connsiteX18" fmla="*/ 7811 w 55244"/>
                  <a:gd name="connsiteY18" fmla="*/ 54864 h 62769"/>
                  <a:gd name="connsiteX19" fmla="*/ 40005 w 55244"/>
                  <a:gd name="connsiteY19" fmla="*/ 24765 h 62769"/>
                  <a:gd name="connsiteX20" fmla="*/ 36862 w 55244"/>
                  <a:gd name="connsiteY20" fmla="*/ 14764 h 62769"/>
                  <a:gd name="connsiteX21" fmla="*/ 28385 w 55244"/>
                  <a:gd name="connsiteY21" fmla="*/ 11525 h 62769"/>
                  <a:gd name="connsiteX22" fmla="*/ 20003 w 55244"/>
                  <a:gd name="connsiteY22" fmla="*/ 14764 h 62769"/>
                  <a:gd name="connsiteX23" fmla="*/ 16669 w 55244"/>
                  <a:gd name="connsiteY23" fmla="*/ 24765 h 62769"/>
                  <a:gd name="connsiteX24" fmla="*/ 40100 w 55244"/>
                  <a:gd name="connsiteY24" fmla="*/ 24765 h 62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55244" h="62769">
                    <a:moveTo>
                      <a:pt x="7715" y="54769"/>
                    </a:moveTo>
                    <a:cubicBezTo>
                      <a:pt x="2572" y="49530"/>
                      <a:pt x="0" y="41624"/>
                      <a:pt x="0" y="31242"/>
                    </a:cubicBezTo>
                    <a:cubicBezTo>
                      <a:pt x="0" y="24289"/>
                      <a:pt x="1238" y="18383"/>
                      <a:pt x="3810" y="13716"/>
                    </a:cubicBezTo>
                    <a:cubicBezTo>
                      <a:pt x="6382" y="9049"/>
                      <a:pt x="9811" y="5620"/>
                      <a:pt x="14097" y="3334"/>
                    </a:cubicBezTo>
                    <a:cubicBezTo>
                      <a:pt x="18383" y="1048"/>
                      <a:pt x="23146" y="0"/>
                      <a:pt x="28480" y="0"/>
                    </a:cubicBezTo>
                    <a:cubicBezTo>
                      <a:pt x="34576" y="0"/>
                      <a:pt x="39719" y="1333"/>
                      <a:pt x="43720" y="4000"/>
                    </a:cubicBezTo>
                    <a:cubicBezTo>
                      <a:pt x="47720" y="6667"/>
                      <a:pt x="50673" y="10192"/>
                      <a:pt x="52483" y="14478"/>
                    </a:cubicBezTo>
                    <a:cubicBezTo>
                      <a:pt x="54293" y="18764"/>
                      <a:pt x="55245" y="23717"/>
                      <a:pt x="55245" y="29146"/>
                    </a:cubicBezTo>
                    <a:cubicBezTo>
                      <a:pt x="55245" y="31242"/>
                      <a:pt x="55150" y="33338"/>
                      <a:pt x="54864" y="35433"/>
                    </a:cubicBezTo>
                    <a:lnTo>
                      <a:pt x="16478" y="35433"/>
                    </a:lnTo>
                    <a:cubicBezTo>
                      <a:pt x="16478" y="40100"/>
                      <a:pt x="17621" y="43815"/>
                      <a:pt x="19812" y="46577"/>
                    </a:cubicBezTo>
                    <a:cubicBezTo>
                      <a:pt x="22003" y="49339"/>
                      <a:pt x="25527" y="50673"/>
                      <a:pt x="30194" y="50673"/>
                    </a:cubicBezTo>
                    <a:cubicBezTo>
                      <a:pt x="32290" y="50673"/>
                      <a:pt x="34195" y="50482"/>
                      <a:pt x="35909" y="50006"/>
                    </a:cubicBezTo>
                    <a:cubicBezTo>
                      <a:pt x="37624" y="49530"/>
                      <a:pt x="39338" y="48863"/>
                      <a:pt x="40957" y="48006"/>
                    </a:cubicBezTo>
                    <a:cubicBezTo>
                      <a:pt x="42577" y="47149"/>
                      <a:pt x="44577" y="45815"/>
                      <a:pt x="46958" y="44196"/>
                    </a:cubicBezTo>
                    <a:lnTo>
                      <a:pt x="53340" y="54388"/>
                    </a:lnTo>
                    <a:cubicBezTo>
                      <a:pt x="49816" y="57055"/>
                      <a:pt x="46196" y="59150"/>
                      <a:pt x="42672" y="60579"/>
                    </a:cubicBezTo>
                    <a:cubicBezTo>
                      <a:pt x="39148" y="62008"/>
                      <a:pt x="34671" y="62770"/>
                      <a:pt x="29432" y="62770"/>
                    </a:cubicBezTo>
                    <a:cubicBezTo>
                      <a:pt x="20193" y="62770"/>
                      <a:pt x="12954" y="60103"/>
                      <a:pt x="7811" y="54864"/>
                    </a:cubicBezTo>
                    <a:close/>
                    <a:moveTo>
                      <a:pt x="40005" y="24765"/>
                    </a:moveTo>
                    <a:cubicBezTo>
                      <a:pt x="39814" y="20193"/>
                      <a:pt x="38767" y="16859"/>
                      <a:pt x="36862" y="14764"/>
                    </a:cubicBezTo>
                    <a:cubicBezTo>
                      <a:pt x="34957" y="12668"/>
                      <a:pt x="32099" y="11525"/>
                      <a:pt x="28385" y="11525"/>
                    </a:cubicBezTo>
                    <a:cubicBezTo>
                      <a:pt x="24670" y="11525"/>
                      <a:pt x="22098" y="12573"/>
                      <a:pt x="20003" y="14764"/>
                    </a:cubicBezTo>
                    <a:cubicBezTo>
                      <a:pt x="17907" y="16954"/>
                      <a:pt x="16764" y="20288"/>
                      <a:pt x="16669" y="24765"/>
                    </a:cubicBezTo>
                    <a:lnTo>
                      <a:pt x="40100" y="24765"/>
                    </a:lnTo>
                    <a:close/>
                  </a:path>
                </a:pathLst>
              </a:custGeom>
              <a:solidFill>
                <a:srgbClr val="231F20"/>
              </a:solidFill>
              <a:ln w="9525" cap="flat">
                <a:noFill/>
                <a:prstDash val="solid"/>
                <a:miter/>
              </a:ln>
            </p:spPr>
            <p:txBody>
              <a:bodyPr rtlCol="0" anchor="ctr"/>
              <a:lstStyle/>
              <a:p>
                <a:pPr marL="0" marR="0" lvl="0" indent="0" algn="l" defTabSz="913578" rtl="0" eaLnBrk="1" fontAlgn="auto" latinLnBrk="0" hangingPunct="1">
                  <a:lnSpc>
                    <a:spcPct val="100000"/>
                  </a:lnSpc>
                  <a:spcBef>
                    <a:spcPts val="0"/>
                  </a:spcBef>
                  <a:spcAft>
                    <a:spcPts val="0"/>
                  </a:spcAft>
                  <a:buClrTx/>
                  <a:buSzTx/>
                  <a:buFontTx/>
                  <a:buNone/>
                  <a:tabLst/>
                  <a:defRPr/>
                </a:pPr>
                <a:endParaRPr kumimoji="0" lang="en-US" sz="17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384" name="Freeform: Shape 209">
                <a:extLst>
                  <a:ext uri="{FF2B5EF4-FFF2-40B4-BE49-F238E27FC236}">
                    <a16:creationId xmlns:a16="http://schemas.microsoft.com/office/drawing/2014/main" id="{58A4D066-FAF7-DB33-4F46-F8F3CB705D10}"/>
                  </a:ext>
                </a:extLst>
              </p:cNvPr>
              <p:cNvSpPr/>
              <p:nvPr/>
            </p:nvSpPr>
            <p:spPr>
              <a:xfrm>
                <a:off x="6384512" y="3329558"/>
                <a:ext cx="35813" cy="76104"/>
              </a:xfrm>
              <a:custGeom>
                <a:avLst/>
                <a:gdLst>
                  <a:gd name="connsiteX0" fmla="*/ 11621 w 35813"/>
                  <a:gd name="connsiteY0" fmla="*/ 71914 h 76104"/>
                  <a:gd name="connsiteX1" fmla="*/ 7620 w 35813"/>
                  <a:gd name="connsiteY1" fmla="*/ 59722 h 76104"/>
                  <a:gd name="connsiteX2" fmla="*/ 7620 w 35813"/>
                  <a:gd name="connsiteY2" fmla="*/ 26384 h 76104"/>
                  <a:gd name="connsiteX3" fmla="*/ 0 w 35813"/>
                  <a:gd name="connsiteY3" fmla="*/ 26384 h 76104"/>
                  <a:gd name="connsiteX4" fmla="*/ 0 w 35813"/>
                  <a:gd name="connsiteY4" fmla="*/ 14764 h 76104"/>
                  <a:gd name="connsiteX5" fmla="*/ 8382 w 35813"/>
                  <a:gd name="connsiteY5" fmla="*/ 14764 h 76104"/>
                  <a:gd name="connsiteX6" fmla="*/ 9144 w 35813"/>
                  <a:gd name="connsiteY6" fmla="*/ 1143 h 76104"/>
                  <a:gd name="connsiteX7" fmla="*/ 23051 w 35813"/>
                  <a:gd name="connsiteY7" fmla="*/ 0 h 76104"/>
                  <a:gd name="connsiteX8" fmla="*/ 23051 w 35813"/>
                  <a:gd name="connsiteY8" fmla="*/ 14764 h 76104"/>
                  <a:gd name="connsiteX9" fmla="*/ 35052 w 35813"/>
                  <a:gd name="connsiteY9" fmla="*/ 14764 h 76104"/>
                  <a:gd name="connsiteX10" fmla="*/ 35052 w 35813"/>
                  <a:gd name="connsiteY10" fmla="*/ 26384 h 76104"/>
                  <a:gd name="connsiteX11" fmla="*/ 23051 w 35813"/>
                  <a:gd name="connsiteY11" fmla="*/ 26384 h 76104"/>
                  <a:gd name="connsiteX12" fmla="*/ 23051 w 35813"/>
                  <a:gd name="connsiteY12" fmla="*/ 55531 h 76104"/>
                  <a:gd name="connsiteX13" fmla="*/ 24479 w 35813"/>
                  <a:gd name="connsiteY13" fmla="*/ 61246 h 76104"/>
                  <a:gd name="connsiteX14" fmla="*/ 28956 w 35813"/>
                  <a:gd name="connsiteY14" fmla="*/ 63055 h 76104"/>
                  <a:gd name="connsiteX15" fmla="*/ 34671 w 35813"/>
                  <a:gd name="connsiteY15" fmla="*/ 62389 h 76104"/>
                  <a:gd name="connsiteX16" fmla="*/ 35814 w 35813"/>
                  <a:gd name="connsiteY16" fmla="*/ 74295 h 76104"/>
                  <a:gd name="connsiteX17" fmla="*/ 23051 w 35813"/>
                  <a:gd name="connsiteY17" fmla="*/ 76105 h 76104"/>
                  <a:gd name="connsiteX18" fmla="*/ 11525 w 35813"/>
                  <a:gd name="connsiteY18" fmla="*/ 72009 h 76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5813" h="76104">
                    <a:moveTo>
                      <a:pt x="11621" y="71914"/>
                    </a:moveTo>
                    <a:cubicBezTo>
                      <a:pt x="8954" y="69152"/>
                      <a:pt x="7620" y="65151"/>
                      <a:pt x="7620" y="59722"/>
                    </a:cubicBezTo>
                    <a:lnTo>
                      <a:pt x="7620" y="26384"/>
                    </a:lnTo>
                    <a:lnTo>
                      <a:pt x="0" y="26384"/>
                    </a:lnTo>
                    <a:lnTo>
                      <a:pt x="0" y="14764"/>
                    </a:lnTo>
                    <a:lnTo>
                      <a:pt x="8382" y="14764"/>
                    </a:lnTo>
                    <a:lnTo>
                      <a:pt x="9144" y="1143"/>
                    </a:lnTo>
                    <a:lnTo>
                      <a:pt x="23051" y="0"/>
                    </a:lnTo>
                    <a:lnTo>
                      <a:pt x="23051" y="14764"/>
                    </a:lnTo>
                    <a:lnTo>
                      <a:pt x="35052" y="14764"/>
                    </a:lnTo>
                    <a:lnTo>
                      <a:pt x="35052" y="26384"/>
                    </a:lnTo>
                    <a:lnTo>
                      <a:pt x="23051" y="26384"/>
                    </a:lnTo>
                    <a:lnTo>
                      <a:pt x="23051" y="55531"/>
                    </a:lnTo>
                    <a:cubicBezTo>
                      <a:pt x="23051" y="58103"/>
                      <a:pt x="23527" y="60007"/>
                      <a:pt x="24479" y="61246"/>
                    </a:cubicBezTo>
                    <a:cubicBezTo>
                      <a:pt x="25432" y="62484"/>
                      <a:pt x="26860" y="63055"/>
                      <a:pt x="28956" y="63055"/>
                    </a:cubicBezTo>
                    <a:cubicBezTo>
                      <a:pt x="30575" y="63055"/>
                      <a:pt x="32480" y="62865"/>
                      <a:pt x="34671" y="62389"/>
                    </a:cubicBezTo>
                    <a:lnTo>
                      <a:pt x="35814" y="74295"/>
                    </a:lnTo>
                    <a:cubicBezTo>
                      <a:pt x="31527" y="75438"/>
                      <a:pt x="27336" y="76105"/>
                      <a:pt x="23051" y="76105"/>
                    </a:cubicBezTo>
                    <a:cubicBezTo>
                      <a:pt x="18002" y="76105"/>
                      <a:pt x="14192" y="74771"/>
                      <a:pt x="11525" y="72009"/>
                    </a:cubicBezTo>
                    <a:close/>
                  </a:path>
                </a:pathLst>
              </a:custGeom>
              <a:solidFill>
                <a:srgbClr val="231F20"/>
              </a:solidFill>
              <a:ln w="9525" cap="flat">
                <a:noFill/>
                <a:prstDash val="solid"/>
                <a:miter/>
              </a:ln>
            </p:spPr>
            <p:txBody>
              <a:bodyPr rtlCol="0" anchor="ctr"/>
              <a:lstStyle/>
              <a:p>
                <a:pPr marL="0" marR="0" lvl="0" indent="0" algn="l" defTabSz="913578" rtl="0" eaLnBrk="1" fontAlgn="auto" latinLnBrk="0" hangingPunct="1">
                  <a:lnSpc>
                    <a:spcPct val="100000"/>
                  </a:lnSpc>
                  <a:spcBef>
                    <a:spcPts val="0"/>
                  </a:spcBef>
                  <a:spcAft>
                    <a:spcPts val="0"/>
                  </a:spcAft>
                  <a:buClrTx/>
                  <a:buSzTx/>
                  <a:buFontTx/>
                  <a:buNone/>
                  <a:tabLst/>
                  <a:defRPr/>
                </a:pPr>
                <a:endParaRPr kumimoji="0" lang="en-US" sz="17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385" name="Freeform: Shape 210">
                <a:extLst>
                  <a:ext uri="{FF2B5EF4-FFF2-40B4-BE49-F238E27FC236}">
                    <a16:creationId xmlns:a16="http://schemas.microsoft.com/office/drawing/2014/main" id="{0B0A74FA-0D2E-03A9-80AF-1F9E18DC812E}"/>
                  </a:ext>
                </a:extLst>
              </p:cNvPr>
              <p:cNvSpPr/>
              <p:nvPr/>
            </p:nvSpPr>
            <p:spPr>
              <a:xfrm>
                <a:off x="6421278" y="3344227"/>
                <a:ext cx="89534" cy="60388"/>
              </a:xfrm>
              <a:custGeom>
                <a:avLst/>
                <a:gdLst>
                  <a:gd name="connsiteX0" fmla="*/ 95 w 89534"/>
                  <a:gd name="connsiteY0" fmla="*/ 0 h 60388"/>
                  <a:gd name="connsiteX1" fmla="*/ 15049 w 89534"/>
                  <a:gd name="connsiteY1" fmla="*/ 0 h 60388"/>
                  <a:gd name="connsiteX2" fmla="*/ 22670 w 89534"/>
                  <a:gd name="connsiteY2" fmla="*/ 35433 h 60388"/>
                  <a:gd name="connsiteX3" fmla="*/ 23907 w 89534"/>
                  <a:gd name="connsiteY3" fmla="*/ 41910 h 60388"/>
                  <a:gd name="connsiteX4" fmla="*/ 24669 w 89534"/>
                  <a:gd name="connsiteY4" fmla="*/ 46101 h 60388"/>
                  <a:gd name="connsiteX5" fmla="*/ 25527 w 89534"/>
                  <a:gd name="connsiteY5" fmla="*/ 41243 h 60388"/>
                  <a:gd name="connsiteX6" fmla="*/ 26765 w 89534"/>
                  <a:gd name="connsiteY6" fmla="*/ 35528 h 60388"/>
                  <a:gd name="connsiteX7" fmla="*/ 36290 w 89534"/>
                  <a:gd name="connsiteY7" fmla="*/ 95 h 60388"/>
                  <a:gd name="connsiteX8" fmla="*/ 53340 w 89534"/>
                  <a:gd name="connsiteY8" fmla="*/ 95 h 60388"/>
                  <a:gd name="connsiteX9" fmla="*/ 62579 w 89534"/>
                  <a:gd name="connsiteY9" fmla="*/ 35528 h 60388"/>
                  <a:gd name="connsiteX10" fmla="*/ 64008 w 89534"/>
                  <a:gd name="connsiteY10" fmla="*/ 42291 h 60388"/>
                  <a:gd name="connsiteX11" fmla="*/ 64770 w 89534"/>
                  <a:gd name="connsiteY11" fmla="*/ 46196 h 60388"/>
                  <a:gd name="connsiteX12" fmla="*/ 65532 w 89534"/>
                  <a:gd name="connsiteY12" fmla="*/ 41815 h 60388"/>
                  <a:gd name="connsiteX13" fmla="*/ 66770 w 89534"/>
                  <a:gd name="connsiteY13" fmla="*/ 35528 h 60388"/>
                  <a:gd name="connsiteX14" fmla="*/ 74771 w 89534"/>
                  <a:gd name="connsiteY14" fmla="*/ 95 h 60388"/>
                  <a:gd name="connsiteX15" fmla="*/ 89535 w 89534"/>
                  <a:gd name="connsiteY15" fmla="*/ 95 h 60388"/>
                  <a:gd name="connsiteX16" fmla="*/ 74009 w 89534"/>
                  <a:gd name="connsiteY16" fmla="*/ 60388 h 60388"/>
                  <a:gd name="connsiteX17" fmla="*/ 56769 w 89534"/>
                  <a:gd name="connsiteY17" fmla="*/ 60388 h 60388"/>
                  <a:gd name="connsiteX18" fmla="*/ 47530 w 89534"/>
                  <a:gd name="connsiteY18" fmla="*/ 23622 h 60388"/>
                  <a:gd name="connsiteX19" fmla="*/ 46005 w 89534"/>
                  <a:gd name="connsiteY19" fmla="*/ 16859 h 60388"/>
                  <a:gd name="connsiteX20" fmla="*/ 44958 w 89534"/>
                  <a:gd name="connsiteY20" fmla="*/ 11239 h 60388"/>
                  <a:gd name="connsiteX21" fmla="*/ 43719 w 89534"/>
                  <a:gd name="connsiteY21" fmla="*/ 16764 h 60388"/>
                  <a:gd name="connsiteX22" fmla="*/ 42005 w 89534"/>
                  <a:gd name="connsiteY22" fmla="*/ 23717 h 60388"/>
                  <a:gd name="connsiteX23" fmla="*/ 32671 w 89534"/>
                  <a:gd name="connsiteY23" fmla="*/ 60388 h 60388"/>
                  <a:gd name="connsiteX24" fmla="*/ 15335 w 89534"/>
                  <a:gd name="connsiteY24" fmla="*/ 60388 h 60388"/>
                  <a:gd name="connsiteX25" fmla="*/ 0 w 89534"/>
                  <a:gd name="connsiteY25" fmla="*/ 95 h 60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89534" h="60388">
                    <a:moveTo>
                      <a:pt x="95" y="0"/>
                    </a:moveTo>
                    <a:lnTo>
                      <a:pt x="15049" y="0"/>
                    </a:lnTo>
                    <a:lnTo>
                      <a:pt x="22670" y="35433"/>
                    </a:lnTo>
                    <a:cubicBezTo>
                      <a:pt x="23146" y="37624"/>
                      <a:pt x="23526" y="39814"/>
                      <a:pt x="23907" y="41910"/>
                    </a:cubicBezTo>
                    <a:cubicBezTo>
                      <a:pt x="24289" y="44005"/>
                      <a:pt x="24574" y="45339"/>
                      <a:pt x="24669" y="46101"/>
                    </a:cubicBezTo>
                    <a:cubicBezTo>
                      <a:pt x="24765" y="45339"/>
                      <a:pt x="25051" y="43720"/>
                      <a:pt x="25527" y="41243"/>
                    </a:cubicBezTo>
                    <a:cubicBezTo>
                      <a:pt x="26003" y="38767"/>
                      <a:pt x="26384" y="36862"/>
                      <a:pt x="26765" y="35528"/>
                    </a:cubicBezTo>
                    <a:lnTo>
                      <a:pt x="36290" y="95"/>
                    </a:lnTo>
                    <a:lnTo>
                      <a:pt x="53340" y="95"/>
                    </a:lnTo>
                    <a:lnTo>
                      <a:pt x="62579" y="35528"/>
                    </a:lnTo>
                    <a:cubicBezTo>
                      <a:pt x="63055" y="37529"/>
                      <a:pt x="63627" y="39814"/>
                      <a:pt x="64008" y="42291"/>
                    </a:cubicBezTo>
                    <a:cubicBezTo>
                      <a:pt x="64389" y="44767"/>
                      <a:pt x="64675" y="46006"/>
                      <a:pt x="64770" y="46196"/>
                    </a:cubicBezTo>
                    <a:cubicBezTo>
                      <a:pt x="64865" y="45339"/>
                      <a:pt x="65151" y="43910"/>
                      <a:pt x="65532" y="41815"/>
                    </a:cubicBezTo>
                    <a:cubicBezTo>
                      <a:pt x="65913" y="39719"/>
                      <a:pt x="66389" y="37719"/>
                      <a:pt x="66770" y="35528"/>
                    </a:cubicBezTo>
                    <a:lnTo>
                      <a:pt x="74771" y="95"/>
                    </a:lnTo>
                    <a:lnTo>
                      <a:pt x="89535" y="95"/>
                    </a:lnTo>
                    <a:lnTo>
                      <a:pt x="74009" y="60388"/>
                    </a:lnTo>
                    <a:lnTo>
                      <a:pt x="56769" y="60388"/>
                    </a:lnTo>
                    <a:lnTo>
                      <a:pt x="47530" y="23622"/>
                    </a:lnTo>
                    <a:cubicBezTo>
                      <a:pt x="47054" y="21717"/>
                      <a:pt x="46577" y="19526"/>
                      <a:pt x="46005" y="16859"/>
                    </a:cubicBezTo>
                    <a:cubicBezTo>
                      <a:pt x="45434" y="14192"/>
                      <a:pt x="45148" y="12287"/>
                      <a:pt x="44958" y="11239"/>
                    </a:cubicBezTo>
                    <a:cubicBezTo>
                      <a:pt x="44767" y="12287"/>
                      <a:pt x="44291" y="14192"/>
                      <a:pt x="43719" y="16764"/>
                    </a:cubicBezTo>
                    <a:cubicBezTo>
                      <a:pt x="43148" y="19336"/>
                      <a:pt x="42576" y="21717"/>
                      <a:pt x="42005" y="23717"/>
                    </a:cubicBezTo>
                    <a:lnTo>
                      <a:pt x="32671" y="60388"/>
                    </a:lnTo>
                    <a:lnTo>
                      <a:pt x="15335" y="60388"/>
                    </a:lnTo>
                    <a:lnTo>
                      <a:pt x="0" y="95"/>
                    </a:lnTo>
                    <a:close/>
                  </a:path>
                </a:pathLst>
              </a:custGeom>
              <a:solidFill>
                <a:srgbClr val="231F20"/>
              </a:solidFill>
              <a:ln w="9525" cap="flat">
                <a:noFill/>
                <a:prstDash val="solid"/>
                <a:miter/>
              </a:ln>
            </p:spPr>
            <p:txBody>
              <a:bodyPr rtlCol="0" anchor="ctr"/>
              <a:lstStyle/>
              <a:p>
                <a:pPr marL="0" marR="0" lvl="0" indent="0" algn="l" defTabSz="913578" rtl="0" eaLnBrk="1" fontAlgn="auto" latinLnBrk="0" hangingPunct="1">
                  <a:lnSpc>
                    <a:spcPct val="100000"/>
                  </a:lnSpc>
                  <a:spcBef>
                    <a:spcPts val="0"/>
                  </a:spcBef>
                  <a:spcAft>
                    <a:spcPts val="0"/>
                  </a:spcAft>
                  <a:buClrTx/>
                  <a:buSzTx/>
                  <a:buFontTx/>
                  <a:buNone/>
                  <a:tabLst/>
                  <a:defRPr/>
                </a:pPr>
                <a:endParaRPr kumimoji="0" lang="en-US" sz="17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386" name="Freeform: Shape 211">
                <a:extLst>
                  <a:ext uri="{FF2B5EF4-FFF2-40B4-BE49-F238E27FC236}">
                    <a16:creationId xmlns:a16="http://schemas.microsoft.com/office/drawing/2014/main" id="{0F338BC3-C461-DC2F-2AF7-07EEEEDA5FEF}"/>
                  </a:ext>
                </a:extLst>
              </p:cNvPr>
              <p:cNvSpPr/>
              <p:nvPr/>
            </p:nvSpPr>
            <p:spPr>
              <a:xfrm>
                <a:off x="6515004" y="3343179"/>
                <a:ext cx="60864" cy="62674"/>
              </a:xfrm>
              <a:custGeom>
                <a:avLst/>
                <a:gdLst>
                  <a:gd name="connsiteX0" fmla="*/ 13907 w 60864"/>
                  <a:gd name="connsiteY0" fmla="*/ 58388 h 62674"/>
                  <a:gd name="connsiteX1" fmla="*/ 3524 w 60864"/>
                  <a:gd name="connsiteY1" fmla="*/ 47149 h 62674"/>
                  <a:gd name="connsiteX2" fmla="*/ 0 w 60864"/>
                  <a:gd name="connsiteY2" fmla="*/ 31147 h 62674"/>
                  <a:gd name="connsiteX3" fmla="*/ 3429 w 60864"/>
                  <a:gd name="connsiteY3" fmla="*/ 15430 h 62674"/>
                  <a:gd name="connsiteX4" fmla="*/ 13716 w 60864"/>
                  <a:gd name="connsiteY4" fmla="*/ 4191 h 62674"/>
                  <a:gd name="connsiteX5" fmla="*/ 30480 w 60864"/>
                  <a:gd name="connsiteY5" fmla="*/ 0 h 62674"/>
                  <a:gd name="connsiteX6" fmla="*/ 47720 w 60864"/>
                  <a:gd name="connsiteY6" fmla="*/ 4191 h 62674"/>
                  <a:gd name="connsiteX7" fmla="*/ 57721 w 60864"/>
                  <a:gd name="connsiteY7" fmla="*/ 15335 h 62674"/>
                  <a:gd name="connsiteX8" fmla="*/ 60865 w 60864"/>
                  <a:gd name="connsiteY8" fmla="*/ 31242 h 62674"/>
                  <a:gd name="connsiteX9" fmla="*/ 57341 w 60864"/>
                  <a:gd name="connsiteY9" fmla="*/ 47244 h 62674"/>
                  <a:gd name="connsiteX10" fmla="*/ 46958 w 60864"/>
                  <a:gd name="connsiteY10" fmla="*/ 58484 h 62674"/>
                  <a:gd name="connsiteX11" fmla="*/ 30194 w 60864"/>
                  <a:gd name="connsiteY11" fmla="*/ 62675 h 62674"/>
                  <a:gd name="connsiteX12" fmla="*/ 13907 w 60864"/>
                  <a:gd name="connsiteY12" fmla="*/ 58579 h 62674"/>
                  <a:gd name="connsiteX13" fmla="*/ 40767 w 60864"/>
                  <a:gd name="connsiteY13" fmla="*/ 45149 h 62674"/>
                  <a:gd name="connsiteX14" fmla="*/ 44482 w 60864"/>
                  <a:gd name="connsiteY14" fmla="*/ 31052 h 62674"/>
                  <a:gd name="connsiteX15" fmla="*/ 40957 w 60864"/>
                  <a:gd name="connsiteY15" fmla="*/ 17145 h 62674"/>
                  <a:gd name="connsiteX16" fmla="*/ 30766 w 60864"/>
                  <a:gd name="connsiteY16" fmla="*/ 12287 h 62674"/>
                  <a:gd name="connsiteX17" fmla="*/ 20193 w 60864"/>
                  <a:gd name="connsiteY17" fmla="*/ 17145 h 62674"/>
                  <a:gd name="connsiteX18" fmla="*/ 16478 w 60864"/>
                  <a:gd name="connsiteY18" fmla="*/ 31052 h 62674"/>
                  <a:gd name="connsiteX19" fmla="*/ 18193 w 60864"/>
                  <a:gd name="connsiteY19" fmla="*/ 41338 h 62674"/>
                  <a:gd name="connsiteX20" fmla="*/ 22956 w 60864"/>
                  <a:gd name="connsiteY20" fmla="*/ 47816 h 62674"/>
                  <a:gd name="connsiteX21" fmla="*/ 30099 w 60864"/>
                  <a:gd name="connsiteY21" fmla="*/ 50006 h 62674"/>
                  <a:gd name="connsiteX22" fmla="*/ 40767 w 60864"/>
                  <a:gd name="connsiteY22" fmla="*/ 45053 h 626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60864" h="62674">
                    <a:moveTo>
                      <a:pt x="13907" y="58388"/>
                    </a:moveTo>
                    <a:cubicBezTo>
                      <a:pt x="9334" y="55626"/>
                      <a:pt x="5905" y="51911"/>
                      <a:pt x="3524" y="47149"/>
                    </a:cubicBezTo>
                    <a:cubicBezTo>
                      <a:pt x="1143" y="42386"/>
                      <a:pt x="0" y="37052"/>
                      <a:pt x="0" y="31147"/>
                    </a:cubicBezTo>
                    <a:cubicBezTo>
                      <a:pt x="0" y="25241"/>
                      <a:pt x="1143" y="20098"/>
                      <a:pt x="3429" y="15430"/>
                    </a:cubicBezTo>
                    <a:cubicBezTo>
                      <a:pt x="5715" y="10763"/>
                      <a:pt x="9144" y="6953"/>
                      <a:pt x="13716" y="4191"/>
                    </a:cubicBezTo>
                    <a:cubicBezTo>
                      <a:pt x="18288" y="1429"/>
                      <a:pt x="23908" y="0"/>
                      <a:pt x="30480" y="0"/>
                    </a:cubicBezTo>
                    <a:cubicBezTo>
                      <a:pt x="37433" y="0"/>
                      <a:pt x="43149" y="1429"/>
                      <a:pt x="47720" y="4191"/>
                    </a:cubicBezTo>
                    <a:cubicBezTo>
                      <a:pt x="52292" y="6953"/>
                      <a:pt x="55531" y="10668"/>
                      <a:pt x="57721" y="15335"/>
                    </a:cubicBezTo>
                    <a:cubicBezTo>
                      <a:pt x="59913" y="20003"/>
                      <a:pt x="60865" y="25337"/>
                      <a:pt x="60865" y="31242"/>
                    </a:cubicBezTo>
                    <a:cubicBezTo>
                      <a:pt x="60865" y="37148"/>
                      <a:pt x="59722" y="42482"/>
                      <a:pt x="57341" y="47244"/>
                    </a:cubicBezTo>
                    <a:cubicBezTo>
                      <a:pt x="54959" y="52007"/>
                      <a:pt x="51531" y="55721"/>
                      <a:pt x="46958" y="58484"/>
                    </a:cubicBezTo>
                    <a:cubicBezTo>
                      <a:pt x="42386" y="61246"/>
                      <a:pt x="36766" y="62675"/>
                      <a:pt x="30194" y="62675"/>
                    </a:cubicBezTo>
                    <a:cubicBezTo>
                      <a:pt x="23622" y="62675"/>
                      <a:pt x="18383" y="61341"/>
                      <a:pt x="13907" y="58579"/>
                    </a:cubicBezTo>
                    <a:close/>
                    <a:moveTo>
                      <a:pt x="40767" y="45149"/>
                    </a:moveTo>
                    <a:cubicBezTo>
                      <a:pt x="43244" y="41910"/>
                      <a:pt x="44482" y="37148"/>
                      <a:pt x="44482" y="31052"/>
                    </a:cubicBezTo>
                    <a:cubicBezTo>
                      <a:pt x="44482" y="24955"/>
                      <a:pt x="43339" y="20384"/>
                      <a:pt x="40957" y="17145"/>
                    </a:cubicBezTo>
                    <a:cubicBezTo>
                      <a:pt x="38576" y="13907"/>
                      <a:pt x="35243" y="12287"/>
                      <a:pt x="30766" y="12287"/>
                    </a:cubicBezTo>
                    <a:cubicBezTo>
                      <a:pt x="26289" y="12287"/>
                      <a:pt x="22574" y="13907"/>
                      <a:pt x="20193" y="17145"/>
                    </a:cubicBezTo>
                    <a:cubicBezTo>
                      <a:pt x="17812" y="20384"/>
                      <a:pt x="16478" y="25051"/>
                      <a:pt x="16478" y="31052"/>
                    </a:cubicBezTo>
                    <a:cubicBezTo>
                      <a:pt x="16478" y="35052"/>
                      <a:pt x="17050" y="38481"/>
                      <a:pt x="18193" y="41338"/>
                    </a:cubicBezTo>
                    <a:cubicBezTo>
                      <a:pt x="19336" y="44196"/>
                      <a:pt x="20955" y="46387"/>
                      <a:pt x="22956" y="47816"/>
                    </a:cubicBezTo>
                    <a:cubicBezTo>
                      <a:pt x="24955" y="49244"/>
                      <a:pt x="27337" y="50006"/>
                      <a:pt x="30099" y="50006"/>
                    </a:cubicBezTo>
                    <a:cubicBezTo>
                      <a:pt x="34766" y="50006"/>
                      <a:pt x="38291" y="48387"/>
                      <a:pt x="40767" y="45053"/>
                    </a:cubicBezTo>
                    <a:close/>
                  </a:path>
                </a:pathLst>
              </a:custGeom>
              <a:solidFill>
                <a:srgbClr val="231F20"/>
              </a:solidFill>
              <a:ln w="9525" cap="flat">
                <a:noFill/>
                <a:prstDash val="solid"/>
                <a:miter/>
              </a:ln>
            </p:spPr>
            <p:txBody>
              <a:bodyPr rtlCol="0" anchor="ctr"/>
              <a:lstStyle/>
              <a:p>
                <a:pPr marL="0" marR="0" lvl="0" indent="0" algn="l" defTabSz="913578" rtl="0" eaLnBrk="1" fontAlgn="auto" latinLnBrk="0" hangingPunct="1">
                  <a:lnSpc>
                    <a:spcPct val="100000"/>
                  </a:lnSpc>
                  <a:spcBef>
                    <a:spcPts val="0"/>
                  </a:spcBef>
                  <a:spcAft>
                    <a:spcPts val="0"/>
                  </a:spcAft>
                  <a:buClrTx/>
                  <a:buSzTx/>
                  <a:buFontTx/>
                  <a:buNone/>
                  <a:tabLst/>
                  <a:defRPr/>
                </a:pPr>
                <a:endParaRPr kumimoji="0" lang="en-US" sz="17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387" name="Freeform: Shape 212">
                <a:extLst>
                  <a:ext uri="{FF2B5EF4-FFF2-40B4-BE49-F238E27FC236}">
                    <a16:creationId xmlns:a16="http://schemas.microsoft.com/office/drawing/2014/main" id="{C994F38A-C861-84DD-ED60-559E6A228488}"/>
                  </a:ext>
                </a:extLst>
              </p:cNvPr>
              <p:cNvSpPr/>
              <p:nvPr/>
            </p:nvSpPr>
            <p:spPr>
              <a:xfrm>
                <a:off x="6588061" y="3342893"/>
                <a:ext cx="35242" cy="61722"/>
              </a:xfrm>
              <a:custGeom>
                <a:avLst/>
                <a:gdLst>
                  <a:gd name="connsiteX0" fmla="*/ 381 w 35242"/>
                  <a:gd name="connsiteY0" fmla="*/ 15526 h 61722"/>
                  <a:gd name="connsiteX1" fmla="*/ 286 w 35242"/>
                  <a:gd name="connsiteY1" fmla="*/ 7144 h 61722"/>
                  <a:gd name="connsiteX2" fmla="*/ 0 w 35242"/>
                  <a:gd name="connsiteY2" fmla="*/ 1334 h 61722"/>
                  <a:gd name="connsiteX3" fmla="*/ 14954 w 35242"/>
                  <a:gd name="connsiteY3" fmla="*/ 1334 h 61722"/>
                  <a:gd name="connsiteX4" fmla="*/ 15431 w 35242"/>
                  <a:gd name="connsiteY4" fmla="*/ 6096 h 61722"/>
                  <a:gd name="connsiteX5" fmla="*/ 15716 w 35242"/>
                  <a:gd name="connsiteY5" fmla="*/ 11811 h 61722"/>
                  <a:gd name="connsiteX6" fmla="*/ 15907 w 35242"/>
                  <a:gd name="connsiteY6" fmla="*/ 11811 h 61722"/>
                  <a:gd name="connsiteX7" fmla="*/ 19336 w 35242"/>
                  <a:gd name="connsiteY7" fmla="*/ 5144 h 61722"/>
                  <a:gd name="connsiteX8" fmla="*/ 23527 w 35242"/>
                  <a:gd name="connsiteY8" fmla="*/ 1334 h 61722"/>
                  <a:gd name="connsiteX9" fmla="*/ 30195 w 35242"/>
                  <a:gd name="connsiteY9" fmla="*/ 0 h 61722"/>
                  <a:gd name="connsiteX10" fmla="*/ 33147 w 35242"/>
                  <a:gd name="connsiteY10" fmla="*/ 286 h 61722"/>
                  <a:gd name="connsiteX11" fmla="*/ 35243 w 35242"/>
                  <a:gd name="connsiteY11" fmla="*/ 953 h 61722"/>
                  <a:gd name="connsiteX12" fmla="*/ 34766 w 35242"/>
                  <a:gd name="connsiteY12" fmla="*/ 14478 h 61722"/>
                  <a:gd name="connsiteX13" fmla="*/ 33624 w 35242"/>
                  <a:gd name="connsiteY13" fmla="*/ 14288 h 61722"/>
                  <a:gd name="connsiteX14" fmla="*/ 28480 w 35242"/>
                  <a:gd name="connsiteY14" fmla="*/ 13716 h 61722"/>
                  <a:gd name="connsiteX15" fmla="*/ 19431 w 35242"/>
                  <a:gd name="connsiteY15" fmla="*/ 18479 h 61722"/>
                  <a:gd name="connsiteX16" fmla="*/ 16193 w 35242"/>
                  <a:gd name="connsiteY16" fmla="*/ 32099 h 61722"/>
                  <a:gd name="connsiteX17" fmla="*/ 16193 w 35242"/>
                  <a:gd name="connsiteY17" fmla="*/ 61722 h 61722"/>
                  <a:gd name="connsiteX18" fmla="*/ 477 w 35242"/>
                  <a:gd name="connsiteY18" fmla="*/ 61722 h 61722"/>
                  <a:gd name="connsiteX19" fmla="*/ 477 w 35242"/>
                  <a:gd name="connsiteY19" fmla="*/ 15526 h 61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5242" h="61722">
                    <a:moveTo>
                      <a:pt x="381" y="15526"/>
                    </a:moveTo>
                    <a:cubicBezTo>
                      <a:pt x="381" y="12954"/>
                      <a:pt x="381" y="10096"/>
                      <a:pt x="286" y="7144"/>
                    </a:cubicBezTo>
                    <a:cubicBezTo>
                      <a:pt x="191" y="4191"/>
                      <a:pt x="95" y="2286"/>
                      <a:pt x="0" y="1334"/>
                    </a:cubicBezTo>
                    <a:lnTo>
                      <a:pt x="14954" y="1334"/>
                    </a:lnTo>
                    <a:cubicBezTo>
                      <a:pt x="15145" y="2000"/>
                      <a:pt x="15240" y="3620"/>
                      <a:pt x="15431" y="6096"/>
                    </a:cubicBezTo>
                    <a:cubicBezTo>
                      <a:pt x="15621" y="8572"/>
                      <a:pt x="15716" y="10478"/>
                      <a:pt x="15716" y="11811"/>
                    </a:cubicBezTo>
                    <a:lnTo>
                      <a:pt x="15907" y="11811"/>
                    </a:lnTo>
                    <a:cubicBezTo>
                      <a:pt x="17050" y="8954"/>
                      <a:pt x="18193" y="6763"/>
                      <a:pt x="19336" y="5144"/>
                    </a:cubicBezTo>
                    <a:cubicBezTo>
                      <a:pt x="20479" y="3524"/>
                      <a:pt x="21813" y="2286"/>
                      <a:pt x="23527" y="1334"/>
                    </a:cubicBezTo>
                    <a:cubicBezTo>
                      <a:pt x="25241" y="381"/>
                      <a:pt x="27432" y="0"/>
                      <a:pt x="30195" y="0"/>
                    </a:cubicBezTo>
                    <a:cubicBezTo>
                      <a:pt x="31242" y="0"/>
                      <a:pt x="32195" y="0"/>
                      <a:pt x="33147" y="286"/>
                    </a:cubicBezTo>
                    <a:cubicBezTo>
                      <a:pt x="34100" y="571"/>
                      <a:pt x="34766" y="667"/>
                      <a:pt x="35243" y="953"/>
                    </a:cubicBezTo>
                    <a:lnTo>
                      <a:pt x="34766" y="14478"/>
                    </a:lnTo>
                    <a:cubicBezTo>
                      <a:pt x="34290" y="14478"/>
                      <a:pt x="33814" y="14288"/>
                      <a:pt x="33624" y="14288"/>
                    </a:cubicBezTo>
                    <a:cubicBezTo>
                      <a:pt x="31623" y="13907"/>
                      <a:pt x="29909" y="13716"/>
                      <a:pt x="28480" y="13716"/>
                    </a:cubicBezTo>
                    <a:cubicBezTo>
                      <a:pt x="24575" y="13716"/>
                      <a:pt x="21622" y="15335"/>
                      <a:pt x="19431" y="18479"/>
                    </a:cubicBezTo>
                    <a:cubicBezTo>
                      <a:pt x="17240" y="21622"/>
                      <a:pt x="16193" y="26194"/>
                      <a:pt x="16193" y="32099"/>
                    </a:cubicBezTo>
                    <a:lnTo>
                      <a:pt x="16193" y="61722"/>
                    </a:lnTo>
                    <a:lnTo>
                      <a:pt x="477" y="61722"/>
                    </a:lnTo>
                    <a:lnTo>
                      <a:pt x="477" y="15526"/>
                    </a:lnTo>
                    <a:close/>
                  </a:path>
                </a:pathLst>
              </a:custGeom>
              <a:solidFill>
                <a:srgbClr val="231F20"/>
              </a:solidFill>
              <a:ln w="9525" cap="flat">
                <a:noFill/>
                <a:prstDash val="solid"/>
                <a:miter/>
              </a:ln>
            </p:spPr>
            <p:txBody>
              <a:bodyPr rtlCol="0" anchor="ctr"/>
              <a:lstStyle/>
              <a:p>
                <a:pPr marL="0" marR="0" lvl="0" indent="0" algn="l" defTabSz="913578" rtl="0" eaLnBrk="1" fontAlgn="auto" latinLnBrk="0" hangingPunct="1">
                  <a:lnSpc>
                    <a:spcPct val="100000"/>
                  </a:lnSpc>
                  <a:spcBef>
                    <a:spcPts val="0"/>
                  </a:spcBef>
                  <a:spcAft>
                    <a:spcPts val="0"/>
                  </a:spcAft>
                  <a:buClrTx/>
                  <a:buSzTx/>
                  <a:buFontTx/>
                  <a:buNone/>
                  <a:tabLst/>
                  <a:defRPr/>
                </a:pPr>
                <a:endParaRPr kumimoji="0" lang="en-US" sz="17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388" name="Freeform: Shape 213">
                <a:extLst>
                  <a:ext uri="{FF2B5EF4-FFF2-40B4-BE49-F238E27FC236}">
                    <a16:creationId xmlns:a16="http://schemas.microsoft.com/office/drawing/2014/main" id="{33E3E754-6EE4-C87C-1E45-511F31617C42}"/>
                  </a:ext>
                </a:extLst>
              </p:cNvPr>
              <p:cNvSpPr/>
              <p:nvPr/>
            </p:nvSpPr>
            <p:spPr>
              <a:xfrm>
                <a:off x="6632924" y="3321748"/>
                <a:ext cx="55721" cy="82867"/>
              </a:xfrm>
              <a:custGeom>
                <a:avLst/>
                <a:gdLst>
                  <a:gd name="connsiteX0" fmla="*/ 0 w 55721"/>
                  <a:gd name="connsiteY0" fmla="*/ 0 h 82867"/>
                  <a:gd name="connsiteX1" fmla="*/ 15716 w 55721"/>
                  <a:gd name="connsiteY1" fmla="*/ 0 h 82867"/>
                  <a:gd name="connsiteX2" fmla="*/ 15716 w 55721"/>
                  <a:gd name="connsiteY2" fmla="*/ 47244 h 82867"/>
                  <a:gd name="connsiteX3" fmla="*/ 36671 w 55721"/>
                  <a:gd name="connsiteY3" fmla="*/ 22574 h 82867"/>
                  <a:gd name="connsiteX4" fmla="*/ 54102 w 55721"/>
                  <a:gd name="connsiteY4" fmla="*/ 22574 h 82867"/>
                  <a:gd name="connsiteX5" fmla="*/ 32861 w 55721"/>
                  <a:gd name="connsiteY5" fmla="*/ 46101 h 82867"/>
                  <a:gd name="connsiteX6" fmla="*/ 55721 w 55721"/>
                  <a:gd name="connsiteY6" fmla="*/ 82868 h 82867"/>
                  <a:gd name="connsiteX7" fmla="*/ 38576 w 55721"/>
                  <a:gd name="connsiteY7" fmla="*/ 82868 h 82867"/>
                  <a:gd name="connsiteX8" fmla="*/ 22479 w 55721"/>
                  <a:gd name="connsiteY8" fmla="*/ 55531 h 82867"/>
                  <a:gd name="connsiteX9" fmla="*/ 15716 w 55721"/>
                  <a:gd name="connsiteY9" fmla="*/ 62484 h 82867"/>
                  <a:gd name="connsiteX10" fmla="*/ 15716 w 55721"/>
                  <a:gd name="connsiteY10" fmla="*/ 82868 h 82867"/>
                  <a:gd name="connsiteX11" fmla="*/ 0 w 55721"/>
                  <a:gd name="connsiteY11" fmla="*/ 82868 h 82867"/>
                  <a:gd name="connsiteX12" fmla="*/ 0 w 55721"/>
                  <a:gd name="connsiteY12" fmla="*/ 0 h 82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5721" h="82867">
                    <a:moveTo>
                      <a:pt x="0" y="0"/>
                    </a:moveTo>
                    <a:lnTo>
                      <a:pt x="15716" y="0"/>
                    </a:lnTo>
                    <a:lnTo>
                      <a:pt x="15716" y="47244"/>
                    </a:lnTo>
                    <a:lnTo>
                      <a:pt x="36671" y="22574"/>
                    </a:lnTo>
                    <a:lnTo>
                      <a:pt x="54102" y="22574"/>
                    </a:lnTo>
                    <a:lnTo>
                      <a:pt x="32861" y="46101"/>
                    </a:lnTo>
                    <a:lnTo>
                      <a:pt x="55721" y="82868"/>
                    </a:lnTo>
                    <a:lnTo>
                      <a:pt x="38576" y="82868"/>
                    </a:lnTo>
                    <a:lnTo>
                      <a:pt x="22479" y="55531"/>
                    </a:lnTo>
                    <a:lnTo>
                      <a:pt x="15716" y="62484"/>
                    </a:lnTo>
                    <a:lnTo>
                      <a:pt x="15716" y="82868"/>
                    </a:lnTo>
                    <a:lnTo>
                      <a:pt x="0" y="82868"/>
                    </a:lnTo>
                    <a:lnTo>
                      <a:pt x="0" y="0"/>
                    </a:lnTo>
                    <a:close/>
                  </a:path>
                </a:pathLst>
              </a:custGeom>
              <a:solidFill>
                <a:srgbClr val="231F20"/>
              </a:solidFill>
              <a:ln w="9525" cap="flat">
                <a:noFill/>
                <a:prstDash val="solid"/>
                <a:miter/>
              </a:ln>
            </p:spPr>
            <p:txBody>
              <a:bodyPr rtlCol="0" anchor="ctr"/>
              <a:lstStyle/>
              <a:p>
                <a:pPr marL="0" marR="0" lvl="0" indent="0" algn="l" defTabSz="913578" rtl="0" eaLnBrk="1" fontAlgn="auto" latinLnBrk="0" hangingPunct="1">
                  <a:lnSpc>
                    <a:spcPct val="100000"/>
                  </a:lnSpc>
                  <a:spcBef>
                    <a:spcPts val="0"/>
                  </a:spcBef>
                  <a:spcAft>
                    <a:spcPts val="0"/>
                  </a:spcAft>
                  <a:buClrTx/>
                  <a:buSzTx/>
                  <a:buFontTx/>
                  <a:buNone/>
                  <a:tabLst/>
                  <a:defRPr/>
                </a:pPr>
                <a:endParaRPr kumimoji="0" lang="en-US" sz="17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grpSp>
        <p:grpSp>
          <p:nvGrpSpPr>
            <p:cNvPr id="272" name="Graphic 2">
              <a:extLst>
                <a:ext uri="{FF2B5EF4-FFF2-40B4-BE49-F238E27FC236}">
                  <a16:creationId xmlns:a16="http://schemas.microsoft.com/office/drawing/2014/main" id="{7C08F06A-DD7D-A284-A10C-3B71E6BD2D85}"/>
                </a:ext>
              </a:extLst>
            </p:cNvPr>
            <p:cNvGrpSpPr/>
            <p:nvPr/>
          </p:nvGrpSpPr>
          <p:grpSpPr>
            <a:xfrm>
              <a:off x="5177590" y="3436326"/>
              <a:ext cx="919319" cy="516960"/>
              <a:chOff x="4286345" y="3922109"/>
              <a:chExt cx="691610" cy="376713"/>
            </a:xfrm>
            <a:solidFill>
              <a:srgbClr val="231F20"/>
            </a:solidFill>
          </p:grpSpPr>
          <p:sp>
            <p:nvSpPr>
              <p:cNvPr id="334" name="Freeform: Shape 159">
                <a:extLst>
                  <a:ext uri="{FF2B5EF4-FFF2-40B4-BE49-F238E27FC236}">
                    <a16:creationId xmlns:a16="http://schemas.microsoft.com/office/drawing/2014/main" id="{0547A394-CC75-75E1-1F56-39FE7F9FDC7F}"/>
                  </a:ext>
                </a:extLst>
              </p:cNvPr>
              <p:cNvSpPr/>
              <p:nvPr/>
            </p:nvSpPr>
            <p:spPr>
              <a:xfrm>
                <a:off x="4443031" y="3922109"/>
                <a:ext cx="67151" cy="78676"/>
              </a:xfrm>
              <a:custGeom>
                <a:avLst/>
                <a:gdLst>
                  <a:gd name="connsiteX0" fmla="*/ 0 w 67151"/>
                  <a:gd name="connsiteY0" fmla="*/ 0 h 78676"/>
                  <a:gd name="connsiteX1" fmla="*/ 16478 w 67151"/>
                  <a:gd name="connsiteY1" fmla="*/ 0 h 78676"/>
                  <a:gd name="connsiteX2" fmla="*/ 16478 w 67151"/>
                  <a:gd name="connsiteY2" fmla="*/ 30671 h 78676"/>
                  <a:gd name="connsiteX3" fmla="*/ 50768 w 67151"/>
                  <a:gd name="connsiteY3" fmla="*/ 30671 h 78676"/>
                  <a:gd name="connsiteX4" fmla="*/ 50768 w 67151"/>
                  <a:gd name="connsiteY4" fmla="*/ 0 h 78676"/>
                  <a:gd name="connsiteX5" fmla="*/ 67151 w 67151"/>
                  <a:gd name="connsiteY5" fmla="*/ 0 h 78676"/>
                  <a:gd name="connsiteX6" fmla="*/ 67151 w 67151"/>
                  <a:gd name="connsiteY6" fmla="*/ 78677 h 78676"/>
                  <a:gd name="connsiteX7" fmla="*/ 50768 w 67151"/>
                  <a:gd name="connsiteY7" fmla="*/ 78677 h 78676"/>
                  <a:gd name="connsiteX8" fmla="*/ 50768 w 67151"/>
                  <a:gd name="connsiteY8" fmla="*/ 45434 h 78676"/>
                  <a:gd name="connsiteX9" fmla="*/ 16478 w 67151"/>
                  <a:gd name="connsiteY9" fmla="*/ 45434 h 78676"/>
                  <a:gd name="connsiteX10" fmla="*/ 16478 w 67151"/>
                  <a:gd name="connsiteY10" fmla="*/ 78677 h 78676"/>
                  <a:gd name="connsiteX11" fmla="*/ 0 w 67151"/>
                  <a:gd name="connsiteY11" fmla="*/ 78677 h 78676"/>
                  <a:gd name="connsiteX12" fmla="*/ 0 w 67151"/>
                  <a:gd name="connsiteY12" fmla="*/ 0 h 78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151" h="78676">
                    <a:moveTo>
                      <a:pt x="0" y="0"/>
                    </a:moveTo>
                    <a:lnTo>
                      <a:pt x="16478" y="0"/>
                    </a:lnTo>
                    <a:lnTo>
                      <a:pt x="16478" y="30671"/>
                    </a:lnTo>
                    <a:lnTo>
                      <a:pt x="50768" y="30671"/>
                    </a:lnTo>
                    <a:lnTo>
                      <a:pt x="50768" y="0"/>
                    </a:lnTo>
                    <a:lnTo>
                      <a:pt x="67151" y="0"/>
                    </a:lnTo>
                    <a:lnTo>
                      <a:pt x="67151" y="78677"/>
                    </a:lnTo>
                    <a:lnTo>
                      <a:pt x="50768" y="78677"/>
                    </a:lnTo>
                    <a:lnTo>
                      <a:pt x="50768" y="45434"/>
                    </a:lnTo>
                    <a:lnTo>
                      <a:pt x="16478" y="45434"/>
                    </a:lnTo>
                    <a:lnTo>
                      <a:pt x="16478" y="78677"/>
                    </a:lnTo>
                    <a:lnTo>
                      <a:pt x="0" y="78677"/>
                    </a:lnTo>
                    <a:lnTo>
                      <a:pt x="0" y="0"/>
                    </a:lnTo>
                    <a:close/>
                  </a:path>
                </a:pathLst>
              </a:custGeom>
              <a:solidFill>
                <a:srgbClr val="231F20"/>
              </a:solidFill>
              <a:ln w="9525" cap="flat">
                <a:noFill/>
                <a:prstDash val="solid"/>
                <a:miter/>
              </a:ln>
            </p:spPr>
            <p:txBody>
              <a:bodyPr rtlCol="0" anchor="ctr"/>
              <a:lstStyle/>
              <a:p>
                <a:pPr marL="0" marR="0" lvl="0" indent="0" algn="l" defTabSz="913578" rtl="0" eaLnBrk="1" fontAlgn="auto" latinLnBrk="0" hangingPunct="1">
                  <a:lnSpc>
                    <a:spcPct val="100000"/>
                  </a:lnSpc>
                  <a:spcBef>
                    <a:spcPts val="0"/>
                  </a:spcBef>
                  <a:spcAft>
                    <a:spcPts val="0"/>
                  </a:spcAft>
                  <a:buClrTx/>
                  <a:buSzTx/>
                  <a:buFontTx/>
                  <a:buNone/>
                  <a:tabLst/>
                  <a:defRPr/>
                </a:pPr>
                <a:endParaRPr kumimoji="0" lang="en-US" sz="17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335" name="Freeform: Shape 160">
                <a:extLst>
                  <a:ext uri="{FF2B5EF4-FFF2-40B4-BE49-F238E27FC236}">
                    <a16:creationId xmlns:a16="http://schemas.microsoft.com/office/drawing/2014/main" id="{C5E48E7F-27B7-E804-9D62-E8CD0302EEA5}"/>
                  </a:ext>
                </a:extLst>
              </p:cNvPr>
              <p:cNvSpPr/>
              <p:nvPr/>
            </p:nvSpPr>
            <p:spPr>
              <a:xfrm>
                <a:off x="4525041" y="3940492"/>
                <a:ext cx="55244" cy="61531"/>
              </a:xfrm>
              <a:custGeom>
                <a:avLst/>
                <a:gdLst>
                  <a:gd name="connsiteX0" fmla="*/ 4763 w 55244"/>
                  <a:gd name="connsiteY0" fmla="*/ 55150 h 61531"/>
                  <a:gd name="connsiteX1" fmla="*/ 0 w 55244"/>
                  <a:gd name="connsiteY1" fmla="*/ 38290 h 61531"/>
                  <a:gd name="connsiteX2" fmla="*/ 0 w 55244"/>
                  <a:gd name="connsiteY2" fmla="*/ 0 h 61531"/>
                  <a:gd name="connsiteX3" fmla="*/ 15716 w 55244"/>
                  <a:gd name="connsiteY3" fmla="*/ 0 h 61531"/>
                  <a:gd name="connsiteX4" fmla="*/ 15716 w 55244"/>
                  <a:gd name="connsiteY4" fmla="*/ 33814 h 61531"/>
                  <a:gd name="connsiteX5" fmla="*/ 18002 w 55244"/>
                  <a:gd name="connsiteY5" fmla="*/ 44291 h 61531"/>
                  <a:gd name="connsiteX6" fmla="*/ 25908 w 55244"/>
                  <a:gd name="connsiteY6" fmla="*/ 48006 h 61531"/>
                  <a:gd name="connsiteX7" fmla="*/ 32671 w 55244"/>
                  <a:gd name="connsiteY7" fmla="*/ 46006 h 61531"/>
                  <a:gd name="connsiteX8" fmla="*/ 37433 w 55244"/>
                  <a:gd name="connsiteY8" fmla="*/ 40481 h 61531"/>
                  <a:gd name="connsiteX9" fmla="*/ 39148 w 55244"/>
                  <a:gd name="connsiteY9" fmla="*/ 32290 h 61531"/>
                  <a:gd name="connsiteX10" fmla="*/ 39148 w 55244"/>
                  <a:gd name="connsiteY10" fmla="*/ 0 h 61531"/>
                  <a:gd name="connsiteX11" fmla="*/ 54864 w 55244"/>
                  <a:gd name="connsiteY11" fmla="*/ 0 h 61531"/>
                  <a:gd name="connsiteX12" fmla="*/ 54864 w 55244"/>
                  <a:gd name="connsiteY12" fmla="*/ 46863 h 61531"/>
                  <a:gd name="connsiteX13" fmla="*/ 54959 w 55244"/>
                  <a:gd name="connsiteY13" fmla="*/ 54769 h 61531"/>
                  <a:gd name="connsiteX14" fmla="*/ 55245 w 55244"/>
                  <a:gd name="connsiteY14" fmla="*/ 60388 h 61531"/>
                  <a:gd name="connsiteX15" fmla="*/ 40291 w 55244"/>
                  <a:gd name="connsiteY15" fmla="*/ 60388 h 61531"/>
                  <a:gd name="connsiteX16" fmla="*/ 39910 w 55244"/>
                  <a:gd name="connsiteY16" fmla="*/ 55340 h 61531"/>
                  <a:gd name="connsiteX17" fmla="*/ 39624 w 55244"/>
                  <a:gd name="connsiteY17" fmla="*/ 49530 h 61531"/>
                  <a:gd name="connsiteX18" fmla="*/ 39338 w 55244"/>
                  <a:gd name="connsiteY18" fmla="*/ 49530 h 61531"/>
                  <a:gd name="connsiteX19" fmla="*/ 31432 w 55244"/>
                  <a:gd name="connsiteY19" fmla="*/ 58674 h 61531"/>
                  <a:gd name="connsiteX20" fmla="*/ 19907 w 55244"/>
                  <a:gd name="connsiteY20" fmla="*/ 61531 h 61531"/>
                  <a:gd name="connsiteX21" fmla="*/ 4858 w 55244"/>
                  <a:gd name="connsiteY21" fmla="*/ 55245 h 61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5244" h="61531">
                    <a:moveTo>
                      <a:pt x="4763" y="55150"/>
                    </a:moveTo>
                    <a:cubicBezTo>
                      <a:pt x="1619" y="50959"/>
                      <a:pt x="0" y="45339"/>
                      <a:pt x="0" y="38290"/>
                    </a:cubicBezTo>
                    <a:lnTo>
                      <a:pt x="0" y="0"/>
                    </a:lnTo>
                    <a:lnTo>
                      <a:pt x="15716" y="0"/>
                    </a:lnTo>
                    <a:lnTo>
                      <a:pt x="15716" y="33814"/>
                    </a:lnTo>
                    <a:cubicBezTo>
                      <a:pt x="15716" y="38290"/>
                      <a:pt x="16478" y="41815"/>
                      <a:pt x="18002" y="44291"/>
                    </a:cubicBezTo>
                    <a:cubicBezTo>
                      <a:pt x="19526" y="46767"/>
                      <a:pt x="22193" y="48006"/>
                      <a:pt x="25908" y="48006"/>
                    </a:cubicBezTo>
                    <a:cubicBezTo>
                      <a:pt x="28384" y="48006"/>
                      <a:pt x="30671" y="47339"/>
                      <a:pt x="32671" y="46006"/>
                    </a:cubicBezTo>
                    <a:cubicBezTo>
                      <a:pt x="34671" y="44672"/>
                      <a:pt x="36290" y="42863"/>
                      <a:pt x="37433" y="40481"/>
                    </a:cubicBezTo>
                    <a:cubicBezTo>
                      <a:pt x="38576" y="38100"/>
                      <a:pt x="39148" y="35338"/>
                      <a:pt x="39148" y="32290"/>
                    </a:cubicBezTo>
                    <a:lnTo>
                      <a:pt x="39148" y="0"/>
                    </a:lnTo>
                    <a:lnTo>
                      <a:pt x="54864" y="0"/>
                    </a:lnTo>
                    <a:lnTo>
                      <a:pt x="54864" y="46863"/>
                    </a:lnTo>
                    <a:cubicBezTo>
                      <a:pt x="54864" y="49435"/>
                      <a:pt x="54864" y="52006"/>
                      <a:pt x="54959" y="54769"/>
                    </a:cubicBezTo>
                    <a:cubicBezTo>
                      <a:pt x="55054" y="57531"/>
                      <a:pt x="55150" y="59341"/>
                      <a:pt x="55245" y="60388"/>
                    </a:cubicBezTo>
                    <a:lnTo>
                      <a:pt x="40291" y="60388"/>
                    </a:lnTo>
                    <a:cubicBezTo>
                      <a:pt x="40196" y="59531"/>
                      <a:pt x="40005" y="57817"/>
                      <a:pt x="39910" y="55340"/>
                    </a:cubicBezTo>
                    <a:cubicBezTo>
                      <a:pt x="39814" y="52864"/>
                      <a:pt x="39624" y="50959"/>
                      <a:pt x="39624" y="49530"/>
                    </a:cubicBezTo>
                    <a:lnTo>
                      <a:pt x="39338" y="49530"/>
                    </a:lnTo>
                    <a:cubicBezTo>
                      <a:pt x="37338" y="53626"/>
                      <a:pt x="34671" y="56674"/>
                      <a:pt x="31432" y="58674"/>
                    </a:cubicBezTo>
                    <a:cubicBezTo>
                      <a:pt x="28194" y="60674"/>
                      <a:pt x="24384" y="61531"/>
                      <a:pt x="19907" y="61531"/>
                    </a:cubicBezTo>
                    <a:cubicBezTo>
                      <a:pt x="13049" y="61531"/>
                      <a:pt x="8001" y="59436"/>
                      <a:pt x="4858" y="55245"/>
                    </a:cubicBezTo>
                    <a:close/>
                  </a:path>
                </a:pathLst>
              </a:custGeom>
              <a:solidFill>
                <a:srgbClr val="231F20"/>
              </a:solidFill>
              <a:ln w="9525" cap="flat">
                <a:noFill/>
                <a:prstDash val="solid"/>
                <a:miter/>
              </a:ln>
            </p:spPr>
            <p:txBody>
              <a:bodyPr rtlCol="0" anchor="ctr"/>
              <a:lstStyle/>
              <a:p>
                <a:pPr marL="0" marR="0" lvl="0" indent="0" algn="l" defTabSz="913578" rtl="0" eaLnBrk="1" fontAlgn="auto" latinLnBrk="0" hangingPunct="1">
                  <a:lnSpc>
                    <a:spcPct val="100000"/>
                  </a:lnSpc>
                  <a:spcBef>
                    <a:spcPts val="0"/>
                  </a:spcBef>
                  <a:spcAft>
                    <a:spcPts val="0"/>
                  </a:spcAft>
                  <a:buClrTx/>
                  <a:buSzTx/>
                  <a:buFontTx/>
                  <a:buNone/>
                  <a:tabLst/>
                  <a:defRPr/>
                </a:pPr>
                <a:endParaRPr kumimoji="0" lang="en-US" sz="17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336" name="Freeform: Shape 161">
                <a:extLst>
                  <a:ext uri="{FF2B5EF4-FFF2-40B4-BE49-F238E27FC236}">
                    <a16:creationId xmlns:a16="http://schemas.microsoft.com/office/drawing/2014/main" id="{5375AA30-04A5-44A9-2C79-5B22D09FF713}"/>
                  </a:ext>
                </a:extLst>
              </p:cNvPr>
              <p:cNvSpPr/>
              <p:nvPr/>
            </p:nvSpPr>
            <p:spPr>
              <a:xfrm>
                <a:off x="4595336" y="3939254"/>
                <a:ext cx="87058" cy="61721"/>
              </a:xfrm>
              <a:custGeom>
                <a:avLst/>
                <a:gdLst>
                  <a:gd name="connsiteX0" fmla="*/ 381 w 87058"/>
                  <a:gd name="connsiteY0" fmla="*/ 14668 h 61721"/>
                  <a:gd name="connsiteX1" fmla="*/ 286 w 87058"/>
                  <a:gd name="connsiteY1" fmla="*/ 6763 h 61721"/>
                  <a:gd name="connsiteX2" fmla="*/ 0 w 87058"/>
                  <a:gd name="connsiteY2" fmla="*/ 1238 h 61721"/>
                  <a:gd name="connsiteX3" fmla="*/ 14954 w 87058"/>
                  <a:gd name="connsiteY3" fmla="*/ 1238 h 61721"/>
                  <a:gd name="connsiteX4" fmla="*/ 15430 w 87058"/>
                  <a:gd name="connsiteY4" fmla="*/ 6191 h 61721"/>
                  <a:gd name="connsiteX5" fmla="*/ 15716 w 87058"/>
                  <a:gd name="connsiteY5" fmla="*/ 12097 h 61721"/>
                  <a:gd name="connsiteX6" fmla="*/ 15907 w 87058"/>
                  <a:gd name="connsiteY6" fmla="*/ 12097 h 61721"/>
                  <a:gd name="connsiteX7" fmla="*/ 23146 w 87058"/>
                  <a:gd name="connsiteY7" fmla="*/ 2953 h 61721"/>
                  <a:gd name="connsiteX8" fmla="*/ 33528 w 87058"/>
                  <a:gd name="connsiteY8" fmla="*/ 0 h 61721"/>
                  <a:gd name="connsiteX9" fmla="*/ 44577 w 87058"/>
                  <a:gd name="connsiteY9" fmla="*/ 3143 h 61721"/>
                  <a:gd name="connsiteX10" fmla="*/ 50292 w 87058"/>
                  <a:gd name="connsiteY10" fmla="*/ 12192 h 61721"/>
                  <a:gd name="connsiteX11" fmla="*/ 50673 w 87058"/>
                  <a:gd name="connsiteY11" fmla="*/ 12192 h 61721"/>
                  <a:gd name="connsiteX12" fmla="*/ 58102 w 87058"/>
                  <a:gd name="connsiteY12" fmla="*/ 2857 h 61721"/>
                  <a:gd name="connsiteX13" fmla="*/ 68961 w 87058"/>
                  <a:gd name="connsiteY13" fmla="*/ 95 h 61721"/>
                  <a:gd name="connsiteX14" fmla="*/ 82677 w 87058"/>
                  <a:gd name="connsiteY14" fmla="*/ 6477 h 61721"/>
                  <a:gd name="connsiteX15" fmla="*/ 87058 w 87058"/>
                  <a:gd name="connsiteY15" fmla="*/ 23431 h 61721"/>
                  <a:gd name="connsiteX16" fmla="*/ 87058 w 87058"/>
                  <a:gd name="connsiteY16" fmla="*/ 61722 h 61721"/>
                  <a:gd name="connsiteX17" fmla="*/ 71533 w 87058"/>
                  <a:gd name="connsiteY17" fmla="*/ 61722 h 61721"/>
                  <a:gd name="connsiteX18" fmla="*/ 71533 w 87058"/>
                  <a:gd name="connsiteY18" fmla="*/ 27908 h 61721"/>
                  <a:gd name="connsiteX19" fmla="*/ 69532 w 87058"/>
                  <a:gd name="connsiteY19" fmla="*/ 17431 h 61721"/>
                  <a:gd name="connsiteX20" fmla="*/ 62865 w 87058"/>
                  <a:gd name="connsiteY20" fmla="*/ 13716 h 61721"/>
                  <a:gd name="connsiteX21" fmla="*/ 57245 w 87058"/>
                  <a:gd name="connsiteY21" fmla="*/ 15621 h 61721"/>
                  <a:gd name="connsiteX22" fmla="*/ 53245 w 87058"/>
                  <a:gd name="connsiteY22" fmla="*/ 20860 h 61721"/>
                  <a:gd name="connsiteX23" fmla="*/ 51625 w 87058"/>
                  <a:gd name="connsiteY23" fmla="*/ 28575 h 61721"/>
                  <a:gd name="connsiteX24" fmla="*/ 51625 w 87058"/>
                  <a:gd name="connsiteY24" fmla="*/ 61722 h 61721"/>
                  <a:gd name="connsiteX25" fmla="*/ 36100 w 87058"/>
                  <a:gd name="connsiteY25" fmla="*/ 61722 h 61721"/>
                  <a:gd name="connsiteX26" fmla="*/ 36100 w 87058"/>
                  <a:gd name="connsiteY26" fmla="*/ 27908 h 61721"/>
                  <a:gd name="connsiteX27" fmla="*/ 34099 w 87058"/>
                  <a:gd name="connsiteY27" fmla="*/ 17431 h 61721"/>
                  <a:gd name="connsiteX28" fmla="*/ 27432 w 87058"/>
                  <a:gd name="connsiteY28" fmla="*/ 13716 h 61721"/>
                  <a:gd name="connsiteX29" fmla="*/ 21717 w 87058"/>
                  <a:gd name="connsiteY29" fmla="*/ 15716 h 61721"/>
                  <a:gd name="connsiteX30" fmla="*/ 17716 w 87058"/>
                  <a:gd name="connsiteY30" fmla="*/ 21241 h 61721"/>
                  <a:gd name="connsiteX31" fmla="*/ 16288 w 87058"/>
                  <a:gd name="connsiteY31" fmla="*/ 29337 h 61721"/>
                  <a:gd name="connsiteX32" fmla="*/ 16288 w 87058"/>
                  <a:gd name="connsiteY32" fmla="*/ 61722 h 61721"/>
                  <a:gd name="connsiteX33" fmla="*/ 571 w 87058"/>
                  <a:gd name="connsiteY33" fmla="*/ 61722 h 61721"/>
                  <a:gd name="connsiteX34" fmla="*/ 571 w 87058"/>
                  <a:gd name="connsiteY34" fmla="*/ 14859 h 617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87058" h="61721">
                    <a:moveTo>
                      <a:pt x="381" y="14668"/>
                    </a:moveTo>
                    <a:cubicBezTo>
                      <a:pt x="381" y="12097"/>
                      <a:pt x="381" y="9430"/>
                      <a:pt x="286" y="6763"/>
                    </a:cubicBezTo>
                    <a:cubicBezTo>
                      <a:pt x="190" y="4096"/>
                      <a:pt x="95" y="2191"/>
                      <a:pt x="0" y="1238"/>
                    </a:cubicBezTo>
                    <a:lnTo>
                      <a:pt x="14954" y="1238"/>
                    </a:lnTo>
                    <a:cubicBezTo>
                      <a:pt x="15145" y="2096"/>
                      <a:pt x="15240" y="3715"/>
                      <a:pt x="15430" y="6191"/>
                    </a:cubicBezTo>
                    <a:cubicBezTo>
                      <a:pt x="15621" y="8668"/>
                      <a:pt x="15716" y="10668"/>
                      <a:pt x="15716" y="12097"/>
                    </a:cubicBezTo>
                    <a:lnTo>
                      <a:pt x="15907" y="12097"/>
                    </a:lnTo>
                    <a:cubicBezTo>
                      <a:pt x="17812" y="8001"/>
                      <a:pt x="20193" y="4953"/>
                      <a:pt x="23146" y="2953"/>
                    </a:cubicBezTo>
                    <a:cubicBezTo>
                      <a:pt x="26098" y="953"/>
                      <a:pt x="29527" y="0"/>
                      <a:pt x="33528" y="0"/>
                    </a:cubicBezTo>
                    <a:cubicBezTo>
                      <a:pt x="38100" y="0"/>
                      <a:pt x="41719" y="1048"/>
                      <a:pt x="44577" y="3143"/>
                    </a:cubicBezTo>
                    <a:cubicBezTo>
                      <a:pt x="47434" y="5239"/>
                      <a:pt x="49339" y="8191"/>
                      <a:pt x="50292" y="12192"/>
                    </a:cubicBezTo>
                    <a:lnTo>
                      <a:pt x="50673" y="12192"/>
                    </a:lnTo>
                    <a:cubicBezTo>
                      <a:pt x="52673" y="7811"/>
                      <a:pt x="55245" y="4667"/>
                      <a:pt x="58102" y="2857"/>
                    </a:cubicBezTo>
                    <a:cubicBezTo>
                      <a:pt x="60960" y="1048"/>
                      <a:pt x="64675" y="95"/>
                      <a:pt x="68961" y="95"/>
                    </a:cubicBezTo>
                    <a:cubicBezTo>
                      <a:pt x="75247" y="95"/>
                      <a:pt x="79819" y="2191"/>
                      <a:pt x="82677" y="6477"/>
                    </a:cubicBezTo>
                    <a:cubicBezTo>
                      <a:pt x="85534" y="10763"/>
                      <a:pt x="87058" y="16383"/>
                      <a:pt x="87058" y="23431"/>
                    </a:cubicBezTo>
                    <a:lnTo>
                      <a:pt x="87058" y="61722"/>
                    </a:lnTo>
                    <a:lnTo>
                      <a:pt x="71533" y="61722"/>
                    </a:lnTo>
                    <a:lnTo>
                      <a:pt x="71533" y="27908"/>
                    </a:lnTo>
                    <a:cubicBezTo>
                      <a:pt x="71533" y="23336"/>
                      <a:pt x="70866" y="19907"/>
                      <a:pt x="69532" y="17431"/>
                    </a:cubicBezTo>
                    <a:cubicBezTo>
                      <a:pt x="68199" y="14954"/>
                      <a:pt x="66008" y="13716"/>
                      <a:pt x="62865" y="13716"/>
                    </a:cubicBezTo>
                    <a:cubicBezTo>
                      <a:pt x="60769" y="13716"/>
                      <a:pt x="58864" y="14383"/>
                      <a:pt x="57245" y="15621"/>
                    </a:cubicBezTo>
                    <a:cubicBezTo>
                      <a:pt x="55626" y="16859"/>
                      <a:pt x="54197" y="18574"/>
                      <a:pt x="53245" y="20860"/>
                    </a:cubicBezTo>
                    <a:cubicBezTo>
                      <a:pt x="52292" y="23146"/>
                      <a:pt x="51721" y="25717"/>
                      <a:pt x="51625" y="28575"/>
                    </a:cubicBezTo>
                    <a:lnTo>
                      <a:pt x="51625" y="61722"/>
                    </a:lnTo>
                    <a:lnTo>
                      <a:pt x="36100" y="61722"/>
                    </a:lnTo>
                    <a:lnTo>
                      <a:pt x="36100" y="27908"/>
                    </a:lnTo>
                    <a:cubicBezTo>
                      <a:pt x="36100" y="23336"/>
                      <a:pt x="35433" y="19907"/>
                      <a:pt x="34099" y="17431"/>
                    </a:cubicBezTo>
                    <a:cubicBezTo>
                      <a:pt x="32766" y="14954"/>
                      <a:pt x="30575" y="13716"/>
                      <a:pt x="27432" y="13716"/>
                    </a:cubicBezTo>
                    <a:cubicBezTo>
                      <a:pt x="25336" y="13716"/>
                      <a:pt x="23431" y="14383"/>
                      <a:pt x="21717" y="15716"/>
                    </a:cubicBezTo>
                    <a:cubicBezTo>
                      <a:pt x="20002" y="17050"/>
                      <a:pt x="18669" y="18859"/>
                      <a:pt x="17716" y="21241"/>
                    </a:cubicBezTo>
                    <a:cubicBezTo>
                      <a:pt x="16764" y="23622"/>
                      <a:pt x="16288" y="26289"/>
                      <a:pt x="16288" y="29337"/>
                    </a:cubicBezTo>
                    <a:lnTo>
                      <a:pt x="16288" y="61722"/>
                    </a:lnTo>
                    <a:lnTo>
                      <a:pt x="571" y="61722"/>
                    </a:lnTo>
                    <a:lnTo>
                      <a:pt x="571" y="14859"/>
                    </a:lnTo>
                    <a:close/>
                  </a:path>
                </a:pathLst>
              </a:custGeom>
              <a:solidFill>
                <a:srgbClr val="231F20"/>
              </a:solidFill>
              <a:ln w="9525" cap="flat">
                <a:noFill/>
                <a:prstDash val="solid"/>
                <a:miter/>
              </a:ln>
            </p:spPr>
            <p:txBody>
              <a:bodyPr rtlCol="0" anchor="ctr"/>
              <a:lstStyle/>
              <a:p>
                <a:pPr marL="0" marR="0" lvl="0" indent="0" algn="l" defTabSz="913578" rtl="0" eaLnBrk="1" fontAlgn="auto" latinLnBrk="0" hangingPunct="1">
                  <a:lnSpc>
                    <a:spcPct val="100000"/>
                  </a:lnSpc>
                  <a:spcBef>
                    <a:spcPts val="0"/>
                  </a:spcBef>
                  <a:spcAft>
                    <a:spcPts val="0"/>
                  </a:spcAft>
                  <a:buClrTx/>
                  <a:buSzTx/>
                  <a:buFontTx/>
                  <a:buNone/>
                  <a:tabLst/>
                  <a:defRPr/>
                </a:pPr>
                <a:endParaRPr kumimoji="0" lang="en-US" sz="17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337" name="Freeform: Shape 162">
                <a:extLst>
                  <a:ext uri="{FF2B5EF4-FFF2-40B4-BE49-F238E27FC236}">
                    <a16:creationId xmlns:a16="http://schemas.microsoft.com/office/drawing/2014/main" id="{BF93CECB-F34F-7398-4DF3-898AB12B926B}"/>
                  </a:ext>
                </a:extLst>
              </p:cNvPr>
              <p:cNvSpPr/>
              <p:nvPr/>
            </p:nvSpPr>
            <p:spPr>
              <a:xfrm>
                <a:off x="4692967" y="3939349"/>
                <a:ext cx="53149" cy="62674"/>
              </a:xfrm>
              <a:custGeom>
                <a:avLst/>
                <a:gdLst>
                  <a:gd name="connsiteX0" fmla="*/ 8954 w 53149"/>
                  <a:gd name="connsiteY0" fmla="*/ 60389 h 62674"/>
                  <a:gd name="connsiteX1" fmla="*/ 2381 w 53149"/>
                  <a:gd name="connsiteY1" fmla="*/ 54197 h 62674"/>
                  <a:gd name="connsiteX2" fmla="*/ 0 w 53149"/>
                  <a:gd name="connsiteY2" fmla="*/ 44387 h 62674"/>
                  <a:gd name="connsiteX3" fmla="*/ 6477 w 53149"/>
                  <a:gd name="connsiteY3" fmla="*/ 29813 h 62674"/>
                  <a:gd name="connsiteX4" fmla="*/ 23908 w 53149"/>
                  <a:gd name="connsiteY4" fmla="*/ 25051 h 62674"/>
                  <a:gd name="connsiteX5" fmla="*/ 36957 w 53149"/>
                  <a:gd name="connsiteY5" fmla="*/ 24860 h 62674"/>
                  <a:gd name="connsiteX6" fmla="*/ 36957 w 53149"/>
                  <a:gd name="connsiteY6" fmla="*/ 22003 h 62674"/>
                  <a:gd name="connsiteX7" fmla="*/ 34290 w 53149"/>
                  <a:gd name="connsiteY7" fmla="*/ 14288 h 62674"/>
                  <a:gd name="connsiteX8" fmla="*/ 27051 w 53149"/>
                  <a:gd name="connsiteY8" fmla="*/ 12097 h 62674"/>
                  <a:gd name="connsiteX9" fmla="*/ 10763 w 53149"/>
                  <a:gd name="connsiteY9" fmla="*/ 19431 h 62674"/>
                  <a:gd name="connsiteX10" fmla="*/ 3334 w 53149"/>
                  <a:gd name="connsiteY10" fmla="*/ 9620 h 62674"/>
                  <a:gd name="connsiteX11" fmla="*/ 27908 w 53149"/>
                  <a:gd name="connsiteY11" fmla="*/ 0 h 62674"/>
                  <a:gd name="connsiteX12" fmla="*/ 46196 w 53149"/>
                  <a:gd name="connsiteY12" fmla="*/ 5620 h 62674"/>
                  <a:gd name="connsiteX13" fmla="*/ 52673 w 53149"/>
                  <a:gd name="connsiteY13" fmla="*/ 21622 h 62674"/>
                  <a:gd name="connsiteX14" fmla="*/ 52673 w 53149"/>
                  <a:gd name="connsiteY14" fmla="*/ 43720 h 62674"/>
                  <a:gd name="connsiteX15" fmla="*/ 53149 w 53149"/>
                  <a:gd name="connsiteY15" fmla="*/ 61532 h 62674"/>
                  <a:gd name="connsiteX16" fmla="*/ 38290 w 53149"/>
                  <a:gd name="connsiteY16" fmla="*/ 61532 h 62674"/>
                  <a:gd name="connsiteX17" fmla="*/ 37909 w 53149"/>
                  <a:gd name="connsiteY17" fmla="*/ 53054 h 62674"/>
                  <a:gd name="connsiteX18" fmla="*/ 37529 w 53149"/>
                  <a:gd name="connsiteY18" fmla="*/ 53054 h 62674"/>
                  <a:gd name="connsiteX19" fmla="*/ 29813 w 53149"/>
                  <a:gd name="connsiteY19" fmla="*/ 60198 h 62674"/>
                  <a:gd name="connsiteX20" fmla="*/ 18764 w 53149"/>
                  <a:gd name="connsiteY20" fmla="*/ 62675 h 62674"/>
                  <a:gd name="connsiteX21" fmla="*/ 8954 w 53149"/>
                  <a:gd name="connsiteY21" fmla="*/ 60579 h 62674"/>
                  <a:gd name="connsiteX22" fmla="*/ 30575 w 53149"/>
                  <a:gd name="connsiteY22" fmla="*/ 48768 h 62674"/>
                  <a:gd name="connsiteX23" fmla="*/ 35338 w 53149"/>
                  <a:gd name="connsiteY23" fmla="*/ 43910 h 62674"/>
                  <a:gd name="connsiteX24" fmla="*/ 37052 w 53149"/>
                  <a:gd name="connsiteY24" fmla="*/ 37529 h 62674"/>
                  <a:gd name="connsiteX25" fmla="*/ 37052 w 53149"/>
                  <a:gd name="connsiteY25" fmla="*/ 34481 h 62674"/>
                  <a:gd name="connsiteX26" fmla="*/ 28956 w 53149"/>
                  <a:gd name="connsiteY26" fmla="*/ 34481 h 62674"/>
                  <a:gd name="connsiteX27" fmla="*/ 22288 w 53149"/>
                  <a:gd name="connsiteY27" fmla="*/ 35433 h 62674"/>
                  <a:gd name="connsiteX28" fmla="*/ 18097 w 53149"/>
                  <a:gd name="connsiteY28" fmla="*/ 37814 h 62674"/>
                  <a:gd name="connsiteX29" fmla="*/ 16478 w 53149"/>
                  <a:gd name="connsiteY29" fmla="*/ 43053 h 62674"/>
                  <a:gd name="connsiteX30" fmla="*/ 18479 w 53149"/>
                  <a:gd name="connsiteY30" fmla="*/ 48673 h 62674"/>
                  <a:gd name="connsiteX31" fmla="*/ 23813 w 53149"/>
                  <a:gd name="connsiteY31" fmla="*/ 50578 h 62674"/>
                  <a:gd name="connsiteX32" fmla="*/ 30671 w 53149"/>
                  <a:gd name="connsiteY32" fmla="*/ 48768 h 626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53149" h="62674">
                    <a:moveTo>
                      <a:pt x="8954" y="60389"/>
                    </a:moveTo>
                    <a:cubicBezTo>
                      <a:pt x="6191" y="58960"/>
                      <a:pt x="4000" y="56864"/>
                      <a:pt x="2381" y="54197"/>
                    </a:cubicBezTo>
                    <a:cubicBezTo>
                      <a:pt x="762" y="51530"/>
                      <a:pt x="0" y="48197"/>
                      <a:pt x="0" y="44387"/>
                    </a:cubicBezTo>
                    <a:cubicBezTo>
                      <a:pt x="0" y="37719"/>
                      <a:pt x="2191" y="32861"/>
                      <a:pt x="6477" y="29813"/>
                    </a:cubicBezTo>
                    <a:cubicBezTo>
                      <a:pt x="10763" y="26766"/>
                      <a:pt x="16573" y="25241"/>
                      <a:pt x="23908" y="25051"/>
                    </a:cubicBezTo>
                    <a:lnTo>
                      <a:pt x="36957" y="24860"/>
                    </a:lnTo>
                    <a:lnTo>
                      <a:pt x="36957" y="22003"/>
                    </a:lnTo>
                    <a:cubicBezTo>
                      <a:pt x="36957" y="18288"/>
                      <a:pt x="36100" y="15716"/>
                      <a:pt x="34290" y="14288"/>
                    </a:cubicBezTo>
                    <a:cubicBezTo>
                      <a:pt x="32480" y="12859"/>
                      <a:pt x="30099" y="12097"/>
                      <a:pt x="27051" y="12097"/>
                    </a:cubicBezTo>
                    <a:cubicBezTo>
                      <a:pt x="21717" y="12097"/>
                      <a:pt x="16288" y="14573"/>
                      <a:pt x="10763" y="19431"/>
                    </a:cubicBezTo>
                    <a:lnTo>
                      <a:pt x="3334" y="9620"/>
                    </a:lnTo>
                    <a:cubicBezTo>
                      <a:pt x="10573" y="3239"/>
                      <a:pt x="18764" y="0"/>
                      <a:pt x="27908" y="0"/>
                    </a:cubicBezTo>
                    <a:cubicBezTo>
                      <a:pt x="35719" y="0"/>
                      <a:pt x="41815" y="1905"/>
                      <a:pt x="46196" y="5620"/>
                    </a:cubicBezTo>
                    <a:cubicBezTo>
                      <a:pt x="50578" y="9335"/>
                      <a:pt x="52673" y="14669"/>
                      <a:pt x="52673" y="21622"/>
                    </a:cubicBezTo>
                    <a:lnTo>
                      <a:pt x="52673" y="43720"/>
                    </a:lnTo>
                    <a:cubicBezTo>
                      <a:pt x="52673" y="50387"/>
                      <a:pt x="52864" y="56293"/>
                      <a:pt x="53149" y="61532"/>
                    </a:cubicBezTo>
                    <a:lnTo>
                      <a:pt x="38290" y="61532"/>
                    </a:lnTo>
                    <a:cubicBezTo>
                      <a:pt x="38005" y="58865"/>
                      <a:pt x="37909" y="56102"/>
                      <a:pt x="37909" y="53054"/>
                    </a:cubicBezTo>
                    <a:lnTo>
                      <a:pt x="37529" y="53054"/>
                    </a:lnTo>
                    <a:cubicBezTo>
                      <a:pt x="35528" y="56102"/>
                      <a:pt x="32956" y="58484"/>
                      <a:pt x="29813" y="60198"/>
                    </a:cubicBezTo>
                    <a:cubicBezTo>
                      <a:pt x="26670" y="61913"/>
                      <a:pt x="22955" y="62675"/>
                      <a:pt x="18764" y="62675"/>
                    </a:cubicBezTo>
                    <a:cubicBezTo>
                      <a:pt x="15049" y="62675"/>
                      <a:pt x="11811" y="62008"/>
                      <a:pt x="8954" y="60579"/>
                    </a:cubicBezTo>
                    <a:close/>
                    <a:moveTo>
                      <a:pt x="30575" y="48768"/>
                    </a:moveTo>
                    <a:cubicBezTo>
                      <a:pt x="32575" y="47530"/>
                      <a:pt x="34195" y="45911"/>
                      <a:pt x="35338" y="43910"/>
                    </a:cubicBezTo>
                    <a:cubicBezTo>
                      <a:pt x="36481" y="41910"/>
                      <a:pt x="37052" y="39815"/>
                      <a:pt x="37052" y="37529"/>
                    </a:cubicBezTo>
                    <a:lnTo>
                      <a:pt x="37052" y="34481"/>
                    </a:lnTo>
                    <a:lnTo>
                      <a:pt x="28956" y="34481"/>
                    </a:lnTo>
                    <a:cubicBezTo>
                      <a:pt x="26194" y="34766"/>
                      <a:pt x="24003" y="35052"/>
                      <a:pt x="22288" y="35433"/>
                    </a:cubicBezTo>
                    <a:cubicBezTo>
                      <a:pt x="20574" y="35814"/>
                      <a:pt x="19145" y="36576"/>
                      <a:pt x="18097" y="37814"/>
                    </a:cubicBezTo>
                    <a:cubicBezTo>
                      <a:pt x="17050" y="39053"/>
                      <a:pt x="16478" y="40767"/>
                      <a:pt x="16478" y="43053"/>
                    </a:cubicBezTo>
                    <a:cubicBezTo>
                      <a:pt x="16478" y="45339"/>
                      <a:pt x="17145" y="47339"/>
                      <a:pt x="18479" y="48673"/>
                    </a:cubicBezTo>
                    <a:cubicBezTo>
                      <a:pt x="19812" y="50006"/>
                      <a:pt x="21622" y="50578"/>
                      <a:pt x="23813" y="50578"/>
                    </a:cubicBezTo>
                    <a:cubicBezTo>
                      <a:pt x="26384" y="50578"/>
                      <a:pt x="28670" y="50006"/>
                      <a:pt x="30671" y="48768"/>
                    </a:cubicBezTo>
                    <a:close/>
                  </a:path>
                </a:pathLst>
              </a:custGeom>
              <a:solidFill>
                <a:srgbClr val="231F20"/>
              </a:solidFill>
              <a:ln w="9525" cap="flat">
                <a:noFill/>
                <a:prstDash val="solid"/>
                <a:miter/>
              </a:ln>
            </p:spPr>
            <p:txBody>
              <a:bodyPr rtlCol="0" anchor="ctr"/>
              <a:lstStyle/>
              <a:p>
                <a:pPr marL="0" marR="0" lvl="0" indent="0" algn="l" defTabSz="913578" rtl="0" eaLnBrk="1" fontAlgn="auto" latinLnBrk="0" hangingPunct="1">
                  <a:lnSpc>
                    <a:spcPct val="100000"/>
                  </a:lnSpc>
                  <a:spcBef>
                    <a:spcPts val="0"/>
                  </a:spcBef>
                  <a:spcAft>
                    <a:spcPts val="0"/>
                  </a:spcAft>
                  <a:buClrTx/>
                  <a:buSzTx/>
                  <a:buFontTx/>
                  <a:buNone/>
                  <a:tabLst/>
                  <a:defRPr/>
                </a:pPr>
                <a:endParaRPr kumimoji="0" lang="en-US" sz="17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338" name="Freeform: Shape 163">
                <a:extLst>
                  <a:ext uri="{FF2B5EF4-FFF2-40B4-BE49-F238E27FC236}">
                    <a16:creationId xmlns:a16="http://schemas.microsoft.com/office/drawing/2014/main" id="{7BE917E8-5932-6CAC-8A9B-E802CA6BFFC4}"/>
                  </a:ext>
                </a:extLst>
              </p:cNvPr>
              <p:cNvSpPr/>
              <p:nvPr/>
            </p:nvSpPr>
            <p:spPr>
              <a:xfrm>
                <a:off x="4760499" y="3939254"/>
                <a:ext cx="55149" cy="61721"/>
              </a:xfrm>
              <a:custGeom>
                <a:avLst/>
                <a:gdLst>
                  <a:gd name="connsiteX0" fmla="*/ 381 w 55149"/>
                  <a:gd name="connsiteY0" fmla="*/ 14668 h 61721"/>
                  <a:gd name="connsiteX1" fmla="*/ 286 w 55149"/>
                  <a:gd name="connsiteY1" fmla="*/ 6763 h 61721"/>
                  <a:gd name="connsiteX2" fmla="*/ 0 w 55149"/>
                  <a:gd name="connsiteY2" fmla="*/ 1238 h 61721"/>
                  <a:gd name="connsiteX3" fmla="*/ 14954 w 55149"/>
                  <a:gd name="connsiteY3" fmla="*/ 1238 h 61721"/>
                  <a:gd name="connsiteX4" fmla="*/ 15430 w 55149"/>
                  <a:gd name="connsiteY4" fmla="*/ 6191 h 61721"/>
                  <a:gd name="connsiteX5" fmla="*/ 15716 w 55149"/>
                  <a:gd name="connsiteY5" fmla="*/ 12097 h 61721"/>
                  <a:gd name="connsiteX6" fmla="*/ 15907 w 55149"/>
                  <a:gd name="connsiteY6" fmla="*/ 12097 h 61721"/>
                  <a:gd name="connsiteX7" fmla="*/ 23908 w 55149"/>
                  <a:gd name="connsiteY7" fmla="*/ 2953 h 61721"/>
                  <a:gd name="connsiteX8" fmla="*/ 35338 w 55149"/>
                  <a:gd name="connsiteY8" fmla="*/ 0 h 61721"/>
                  <a:gd name="connsiteX9" fmla="*/ 50387 w 55149"/>
                  <a:gd name="connsiteY9" fmla="*/ 6382 h 61721"/>
                  <a:gd name="connsiteX10" fmla="*/ 55150 w 55149"/>
                  <a:gd name="connsiteY10" fmla="*/ 23336 h 61721"/>
                  <a:gd name="connsiteX11" fmla="*/ 55150 w 55149"/>
                  <a:gd name="connsiteY11" fmla="*/ 61627 h 61721"/>
                  <a:gd name="connsiteX12" fmla="*/ 39529 w 55149"/>
                  <a:gd name="connsiteY12" fmla="*/ 61627 h 61721"/>
                  <a:gd name="connsiteX13" fmla="*/ 39529 w 55149"/>
                  <a:gd name="connsiteY13" fmla="*/ 27813 h 61721"/>
                  <a:gd name="connsiteX14" fmla="*/ 37243 w 55149"/>
                  <a:gd name="connsiteY14" fmla="*/ 17240 h 61721"/>
                  <a:gd name="connsiteX15" fmla="*/ 29337 w 55149"/>
                  <a:gd name="connsiteY15" fmla="*/ 13525 h 61721"/>
                  <a:gd name="connsiteX16" fmla="*/ 22574 w 55149"/>
                  <a:gd name="connsiteY16" fmla="*/ 15526 h 61721"/>
                  <a:gd name="connsiteX17" fmla="*/ 17812 w 55149"/>
                  <a:gd name="connsiteY17" fmla="*/ 21146 h 61721"/>
                  <a:gd name="connsiteX18" fmla="*/ 16097 w 55149"/>
                  <a:gd name="connsiteY18" fmla="*/ 29337 h 61721"/>
                  <a:gd name="connsiteX19" fmla="*/ 16097 w 55149"/>
                  <a:gd name="connsiteY19" fmla="*/ 61722 h 61721"/>
                  <a:gd name="connsiteX20" fmla="*/ 381 w 55149"/>
                  <a:gd name="connsiteY20" fmla="*/ 61722 h 61721"/>
                  <a:gd name="connsiteX21" fmla="*/ 381 w 55149"/>
                  <a:gd name="connsiteY21" fmla="*/ 14859 h 617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5149" h="61721">
                    <a:moveTo>
                      <a:pt x="381" y="14668"/>
                    </a:moveTo>
                    <a:cubicBezTo>
                      <a:pt x="381" y="12097"/>
                      <a:pt x="381" y="9430"/>
                      <a:pt x="286" y="6763"/>
                    </a:cubicBezTo>
                    <a:cubicBezTo>
                      <a:pt x="190" y="4096"/>
                      <a:pt x="95" y="2191"/>
                      <a:pt x="0" y="1238"/>
                    </a:cubicBezTo>
                    <a:lnTo>
                      <a:pt x="14954" y="1238"/>
                    </a:lnTo>
                    <a:cubicBezTo>
                      <a:pt x="15145" y="2096"/>
                      <a:pt x="15240" y="3715"/>
                      <a:pt x="15430" y="6191"/>
                    </a:cubicBezTo>
                    <a:cubicBezTo>
                      <a:pt x="15621" y="8668"/>
                      <a:pt x="15716" y="10668"/>
                      <a:pt x="15716" y="12097"/>
                    </a:cubicBezTo>
                    <a:lnTo>
                      <a:pt x="15907" y="12097"/>
                    </a:lnTo>
                    <a:cubicBezTo>
                      <a:pt x="18002" y="8001"/>
                      <a:pt x="20669" y="4953"/>
                      <a:pt x="23908" y="2953"/>
                    </a:cubicBezTo>
                    <a:cubicBezTo>
                      <a:pt x="27146" y="953"/>
                      <a:pt x="30956" y="0"/>
                      <a:pt x="35338" y="0"/>
                    </a:cubicBezTo>
                    <a:cubicBezTo>
                      <a:pt x="42196" y="0"/>
                      <a:pt x="47244" y="2096"/>
                      <a:pt x="50387" y="6382"/>
                    </a:cubicBezTo>
                    <a:cubicBezTo>
                      <a:pt x="53530" y="10668"/>
                      <a:pt x="55150" y="16288"/>
                      <a:pt x="55150" y="23336"/>
                    </a:cubicBezTo>
                    <a:lnTo>
                      <a:pt x="55150" y="61627"/>
                    </a:lnTo>
                    <a:lnTo>
                      <a:pt x="39529" y="61627"/>
                    </a:lnTo>
                    <a:lnTo>
                      <a:pt x="39529" y="27813"/>
                    </a:lnTo>
                    <a:cubicBezTo>
                      <a:pt x="39529" y="23241"/>
                      <a:pt x="38767" y="19717"/>
                      <a:pt x="37243" y="17240"/>
                    </a:cubicBezTo>
                    <a:cubicBezTo>
                      <a:pt x="35719" y="14764"/>
                      <a:pt x="33052" y="13525"/>
                      <a:pt x="29337" y="13525"/>
                    </a:cubicBezTo>
                    <a:cubicBezTo>
                      <a:pt x="26765" y="13525"/>
                      <a:pt x="24574" y="14192"/>
                      <a:pt x="22574" y="15526"/>
                    </a:cubicBezTo>
                    <a:cubicBezTo>
                      <a:pt x="20574" y="16859"/>
                      <a:pt x="18955" y="18669"/>
                      <a:pt x="17812" y="21146"/>
                    </a:cubicBezTo>
                    <a:cubicBezTo>
                      <a:pt x="16669" y="23622"/>
                      <a:pt x="16097" y="26289"/>
                      <a:pt x="16097" y="29337"/>
                    </a:cubicBezTo>
                    <a:lnTo>
                      <a:pt x="16097" y="61722"/>
                    </a:lnTo>
                    <a:lnTo>
                      <a:pt x="381" y="61722"/>
                    </a:lnTo>
                    <a:lnTo>
                      <a:pt x="381" y="14859"/>
                    </a:lnTo>
                    <a:close/>
                  </a:path>
                </a:pathLst>
              </a:custGeom>
              <a:solidFill>
                <a:srgbClr val="231F20"/>
              </a:solidFill>
              <a:ln w="9525" cap="flat">
                <a:noFill/>
                <a:prstDash val="solid"/>
                <a:miter/>
              </a:ln>
            </p:spPr>
            <p:txBody>
              <a:bodyPr rtlCol="0" anchor="ctr"/>
              <a:lstStyle/>
              <a:p>
                <a:pPr marL="0" marR="0" lvl="0" indent="0" algn="l" defTabSz="913578" rtl="0" eaLnBrk="1" fontAlgn="auto" latinLnBrk="0" hangingPunct="1">
                  <a:lnSpc>
                    <a:spcPct val="100000"/>
                  </a:lnSpc>
                  <a:spcBef>
                    <a:spcPts val="0"/>
                  </a:spcBef>
                  <a:spcAft>
                    <a:spcPts val="0"/>
                  </a:spcAft>
                  <a:buClrTx/>
                  <a:buSzTx/>
                  <a:buFontTx/>
                  <a:buNone/>
                  <a:tabLst/>
                  <a:defRPr/>
                </a:pPr>
                <a:endParaRPr kumimoji="0" lang="en-US" sz="17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339" name="Freeform: Shape 164">
                <a:extLst>
                  <a:ext uri="{FF2B5EF4-FFF2-40B4-BE49-F238E27FC236}">
                    <a16:creationId xmlns:a16="http://schemas.microsoft.com/office/drawing/2014/main" id="{01AD0718-87B6-804C-82A4-F62D3720E839}"/>
                  </a:ext>
                </a:extLst>
              </p:cNvPr>
              <p:cNvSpPr/>
              <p:nvPr/>
            </p:nvSpPr>
            <p:spPr>
              <a:xfrm>
                <a:off x="4452747" y="4076318"/>
                <a:ext cx="54292" cy="62674"/>
              </a:xfrm>
              <a:custGeom>
                <a:avLst/>
                <a:gdLst>
                  <a:gd name="connsiteX0" fmla="*/ 13525 w 54292"/>
                  <a:gd name="connsiteY0" fmla="*/ 58865 h 62674"/>
                  <a:gd name="connsiteX1" fmla="*/ 3429 w 54292"/>
                  <a:gd name="connsiteY1" fmla="*/ 48006 h 62674"/>
                  <a:gd name="connsiteX2" fmla="*/ 0 w 54292"/>
                  <a:gd name="connsiteY2" fmla="*/ 31718 h 62674"/>
                  <a:gd name="connsiteX3" fmla="*/ 3715 w 54292"/>
                  <a:gd name="connsiteY3" fmla="*/ 14573 h 62674"/>
                  <a:gd name="connsiteX4" fmla="*/ 14192 w 54292"/>
                  <a:gd name="connsiteY4" fmla="*/ 3715 h 62674"/>
                  <a:gd name="connsiteX5" fmla="*/ 30289 w 54292"/>
                  <a:gd name="connsiteY5" fmla="*/ 0 h 62674"/>
                  <a:gd name="connsiteX6" fmla="*/ 53530 w 54292"/>
                  <a:gd name="connsiteY6" fmla="*/ 12763 h 62674"/>
                  <a:gd name="connsiteX7" fmla="*/ 42577 w 54292"/>
                  <a:gd name="connsiteY7" fmla="*/ 20193 h 62674"/>
                  <a:gd name="connsiteX8" fmla="*/ 37338 w 54292"/>
                  <a:gd name="connsiteY8" fmla="*/ 14478 h 62674"/>
                  <a:gd name="connsiteX9" fmla="*/ 30289 w 54292"/>
                  <a:gd name="connsiteY9" fmla="*/ 12478 h 62674"/>
                  <a:gd name="connsiteX10" fmla="*/ 20002 w 54292"/>
                  <a:gd name="connsiteY10" fmla="*/ 17240 h 62674"/>
                  <a:gd name="connsiteX11" fmla="*/ 16478 w 54292"/>
                  <a:gd name="connsiteY11" fmla="*/ 30956 h 62674"/>
                  <a:gd name="connsiteX12" fmla="*/ 20098 w 54292"/>
                  <a:gd name="connsiteY12" fmla="*/ 45149 h 62674"/>
                  <a:gd name="connsiteX13" fmla="*/ 30385 w 54292"/>
                  <a:gd name="connsiteY13" fmla="*/ 50006 h 62674"/>
                  <a:gd name="connsiteX14" fmla="*/ 38100 w 54292"/>
                  <a:gd name="connsiteY14" fmla="*/ 48006 h 62674"/>
                  <a:gd name="connsiteX15" fmla="*/ 44958 w 54292"/>
                  <a:gd name="connsiteY15" fmla="*/ 42196 h 62674"/>
                  <a:gd name="connsiteX16" fmla="*/ 54292 w 54292"/>
                  <a:gd name="connsiteY16" fmla="*/ 51245 h 62674"/>
                  <a:gd name="connsiteX17" fmla="*/ 43815 w 54292"/>
                  <a:gd name="connsiteY17" fmla="*/ 59627 h 62674"/>
                  <a:gd name="connsiteX18" fmla="*/ 29718 w 54292"/>
                  <a:gd name="connsiteY18" fmla="*/ 62675 h 62674"/>
                  <a:gd name="connsiteX19" fmla="*/ 13430 w 54292"/>
                  <a:gd name="connsiteY19" fmla="*/ 58865 h 626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4292" h="62674">
                    <a:moveTo>
                      <a:pt x="13525" y="58865"/>
                    </a:moveTo>
                    <a:cubicBezTo>
                      <a:pt x="9049" y="56293"/>
                      <a:pt x="5715" y="52673"/>
                      <a:pt x="3429" y="48006"/>
                    </a:cubicBezTo>
                    <a:cubicBezTo>
                      <a:pt x="1143" y="43339"/>
                      <a:pt x="0" y="37910"/>
                      <a:pt x="0" y="31718"/>
                    </a:cubicBezTo>
                    <a:cubicBezTo>
                      <a:pt x="0" y="25051"/>
                      <a:pt x="1238" y="19336"/>
                      <a:pt x="3715" y="14573"/>
                    </a:cubicBezTo>
                    <a:cubicBezTo>
                      <a:pt x="6191" y="9811"/>
                      <a:pt x="9620" y="6191"/>
                      <a:pt x="14192" y="3715"/>
                    </a:cubicBezTo>
                    <a:cubicBezTo>
                      <a:pt x="18764" y="1238"/>
                      <a:pt x="24098" y="0"/>
                      <a:pt x="30289" y="0"/>
                    </a:cubicBezTo>
                    <a:cubicBezTo>
                      <a:pt x="40576" y="0"/>
                      <a:pt x="48387" y="4286"/>
                      <a:pt x="53530" y="12763"/>
                    </a:cubicBezTo>
                    <a:lnTo>
                      <a:pt x="42577" y="20193"/>
                    </a:lnTo>
                    <a:cubicBezTo>
                      <a:pt x="40957" y="17717"/>
                      <a:pt x="39148" y="15812"/>
                      <a:pt x="37338" y="14478"/>
                    </a:cubicBezTo>
                    <a:cubicBezTo>
                      <a:pt x="35528" y="13145"/>
                      <a:pt x="33147" y="12478"/>
                      <a:pt x="30289" y="12478"/>
                    </a:cubicBezTo>
                    <a:cubicBezTo>
                      <a:pt x="25813" y="12478"/>
                      <a:pt x="22384" y="14097"/>
                      <a:pt x="20002" y="17240"/>
                    </a:cubicBezTo>
                    <a:cubicBezTo>
                      <a:pt x="17621" y="20384"/>
                      <a:pt x="16478" y="25051"/>
                      <a:pt x="16478" y="30956"/>
                    </a:cubicBezTo>
                    <a:cubicBezTo>
                      <a:pt x="16478" y="36862"/>
                      <a:pt x="17716" y="41910"/>
                      <a:pt x="20098" y="45149"/>
                    </a:cubicBezTo>
                    <a:cubicBezTo>
                      <a:pt x="22479" y="48387"/>
                      <a:pt x="26003" y="50006"/>
                      <a:pt x="30385" y="50006"/>
                    </a:cubicBezTo>
                    <a:cubicBezTo>
                      <a:pt x="33338" y="50006"/>
                      <a:pt x="35909" y="49340"/>
                      <a:pt x="38100" y="48006"/>
                    </a:cubicBezTo>
                    <a:cubicBezTo>
                      <a:pt x="40291" y="46672"/>
                      <a:pt x="42577" y="44672"/>
                      <a:pt x="44958" y="42196"/>
                    </a:cubicBezTo>
                    <a:lnTo>
                      <a:pt x="54292" y="51245"/>
                    </a:lnTo>
                    <a:cubicBezTo>
                      <a:pt x="51435" y="54864"/>
                      <a:pt x="47911" y="57626"/>
                      <a:pt x="43815" y="59627"/>
                    </a:cubicBezTo>
                    <a:cubicBezTo>
                      <a:pt x="39719" y="61627"/>
                      <a:pt x="35052" y="62675"/>
                      <a:pt x="29718" y="62675"/>
                    </a:cubicBezTo>
                    <a:cubicBezTo>
                      <a:pt x="23336" y="62675"/>
                      <a:pt x="17907" y="61436"/>
                      <a:pt x="13430" y="58865"/>
                    </a:cubicBezTo>
                    <a:close/>
                  </a:path>
                </a:pathLst>
              </a:custGeom>
              <a:solidFill>
                <a:srgbClr val="231F20"/>
              </a:solidFill>
              <a:ln w="9525" cap="flat">
                <a:noFill/>
                <a:prstDash val="solid"/>
                <a:miter/>
              </a:ln>
            </p:spPr>
            <p:txBody>
              <a:bodyPr rtlCol="0" anchor="ctr"/>
              <a:lstStyle/>
              <a:p>
                <a:pPr marL="0" marR="0" lvl="0" indent="0" algn="l" defTabSz="913578" rtl="0" eaLnBrk="1" fontAlgn="auto" latinLnBrk="0" hangingPunct="1">
                  <a:lnSpc>
                    <a:spcPct val="100000"/>
                  </a:lnSpc>
                  <a:spcBef>
                    <a:spcPts val="0"/>
                  </a:spcBef>
                  <a:spcAft>
                    <a:spcPts val="0"/>
                  </a:spcAft>
                  <a:buClrTx/>
                  <a:buSzTx/>
                  <a:buFontTx/>
                  <a:buNone/>
                  <a:tabLst/>
                  <a:defRPr/>
                </a:pPr>
                <a:endParaRPr kumimoji="0" lang="en-US" sz="17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340" name="Freeform: Shape 165">
                <a:extLst>
                  <a:ext uri="{FF2B5EF4-FFF2-40B4-BE49-F238E27FC236}">
                    <a16:creationId xmlns:a16="http://schemas.microsoft.com/office/drawing/2014/main" id="{2DE8C103-47FC-49B8-9955-8A1DD0C4C1E9}"/>
                  </a:ext>
                </a:extLst>
              </p:cNvPr>
              <p:cNvSpPr/>
              <p:nvPr/>
            </p:nvSpPr>
            <p:spPr>
              <a:xfrm>
                <a:off x="4511992" y="4076509"/>
                <a:ext cx="53149" cy="62674"/>
              </a:xfrm>
              <a:custGeom>
                <a:avLst/>
                <a:gdLst>
                  <a:gd name="connsiteX0" fmla="*/ 8954 w 53149"/>
                  <a:gd name="connsiteY0" fmla="*/ 60388 h 62674"/>
                  <a:gd name="connsiteX1" fmla="*/ 2381 w 53149"/>
                  <a:gd name="connsiteY1" fmla="*/ 54197 h 62674"/>
                  <a:gd name="connsiteX2" fmla="*/ 0 w 53149"/>
                  <a:gd name="connsiteY2" fmla="*/ 44387 h 62674"/>
                  <a:gd name="connsiteX3" fmla="*/ 6477 w 53149"/>
                  <a:gd name="connsiteY3" fmla="*/ 29813 h 62674"/>
                  <a:gd name="connsiteX4" fmla="*/ 23908 w 53149"/>
                  <a:gd name="connsiteY4" fmla="*/ 25051 h 62674"/>
                  <a:gd name="connsiteX5" fmla="*/ 36957 w 53149"/>
                  <a:gd name="connsiteY5" fmla="*/ 24860 h 62674"/>
                  <a:gd name="connsiteX6" fmla="*/ 36957 w 53149"/>
                  <a:gd name="connsiteY6" fmla="*/ 22003 h 62674"/>
                  <a:gd name="connsiteX7" fmla="*/ 34290 w 53149"/>
                  <a:gd name="connsiteY7" fmla="*/ 14288 h 62674"/>
                  <a:gd name="connsiteX8" fmla="*/ 27051 w 53149"/>
                  <a:gd name="connsiteY8" fmla="*/ 12097 h 62674"/>
                  <a:gd name="connsiteX9" fmla="*/ 10763 w 53149"/>
                  <a:gd name="connsiteY9" fmla="*/ 19431 h 62674"/>
                  <a:gd name="connsiteX10" fmla="*/ 3334 w 53149"/>
                  <a:gd name="connsiteY10" fmla="*/ 9620 h 62674"/>
                  <a:gd name="connsiteX11" fmla="*/ 27908 w 53149"/>
                  <a:gd name="connsiteY11" fmla="*/ 0 h 62674"/>
                  <a:gd name="connsiteX12" fmla="*/ 46196 w 53149"/>
                  <a:gd name="connsiteY12" fmla="*/ 5620 h 62674"/>
                  <a:gd name="connsiteX13" fmla="*/ 52673 w 53149"/>
                  <a:gd name="connsiteY13" fmla="*/ 21622 h 62674"/>
                  <a:gd name="connsiteX14" fmla="*/ 52673 w 53149"/>
                  <a:gd name="connsiteY14" fmla="*/ 43720 h 62674"/>
                  <a:gd name="connsiteX15" fmla="*/ 53149 w 53149"/>
                  <a:gd name="connsiteY15" fmla="*/ 61531 h 62674"/>
                  <a:gd name="connsiteX16" fmla="*/ 38290 w 53149"/>
                  <a:gd name="connsiteY16" fmla="*/ 61531 h 62674"/>
                  <a:gd name="connsiteX17" fmla="*/ 37909 w 53149"/>
                  <a:gd name="connsiteY17" fmla="*/ 53054 h 62674"/>
                  <a:gd name="connsiteX18" fmla="*/ 37529 w 53149"/>
                  <a:gd name="connsiteY18" fmla="*/ 53054 h 62674"/>
                  <a:gd name="connsiteX19" fmla="*/ 29813 w 53149"/>
                  <a:gd name="connsiteY19" fmla="*/ 60198 h 62674"/>
                  <a:gd name="connsiteX20" fmla="*/ 18764 w 53149"/>
                  <a:gd name="connsiteY20" fmla="*/ 62674 h 62674"/>
                  <a:gd name="connsiteX21" fmla="*/ 8954 w 53149"/>
                  <a:gd name="connsiteY21" fmla="*/ 60579 h 62674"/>
                  <a:gd name="connsiteX22" fmla="*/ 30575 w 53149"/>
                  <a:gd name="connsiteY22" fmla="*/ 48768 h 62674"/>
                  <a:gd name="connsiteX23" fmla="*/ 35338 w 53149"/>
                  <a:gd name="connsiteY23" fmla="*/ 43910 h 62674"/>
                  <a:gd name="connsiteX24" fmla="*/ 37052 w 53149"/>
                  <a:gd name="connsiteY24" fmla="*/ 37529 h 62674"/>
                  <a:gd name="connsiteX25" fmla="*/ 37052 w 53149"/>
                  <a:gd name="connsiteY25" fmla="*/ 34480 h 62674"/>
                  <a:gd name="connsiteX26" fmla="*/ 28956 w 53149"/>
                  <a:gd name="connsiteY26" fmla="*/ 34480 h 62674"/>
                  <a:gd name="connsiteX27" fmla="*/ 22288 w 53149"/>
                  <a:gd name="connsiteY27" fmla="*/ 35433 h 62674"/>
                  <a:gd name="connsiteX28" fmla="*/ 18097 w 53149"/>
                  <a:gd name="connsiteY28" fmla="*/ 37814 h 62674"/>
                  <a:gd name="connsiteX29" fmla="*/ 16478 w 53149"/>
                  <a:gd name="connsiteY29" fmla="*/ 43053 h 62674"/>
                  <a:gd name="connsiteX30" fmla="*/ 18479 w 53149"/>
                  <a:gd name="connsiteY30" fmla="*/ 48673 h 62674"/>
                  <a:gd name="connsiteX31" fmla="*/ 23813 w 53149"/>
                  <a:gd name="connsiteY31" fmla="*/ 50578 h 62674"/>
                  <a:gd name="connsiteX32" fmla="*/ 30671 w 53149"/>
                  <a:gd name="connsiteY32" fmla="*/ 48768 h 626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53149" h="62674">
                    <a:moveTo>
                      <a:pt x="8954" y="60388"/>
                    </a:moveTo>
                    <a:cubicBezTo>
                      <a:pt x="6191" y="58960"/>
                      <a:pt x="4000" y="56864"/>
                      <a:pt x="2381" y="54197"/>
                    </a:cubicBezTo>
                    <a:cubicBezTo>
                      <a:pt x="762" y="51530"/>
                      <a:pt x="0" y="48196"/>
                      <a:pt x="0" y="44387"/>
                    </a:cubicBezTo>
                    <a:cubicBezTo>
                      <a:pt x="0" y="37719"/>
                      <a:pt x="2191" y="32861"/>
                      <a:pt x="6477" y="29813"/>
                    </a:cubicBezTo>
                    <a:cubicBezTo>
                      <a:pt x="10763" y="26765"/>
                      <a:pt x="16573" y="25241"/>
                      <a:pt x="23908" y="25051"/>
                    </a:cubicBezTo>
                    <a:lnTo>
                      <a:pt x="36957" y="24860"/>
                    </a:lnTo>
                    <a:lnTo>
                      <a:pt x="36957" y="22003"/>
                    </a:lnTo>
                    <a:cubicBezTo>
                      <a:pt x="36957" y="18288"/>
                      <a:pt x="36100" y="15716"/>
                      <a:pt x="34290" y="14288"/>
                    </a:cubicBezTo>
                    <a:cubicBezTo>
                      <a:pt x="32480" y="12859"/>
                      <a:pt x="30099" y="12097"/>
                      <a:pt x="27051" y="12097"/>
                    </a:cubicBezTo>
                    <a:cubicBezTo>
                      <a:pt x="21717" y="12097"/>
                      <a:pt x="16288" y="14573"/>
                      <a:pt x="10763" y="19431"/>
                    </a:cubicBezTo>
                    <a:lnTo>
                      <a:pt x="3334" y="9620"/>
                    </a:lnTo>
                    <a:cubicBezTo>
                      <a:pt x="10573" y="3238"/>
                      <a:pt x="18764" y="0"/>
                      <a:pt x="27908" y="0"/>
                    </a:cubicBezTo>
                    <a:cubicBezTo>
                      <a:pt x="35719" y="0"/>
                      <a:pt x="41815" y="1905"/>
                      <a:pt x="46196" y="5620"/>
                    </a:cubicBezTo>
                    <a:cubicBezTo>
                      <a:pt x="50578" y="9334"/>
                      <a:pt x="52673" y="14668"/>
                      <a:pt x="52673" y="21622"/>
                    </a:cubicBezTo>
                    <a:lnTo>
                      <a:pt x="52673" y="43720"/>
                    </a:lnTo>
                    <a:cubicBezTo>
                      <a:pt x="52673" y="50387"/>
                      <a:pt x="52864" y="56293"/>
                      <a:pt x="53149" y="61531"/>
                    </a:cubicBezTo>
                    <a:lnTo>
                      <a:pt x="38290" y="61531"/>
                    </a:lnTo>
                    <a:cubicBezTo>
                      <a:pt x="38005" y="58864"/>
                      <a:pt x="37909" y="56102"/>
                      <a:pt x="37909" y="53054"/>
                    </a:cubicBezTo>
                    <a:lnTo>
                      <a:pt x="37529" y="53054"/>
                    </a:lnTo>
                    <a:cubicBezTo>
                      <a:pt x="35528" y="56102"/>
                      <a:pt x="32956" y="58483"/>
                      <a:pt x="29813" y="60198"/>
                    </a:cubicBezTo>
                    <a:cubicBezTo>
                      <a:pt x="26670" y="61913"/>
                      <a:pt x="22955" y="62674"/>
                      <a:pt x="18764" y="62674"/>
                    </a:cubicBezTo>
                    <a:cubicBezTo>
                      <a:pt x="15049" y="62674"/>
                      <a:pt x="11811" y="62008"/>
                      <a:pt x="8954" y="60579"/>
                    </a:cubicBezTo>
                    <a:close/>
                    <a:moveTo>
                      <a:pt x="30575" y="48768"/>
                    </a:moveTo>
                    <a:cubicBezTo>
                      <a:pt x="32575" y="47530"/>
                      <a:pt x="34195" y="45910"/>
                      <a:pt x="35338" y="43910"/>
                    </a:cubicBezTo>
                    <a:cubicBezTo>
                      <a:pt x="36481" y="41910"/>
                      <a:pt x="37052" y="39814"/>
                      <a:pt x="37052" y="37529"/>
                    </a:cubicBezTo>
                    <a:lnTo>
                      <a:pt x="37052" y="34480"/>
                    </a:lnTo>
                    <a:lnTo>
                      <a:pt x="28956" y="34480"/>
                    </a:lnTo>
                    <a:cubicBezTo>
                      <a:pt x="26194" y="34766"/>
                      <a:pt x="24003" y="35052"/>
                      <a:pt x="22288" y="35433"/>
                    </a:cubicBezTo>
                    <a:cubicBezTo>
                      <a:pt x="20574" y="35814"/>
                      <a:pt x="19145" y="36576"/>
                      <a:pt x="18097" y="37814"/>
                    </a:cubicBezTo>
                    <a:cubicBezTo>
                      <a:pt x="17050" y="39052"/>
                      <a:pt x="16478" y="40767"/>
                      <a:pt x="16478" y="43053"/>
                    </a:cubicBezTo>
                    <a:cubicBezTo>
                      <a:pt x="16478" y="45339"/>
                      <a:pt x="17145" y="47339"/>
                      <a:pt x="18479" y="48673"/>
                    </a:cubicBezTo>
                    <a:cubicBezTo>
                      <a:pt x="19812" y="50006"/>
                      <a:pt x="21622" y="50578"/>
                      <a:pt x="23813" y="50578"/>
                    </a:cubicBezTo>
                    <a:cubicBezTo>
                      <a:pt x="26384" y="50578"/>
                      <a:pt x="28670" y="50006"/>
                      <a:pt x="30671" y="48768"/>
                    </a:cubicBezTo>
                    <a:close/>
                  </a:path>
                </a:pathLst>
              </a:custGeom>
              <a:solidFill>
                <a:srgbClr val="231F20"/>
              </a:solidFill>
              <a:ln w="9525" cap="flat">
                <a:noFill/>
                <a:prstDash val="solid"/>
                <a:miter/>
              </a:ln>
            </p:spPr>
            <p:txBody>
              <a:bodyPr rtlCol="0" anchor="ctr"/>
              <a:lstStyle/>
              <a:p>
                <a:pPr marL="0" marR="0" lvl="0" indent="0" algn="l" defTabSz="913578" rtl="0" eaLnBrk="1" fontAlgn="auto" latinLnBrk="0" hangingPunct="1">
                  <a:lnSpc>
                    <a:spcPct val="100000"/>
                  </a:lnSpc>
                  <a:spcBef>
                    <a:spcPts val="0"/>
                  </a:spcBef>
                  <a:spcAft>
                    <a:spcPts val="0"/>
                  </a:spcAft>
                  <a:buClrTx/>
                  <a:buSzTx/>
                  <a:buFontTx/>
                  <a:buNone/>
                  <a:tabLst/>
                  <a:defRPr/>
                </a:pPr>
                <a:endParaRPr kumimoji="0" lang="en-US" sz="17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341" name="Freeform: Shape 166">
                <a:extLst>
                  <a:ext uri="{FF2B5EF4-FFF2-40B4-BE49-F238E27FC236}">
                    <a16:creationId xmlns:a16="http://schemas.microsoft.com/office/drawing/2014/main" id="{A9C17088-665A-9E38-CAFF-F30F99695FC7}"/>
                  </a:ext>
                </a:extLst>
              </p:cNvPr>
              <p:cNvSpPr/>
              <p:nvPr/>
            </p:nvSpPr>
            <p:spPr>
              <a:xfrm>
                <a:off x="4579429" y="4076318"/>
                <a:ext cx="58292" cy="85344"/>
              </a:xfrm>
              <a:custGeom>
                <a:avLst/>
                <a:gdLst>
                  <a:gd name="connsiteX0" fmla="*/ 476 w 58292"/>
                  <a:gd name="connsiteY0" fmla="*/ 15050 h 85344"/>
                  <a:gd name="connsiteX1" fmla="*/ 0 w 58292"/>
                  <a:gd name="connsiteY1" fmla="*/ 1238 h 85344"/>
                  <a:gd name="connsiteX2" fmla="*/ 15240 w 58292"/>
                  <a:gd name="connsiteY2" fmla="*/ 1238 h 85344"/>
                  <a:gd name="connsiteX3" fmla="*/ 15716 w 58292"/>
                  <a:gd name="connsiteY3" fmla="*/ 4763 h 85344"/>
                  <a:gd name="connsiteX4" fmla="*/ 15907 w 58292"/>
                  <a:gd name="connsiteY4" fmla="*/ 9906 h 85344"/>
                  <a:gd name="connsiteX5" fmla="*/ 16097 w 58292"/>
                  <a:gd name="connsiteY5" fmla="*/ 9906 h 85344"/>
                  <a:gd name="connsiteX6" fmla="*/ 35338 w 58292"/>
                  <a:gd name="connsiteY6" fmla="*/ 0 h 85344"/>
                  <a:gd name="connsiteX7" fmla="*/ 47815 w 58292"/>
                  <a:gd name="connsiteY7" fmla="*/ 4001 h 85344"/>
                  <a:gd name="connsiteX8" fmla="*/ 55626 w 58292"/>
                  <a:gd name="connsiteY8" fmla="*/ 14954 h 85344"/>
                  <a:gd name="connsiteX9" fmla="*/ 58293 w 58292"/>
                  <a:gd name="connsiteY9" fmla="*/ 31052 h 85344"/>
                  <a:gd name="connsiteX10" fmla="*/ 55436 w 58292"/>
                  <a:gd name="connsiteY10" fmla="*/ 47530 h 85344"/>
                  <a:gd name="connsiteX11" fmla="*/ 47054 w 58292"/>
                  <a:gd name="connsiteY11" fmla="*/ 58674 h 85344"/>
                  <a:gd name="connsiteX12" fmla="*/ 34004 w 58292"/>
                  <a:gd name="connsiteY12" fmla="*/ 62675 h 85344"/>
                  <a:gd name="connsiteX13" fmla="*/ 23622 w 58292"/>
                  <a:gd name="connsiteY13" fmla="*/ 60388 h 85344"/>
                  <a:gd name="connsiteX14" fmla="*/ 16193 w 58292"/>
                  <a:gd name="connsiteY14" fmla="*/ 53054 h 85344"/>
                  <a:gd name="connsiteX15" fmla="*/ 15812 w 58292"/>
                  <a:gd name="connsiteY15" fmla="*/ 53054 h 85344"/>
                  <a:gd name="connsiteX16" fmla="*/ 16002 w 58292"/>
                  <a:gd name="connsiteY16" fmla="*/ 56674 h 85344"/>
                  <a:gd name="connsiteX17" fmla="*/ 16097 w 58292"/>
                  <a:gd name="connsiteY17" fmla="*/ 62103 h 85344"/>
                  <a:gd name="connsiteX18" fmla="*/ 16097 w 58292"/>
                  <a:gd name="connsiteY18" fmla="*/ 85344 h 85344"/>
                  <a:gd name="connsiteX19" fmla="*/ 381 w 58292"/>
                  <a:gd name="connsiteY19" fmla="*/ 85344 h 85344"/>
                  <a:gd name="connsiteX20" fmla="*/ 381 w 58292"/>
                  <a:gd name="connsiteY20" fmla="*/ 15050 h 85344"/>
                  <a:gd name="connsiteX21" fmla="*/ 38481 w 58292"/>
                  <a:gd name="connsiteY21" fmla="*/ 45529 h 85344"/>
                  <a:gd name="connsiteX22" fmla="*/ 41910 w 58292"/>
                  <a:gd name="connsiteY22" fmla="*/ 31052 h 85344"/>
                  <a:gd name="connsiteX23" fmla="*/ 38576 w 58292"/>
                  <a:gd name="connsiteY23" fmla="*/ 17240 h 85344"/>
                  <a:gd name="connsiteX24" fmla="*/ 29432 w 58292"/>
                  <a:gd name="connsiteY24" fmla="*/ 12573 h 85344"/>
                  <a:gd name="connsiteX25" fmla="*/ 22860 w 58292"/>
                  <a:gd name="connsiteY25" fmla="*/ 14383 h 85344"/>
                  <a:gd name="connsiteX26" fmla="*/ 17907 w 58292"/>
                  <a:gd name="connsiteY26" fmla="*/ 20384 h 85344"/>
                  <a:gd name="connsiteX27" fmla="*/ 15907 w 58292"/>
                  <a:gd name="connsiteY27" fmla="*/ 31528 h 85344"/>
                  <a:gd name="connsiteX28" fmla="*/ 17812 w 58292"/>
                  <a:gd name="connsiteY28" fmla="*/ 42482 h 85344"/>
                  <a:gd name="connsiteX29" fmla="*/ 22765 w 58292"/>
                  <a:gd name="connsiteY29" fmla="*/ 48482 h 85344"/>
                  <a:gd name="connsiteX30" fmla="*/ 29242 w 58292"/>
                  <a:gd name="connsiteY30" fmla="*/ 50292 h 85344"/>
                  <a:gd name="connsiteX31" fmla="*/ 38386 w 58292"/>
                  <a:gd name="connsiteY31" fmla="*/ 45529 h 85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58292" h="85344">
                    <a:moveTo>
                      <a:pt x="476" y="15050"/>
                    </a:moveTo>
                    <a:cubicBezTo>
                      <a:pt x="476" y="9335"/>
                      <a:pt x="286" y="4763"/>
                      <a:pt x="0" y="1238"/>
                    </a:cubicBezTo>
                    <a:lnTo>
                      <a:pt x="15240" y="1238"/>
                    </a:lnTo>
                    <a:cubicBezTo>
                      <a:pt x="15240" y="1238"/>
                      <a:pt x="15526" y="2762"/>
                      <a:pt x="15716" y="4763"/>
                    </a:cubicBezTo>
                    <a:cubicBezTo>
                      <a:pt x="15907" y="6763"/>
                      <a:pt x="15907" y="8477"/>
                      <a:pt x="15907" y="9906"/>
                    </a:cubicBezTo>
                    <a:lnTo>
                      <a:pt x="16097" y="9906"/>
                    </a:lnTo>
                    <a:cubicBezTo>
                      <a:pt x="20098" y="3238"/>
                      <a:pt x="26479" y="0"/>
                      <a:pt x="35338" y="0"/>
                    </a:cubicBezTo>
                    <a:cubicBezTo>
                      <a:pt x="40196" y="0"/>
                      <a:pt x="44387" y="1334"/>
                      <a:pt x="47815" y="4001"/>
                    </a:cubicBezTo>
                    <a:cubicBezTo>
                      <a:pt x="51245" y="6668"/>
                      <a:pt x="53816" y="10287"/>
                      <a:pt x="55626" y="14954"/>
                    </a:cubicBezTo>
                    <a:cubicBezTo>
                      <a:pt x="57436" y="19621"/>
                      <a:pt x="58293" y="24955"/>
                      <a:pt x="58293" y="31052"/>
                    </a:cubicBezTo>
                    <a:cubicBezTo>
                      <a:pt x="58293" y="37147"/>
                      <a:pt x="57340" y="42672"/>
                      <a:pt x="55436" y="47530"/>
                    </a:cubicBezTo>
                    <a:cubicBezTo>
                      <a:pt x="53530" y="52388"/>
                      <a:pt x="50768" y="56007"/>
                      <a:pt x="47054" y="58674"/>
                    </a:cubicBezTo>
                    <a:cubicBezTo>
                      <a:pt x="43339" y="61341"/>
                      <a:pt x="39053" y="62675"/>
                      <a:pt x="34004" y="62675"/>
                    </a:cubicBezTo>
                    <a:cubicBezTo>
                      <a:pt x="30289" y="62675"/>
                      <a:pt x="26861" y="61913"/>
                      <a:pt x="23622" y="60388"/>
                    </a:cubicBezTo>
                    <a:cubicBezTo>
                      <a:pt x="20384" y="58865"/>
                      <a:pt x="18002" y="56388"/>
                      <a:pt x="16193" y="53054"/>
                    </a:cubicBezTo>
                    <a:lnTo>
                      <a:pt x="15812" y="53054"/>
                    </a:lnTo>
                    <a:cubicBezTo>
                      <a:pt x="15812" y="53054"/>
                      <a:pt x="16002" y="54674"/>
                      <a:pt x="16002" y="56674"/>
                    </a:cubicBezTo>
                    <a:cubicBezTo>
                      <a:pt x="16002" y="58674"/>
                      <a:pt x="16097" y="60484"/>
                      <a:pt x="16097" y="62103"/>
                    </a:cubicBezTo>
                    <a:lnTo>
                      <a:pt x="16097" y="85344"/>
                    </a:lnTo>
                    <a:lnTo>
                      <a:pt x="381" y="85344"/>
                    </a:lnTo>
                    <a:lnTo>
                      <a:pt x="381" y="15050"/>
                    </a:lnTo>
                    <a:close/>
                    <a:moveTo>
                      <a:pt x="38481" y="45529"/>
                    </a:moveTo>
                    <a:cubicBezTo>
                      <a:pt x="40767" y="42386"/>
                      <a:pt x="41910" y="37529"/>
                      <a:pt x="41910" y="31052"/>
                    </a:cubicBezTo>
                    <a:cubicBezTo>
                      <a:pt x="41910" y="24955"/>
                      <a:pt x="40767" y="20384"/>
                      <a:pt x="38576" y="17240"/>
                    </a:cubicBezTo>
                    <a:cubicBezTo>
                      <a:pt x="36386" y="14097"/>
                      <a:pt x="33338" y="12573"/>
                      <a:pt x="29432" y="12573"/>
                    </a:cubicBezTo>
                    <a:cubicBezTo>
                      <a:pt x="27051" y="12573"/>
                      <a:pt x="24860" y="13145"/>
                      <a:pt x="22860" y="14383"/>
                    </a:cubicBezTo>
                    <a:cubicBezTo>
                      <a:pt x="20860" y="15621"/>
                      <a:pt x="19145" y="17621"/>
                      <a:pt x="17907" y="20384"/>
                    </a:cubicBezTo>
                    <a:cubicBezTo>
                      <a:pt x="16669" y="23146"/>
                      <a:pt x="15907" y="26956"/>
                      <a:pt x="15907" y="31528"/>
                    </a:cubicBezTo>
                    <a:cubicBezTo>
                      <a:pt x="15907" y="36100"/>
                      <a:pt x="16573" y="39719"/>
                      <a:pt x="17812" y="42482"/>
                    </a:cubicBezTo>
                    <a:cubicBezTo>
                      <a:pt x="19050" y="45244"/>
                      <a:pt x="20764" y="47244"/>
                      <a:pt x="22765" y="48482"/>
                    </a:cubicBezTo>
                    <a:cubicBezTo>
                      <a:pt x="24765" y="49721"/>
                      <a:pt x="26956" y="50292"/>
                      <a:pt x="29242" y="50292"/>
                    </a:cubicBezTo>
                    <a:cubicBezTo>
                      <a:pt x="33052" y="50292"/>
                      <a:pt x="36100" y="48673"/>
                      <a:pt x="38386" y="45529"/>
                    </a:cubicBezTo>
                    <a:close/>
                  </a:path>
                </a:pathLst>
              </a:custGeom>
              <a:solidFill>
                <a:srgbClr val="231F20"/>
              </a:solidFill>
              <a:ln w="9525" cap="flat">
                <a:noFill/>
                <a:prstDash val="solid"/>
                <a:miter/>
              </a:ln>
            </p:spPr>
            <p:txBody>
              <a:bodyPr rtlCol="0" anchor="ctr"/>
              <a:lstStyle/>
              <a:p>
                <a:pPr marL="0" marR="0" lvl="0" indent="0" algn="l" defTabSz="913578" rtl="0" eaLnBrk="1" fontAlgn="auto" latinLnBrk="0" hangingPunct="1">
                  <a:lnSpc>
                    <a:spcPct val="100000"/>
                  </a:lnSpc>
                  <a:spcBef>
                    <a:spcPts val="0"/>
                  </a:spcBef>
                  <a:spcAft>
                    <a:spcPts val="0"/>
                  </a:spcAft>
                  <a:buClrTx/>
                  <a:buSzTx/>
                  <a:buFontTx/>
                  <a:buNone/>
                  <a:tabLst/>
                  <a:defRPr/>
                </a:pPr>
                <a:endParaRPr kumimoji="0" lang="en-US" sz="17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342" name="Freeform: Shape 167">
                <a:extLst>
                  <a:ext uri="{FF2B5EF4-FFF2-40B4-BE49-F238E27FC236}">
                    <a16:creationId xmlns:a16="http://schemas.microsoft.com/office/drawing/2014/main" id="{521B5F0F-19EC-BA8A-63B5-9899A37AEAA4}"/>
                  </a:ext>
                </a:extLst>
              </p:cNvPr>
              <p:cNvSpPr/>
              <p:nvPr/>
            </p:nvSpPr>
            <p:spPr>
              <a:xfrm>
                <a:off x="4649342" y="4051934"/>
                <a:ext cx="17525" cy="85915"/>
              </a:xfrm>
              <a:custGeom>
                <a:avLst/>
                <a:gdLst>
                  <a:gd name="connsiteX0" fmla="*/ 2381 w 17525"/>
                  <a:gd name="connsiteY0" fmla="*/ 15240 h 85915"/>
                  <a:gd name="connsiteX1" fmla="*/ 0 w 17525"/>
                  <a:gd name="connsiteY1" fmla="*/ 8858 h 85915"/>
                  <a:gd name="connsiteX2" fmla="*/ 2381 w 17525"/>
                  <a:gd name="connsiteY2" fmla="*/ 2381 h 85915"/>
                  <a:gd name="connsiteX3" fmla="*/ 8858 w 17525"/>
                  <a:gd name="connsiteY3" fmla="*/ 0 h 85915"/>
                  <a:gd name="connsiteX4" fmla="*/ 15145 w 17525"/>
                  <a:gd name="connsiteY4" fmla="*/ 2381 h 85915"/>
                  <a:gd name="connsiteX5" fmla="*/ 17526 w 17525"/>
                  <a:gd name="connsiteY5" fmla="*/ 8858 h 85915"/>
                  <a:gd name="connsiteX6" fmla="*/ 15145 w 17525"/>
                  <a:gd name="connsiteY6" fmla="*/ 15240 h 85915"/>
                  <a:gd name="connsiteX7" fmla="*/ 8858 w 17525"/>
                  <a:gd name="connsiteY7" fmla="*/ 17621 h 85915"/>
                  <a:gd name="connsiteX8" fmla="*/ 2381 w 17525"/>
                  <a:gd name="connsiteY8" fmla="*/ 15240 h 85915"/>
                  <a:gd name="connsiteX9" fmla="*/ 953 w 17525"/>
                  <a:gd name="connsiteY9" fmla="*/ 25622 h 85915"/>
                  <a:gd name="connsiteX10" fmla="*/ 16669 w 17525"/>
                  <a:gd name="connsiteY10" fmla="*/ 25622 h 85915"/>
                  <a:gd name="connsiteX11" fmla="*/ 16669 w 17525"/>
                  <a:gd name="connsiteY11" fmla="*/ 85916 h 85915"/>
                  <a:gd name="connsiteX12" fmla="*/ 953 w 17525"/>
                  <a:gd name="connsiteY12" fmla="*/ 85916 h 85915"/>
                  <a:gd name="connsiteX13" fmla="*/ 953 w 17525"/>
                  <a:gd name="connsiteY13" fmla="*/ 25622 h 85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7525" h="85915">
                    <a:moveTo>
                      <a:pt x="2381" y="15240"/>
                    </a:moveTo>
                    <a:cubicBezTo>
                      <a:pt x="857" y="13621"/>
                      <a:pt x="0" y="11525"/>
                      <a:pt x="0" y="8858"/>
                    </a:cubicBezTo>
                    <a:cubicBezTo>
                      <a:pt x="0" y="6191"/>
                      <a:pt x="762" y="4001"/>
                      <a:pt x="2381" y="2381"/>
                    </a:cubicBezTo>
                    <a:cubicBezTo>
                      <a:pt x="4001" y="762"/>
                      <a:pt x="6096" y="0"/>
                      <a:pt x="8858" y="0"/>
                    </a:cubicBezTo>
                    <a:cubicBezTo>
                      <a:pt x="11621" y="0"/>
                      <a:pt x="13621" y="762"/>
                      <a:pt x="15145" y="2381"/>
                    </a:cubicBezTo>
                    <a:cubicBezTo>
                      <a:pt x="16669" y="4001"/>
                      <a:pt x="17526" y="6096"/>
                      <a:pt x="17526" y="8858"/>
                    </a:cubicBezTo>
                    <a:cubicBezTo>
                      <a:pt x="17526" y="11621"/>
                      <a:pt x="16764" y="13621"/>
                      <a:pt x="15145" y="15240"/>
                    </a:cubicBezTo>
                    <a:cubicBezTo>
                      <a:pt x="13526" y="16859"/>
                      <a:pt x="11430" y="17621"/>
                      <a:pt x="8858" y="17621"/>
                    </a:cubicBezTo>
                    <a:cubicBezTo>
                      <a:pt x="6096" y="17621"/>
                      <a:pt x="3905" y="16859"/>
                      <a:pt x="2381" y="15240"/>
                    </a:cubicBezTo>
                    <a:close/>
                    <a:moveTo>
                      <a:pt x="953" y="25622"/>
                    </a:moveTo>
                    <a:lnTo>
                      <a:pt x="16669" y="25622"/>
                    </a:lnTo>
                    <a:lnTo>
                      <a:pt x="16669" y="85916"/>
                    </a:lnTo>
                    <a:lnTo>
                      <a:pt x="953" y="85916"/>
                    </a:lnTo>
                    <a:lnTo>
                      <a:pt x="953" y="25622"/>
                    </a:lnTo>
                    <a:close/>
                  </a:path>
                </a:pathLst>
              </a:custGeom>
              <a:solidFill>
                <a:srgbClr val="231F20"/>
              </a:solidFill>
              <a:ln w="9525" cap="flat">
                <a:noFill/>
                <a:prstDash val="solid"/>
                <a:miter/>
              </a:ln>
            </p:spPr>
            <p:txBody>
              <a:bodyPr rtlCol="0" anchor="ctr"/>
              <a:lstStyle/>
              <a:p>
                <a:pPr marL="0" marR="0" lvl="0" indent="0" algn="l" defTabSz="913578" rtl="0" eaLnBrk="1" fontAlgn="auto" latinLnBrk="0" hangingPunct="1">
                  <a:lnSpc>
                    <a:spcPct val="100000"/>
                  </a:lnSpc>
                  <a:spcBef>
                    <a:spcPts val="0"/>
                  </a:spcBef>
                  <a:spcAft>
                    <a:spcPts val="0"/>
                  </a:spcAft>
                  <a:buClrTx/>
                  <a:buSzTx/>
                  <a:buFontTx/>
                  <a:buNone/>
                  <a:tabLst/>
                  <a:defRPr/>
                </a:pPr>
                <a:endParaRPr kumimoji="0" lang="en-US" sz="17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343" name="Freeform: Shape 168">
                <a:extLst>
                  <a:ext uri="{FF2B5EF4-FFF2-40B4-BE49-F238E27FC236}">
                    <a16:creationId xmlns:a16="http://schemas.microsoft.com/office/drawing/2014/main" id="{072D0783-E1D2-58D1-8A22-06CE48E1A9C0}"/>
                  </a:ext>
                </a:extLst>
              </p:cNvPr>
              <p:cNvSpPr/>
              <p:nvPr/>
            </p:nvSpPr>
            <p:spPr>
              <a:xfrm>
                <a:off x="4675536" y="4062888"/>
                <a:ext cx="35814" cy="76104"/>
              </a:xfrm>
              <a:custGeom>
                <a:avLst/>
                <a:gdLst>
                  <a:gd name="connsiteX0" fmla="*/ 11621 w 35814"/>
                  <a:gd name="connsiteY0" fmla="*/ 71914 h 76104"/>
                  <a:gd name="connsiteX1" fmla="*/ 7620 w 35814"/>
                  <a:gd name="connsiteY1" fmla="*/ 59722 h 76104"/>
                  <a:gd name="connsiteX2" fmla="*/ 7620 w 35814"/>
                  <a:gd name="connsiteY2" fmla="*/ 26384 h 76104"/>
                  <a:gd name="connsiteX3" fmla="*/ 0 w 35814"/>
                  <a:gd name="connsiteY3" fmla="*/ 26384 h 76104"/>
                  <a:gd name="connsiteX4" fmla="*/ 0 w 35814"/>
                  <a:gd name="connsiteY4" fmla="*/ 14764 h 76104"/>
                  <a:gd name="connsiteX5" fmla="*/ 8382 w 35814"/>
                  <a:gd name="connsiteY5" fmla="*/ 14764 h 76104"/>
                  <a:gd name="connsiteX6" fmla="*/ 9144 w 35814"/>
                  <a:gd name="connsiteY6" fmla="*/ 1143 h 76104"/>
                  <a:gd name="connsiteX7" fmla="*/ 23051 w 35814"/>
                  <a:gd name="connsiteY7" fmla="*/ 0 h 76104"/>
                  <a:gd name="connsiteX8" fmla="*/ 23051 w 35814"/>
                  <a:gd name="connsiteY8" fmla="*/ 14764 h 76104"/>
                  <a:gd name="connsiteX9" fmla="*/ 35052 w 35814"/>
                  <a:gd name="connsiteY9" fmla="*/ 14764 h 76104"/>
                  <a:gd name="connsiteX10" fmla="*/ 35052 w 35814"/>
                  <a:gd name="connsiteY10" fmla="*/ 26384 h 76104"/>
                  <a:gd name="connsiteX11" fmla="*/ 23051 w 35814"/>
                  <a:gd name="connsiteY11" fmla="*/ 26384 h 76104"/>
                  <a:gd name="connsiteX12" fmla="*/ 23051 w 35814"/>
                  <a:gd name="connsiteY12" fmla="*/ 55531 h 76104"/>
                  <a:gd name="connsiteX13" fmla="*/ 24479 w 35814"/>
                  <a:gd name="connsiteY13" fmla="*/ 61246 h 76104"/>
                  <a:gd name="connsiteX14" fmla="*/ 28956 w 35814"/>
                  <a:gd name="connsiteY14" fmla="*/ 63056 h 76104"/>
                  <a:gd name="connsiteX15" fmla="*/ 34671 w 35814"/>
                  <a:gd name="connsiteY15" fmla="*/ 62389 h 76104"/>
                  <a:gd name="connsiteX16" fmla="*/ 35814 w 35814"/>
                  <a:gd name="connsiteY16" fmla="*/ 74295 h 76104"/>
                  <a:gd name="connsiteX17" fmla="*/ 23051 w 35814"/>
                  <a:gd name="connsiteY17" fmla="*/ 76105 h 76104"/>
                  <a:gd name="connsiteX18" fmla="*/ 11525 w 35814"/>
                  <a:gd name="connsiteY18" fmla="*/ 72009 h 76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5814" h="76104">
                    <a:moveTo>
                      <a:pt x="11621" y="71914"/>
                    </a:moveTo>
                    <a:cubicBezTo>
                      <a:pt x="8954" y="69152"/>
                      <a:pt x="7620" y="65151"/>
                      <a:pt x="7620" y="59722"/>
                    </a:cubicBezTo>
                    <a:lnTo>
                      <a:pt x="7620" y="26384"/>
                    </a:lnTo>
                    <a:lnTo>
                      <a:pt x="0" y="26384"/>
                    </a:lnTo>
                    <a:lnTo>
                      <a:pt x="0" y="14764"/>
                    </a:lnTo>
                    <a:lnTo>
                      <a:pt x="8382" y="14764"/>
                    </a:lnTo>
                    <a:lnTo>
                      <a:pt x="9144" y="1143"/>
                    </a:lnTo>
                    <a:lnTo>
                      <a:pt x="23051" y="0"/>
                    </a:lnTo>
                    <a:lnTo>
                      <a:pt x="23051" y="14764"/>
                    </a:lnTo>
                    <a:lnTo>
                      <a:pt x="35052" y="14764"/>
                    </a:lnTo>
                    <a:lnTo>
                      <a:pt x="35052" y="26384"/>
                    </a:lnTo>
                    <a:lnTo>
                      <a:pt x="23051" y="26384"/>
                    </a:lnTo>
                    <a:lnTo>
                      <a:pt x="23051" y="55531"/>
                    </a:lnTo>
                    <a:cubicBezTo>
                      <a:pt x="23051" y="58103"/>
                      <a:pt x="23527" y="60008"/>
                      <a:pt x="24479" y="61246"/>
                    </a:cubicBezTo>
                    <a:cubicBezTo>
                      <a:pt x="25432" y="62484"/>
                      <a:pt x="26861" y="63056"/>
                      <a:pt x="28956" y="63056"/>
                    </a:cubicBezTo>
                    <a:cubicBezTo>
                      <a:pt x="30575" y="63056"/>
                      <a:pt x="32480" y="62865"/>
                      <a:pt x="34671" y="62389"/>
                    </a:cubicBezTo>
                    <a:lnTo>
                      <a:pt x="35814" y="74295"/>
                    </a:lnTo>
                    <a:cubicBezTo>
                      <a:pt x="31528" y="75438"/>
                      <a:pt x="27337" y="76105"/>
                      <a:pt x="23051" y="76105"/>
                    </a:cubicBezTo>
                    <a:cubicBezTo>
                      <a:pt x="18002" y="76105"/>
                      <a:pt x="14192" y="74771"/>
                      <a:pt x="11525" y="72009"/>
                    </a:cubicBezTo>
                    <a:close/>
                  </a:path>
                </a:pathLst>
              </a:custGeom>
              <a:solidFill>
                <a:srgbClr val="231F20"/>
              </a:solidFill>
              <a:ln w="9525" cap="flat">
                <a:noFill/>
                <a:prstDash val="solid"/>
                <a:miter/>
              </a:ln>
            </p:spPr>
            <p:txBody>
              <a:bodyPr rtlCol="0" anchor="ctr"/>
              <a:lstStyle/>
              <a:p>
                <a:pPr marL="0" marR="0" lvl="0" indent="0" algn="l" defTabSz="913578" rtl="0" eaLnBrk="1" fontAlgn="auto" latinLnBrk="0" hangingPunct="1">
                  <a:lnSpc>
                    <a:spcPct val="100000"/>
                  </a:lnSpc>
                  <a:spcBef>
                    <a:spcPts val="0"/>
                  </a:spcBef>
                  <a:spcAft>
                    <a:spcPts val="0"/>
                  </a:spcAft>
                  <a:buClrTx/>
                  <a:buSzTx/>
                  <a:buFontTx/>
                  <a:buNone/>
                  <a:tabLst/>
                  <a:defRPr/>
                </a:pPr>
                <a:endParaRPr kumimoji="0" lang="en-US" sz="17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344" name="Freeform: Shape 169">
                <a:extLst>
                  <a:ext uri="{FF2B5EF4-FFF2-40B4-BE49-F238E27FC236}">
                    <a16:creationId xmlns:a16="http://schemas.microsoft.com/office/drawing/2014/main" id="{9B57E5AB-9303-0AAC-1DAF-00FA6BE956E9}"/>
                  </a:ext>
                </a:extLst>
              </p:cNvPr>
              <p:cNvSpPr/>
              <p:nvPr/>
            </p:nvSpPr>
            <p:spPr>
              <a:xfrm>
                <a:off x="4716303" y="4076509"/>
                <a:ext cx="53149" cy="62674"/>
              </a:xfrm>
              <a:custGeom>
                <a:avLst/>
                <a:gdLst>
                  <a:gd name="connsiteX0" fmla="*/ 8954 w 53149"/>
                  <a:gd name="connsiteY0" fmla="*/ 60388 h 62674"/>
                  <a:gd name="connsiteX1" fmla="*/ 2381 w 53149"/>
                  <a:gd name="connsiteY1" fmla="*/ 54197 h 62674"/>
                  <a:gd name="connsiteX2" fmla="*/ 0 w 53149"/>
                  <a:gd name="connsiteY2" fmla="*/ 44387 h 62674"/>
                  <a:gd name="connsiteX3" fmla="*/ 6477 w 53149"/>
                  <a:gd name="connsiteY3" fmla="*/ 29813 h 62674"/>
                  <a:gd name="connsiteX4" fmla="*/ 23908 w 53149"/>
                  <a:gd name="connsiteY4" fmla="*/ 25051 h 62674"/>
                  <a:gd name="connsiteX5" fmla="*/ 36957 w 53149"/>
                  <a:gd name="connsiteY5" fmla="*/ 24860 h 62674"/>
                  <a:gd name="connsiteX6" fmla="*/ 36957 w 53149"/>
                  <a:gd name="connsiteY6" fmla="*/ 22003 h 62674"/>
                  <a:gd name="connsiteX7" fmla="*/ 34290 w 53149"/>
                  <a:gd name="connsiteY7" fmla="*/ 14288 h 62674"/>
                  <a:gd name="connsiteX8" fmla="*/ 27051 w 53149"/>
                  <a:gd name="connsiteY8" fmla="*/ 12097 h 62674"/>
                  <a:gd name="connsiteX9" fmla="*/ 10763 w 53149"/>
                  <a:gd name="connsiteY9" fmla="*/ 19431 h 62674"/>
                  <a:gd name="connsiteX10" fmla="*/ 3334 w 53149"/>
                  <a:gd name="connsiteY10" fmla="*/ 9620 h 62674"/>
                  <a:gd name="connsiteX11" fmla="*/ 27908 w 53149"/>
                  <a:gd name="connsiteY11" fmla="*/ 0 h 62674"/>
                  <a:gd name="connsiteX12" fmla="*/ 46196 w 53149"/>
                  <a:gd name="connsiteY12" fmla="*/ 5620 h 62674"/>
                  <a:gd name="connsiteX13" fmla="*/ 52673 w 53149"/>
                  <a:gd name="connsiteY13" fmla="*/ 21622 h 62674"/>
                  <a:gd name="connsiteX14" fmla="*/ 52673 w 53149"/>
                  <a:gd name="connsiteY14" fmla="*/ 43720 h 62674"/>
                  <a:gd name="connsiteX15" fmla="*/ 53150 w 53149"/>
                  <a:gd name="connsiteY15" fmla="*/ 61531 h 62674"/>
                  <a:gd name="connsiteX16" fmla="*/ 38291 w 53149"/>
                  <a:gd name="connsiteY16" fmla="*/ 61531 h 62674"/>
                  <a:gd name="connsiteX17" fmla="*/ 37910 w 53149"/>
                  <a:gd name="connsiteY17" fmla="*/ 53054 h 62674"/>
                  <a:gd name="connsiteX18" fmla="*/ 37529 w 53149"/>
                  <a:gd name="connsiteY18" fmla="*/ 53054 h 62674"/>
                  <a:gd name="connsiteX19" fmla="*/ 29813 w 53149"/>
                  <a:gd name="connsiteY19" fmla="*/ 60198 h 62674"/>
                  <a:gd name="connsiteX20" fmla="*/ 18764 w 53149"/>
                  <a:gd name="connsiteY20" fmla="*/ 62674 h 62674"/>
                  <a:gd name="connsiteX21" fmla="*/ 8954 w 53149"/>
                  <a:gd name="connsiteY21" fmla="*/ 60579 h 62674"/>
                  <a:gd name="connsiteX22" fmla="*/ 30575 w 53149"/>
                  <a:gd name="connsiteY22" fmla="*/ 48768 h 62674"/>
                  <a:gd name="connsiteX23" fmla="*/ 35338 w 53149"/>
                  <a:gd name="connsiteY23" fmla="*/ 43910 h 62674"/>
                  <a:gd name="connsiteX24" fmla="*/ 37052 w 53149"/>
                  <a:gd name="connsiteY24" fmla="*/ 37529 h 62674"/>
                  <a:gd name="connsiteX25" fmla="*/ 37052 w 53149"/>
                  <a:gd name="connsiteY25" fmla="*/ 34480 h 62674"/>
                  <a:gd name="connsiteX26" fmla="*/ 28956 w 53149"/>
                  <a:gd name="connsiteY26" fmla="*/ 34480 h 62674"/>
                  <a:gd name="connsiteX27" fmla="*/ 22288 w 53149"/>
                  <a:gd name="connsiteY27" fmla="*/ 35433 h 62674"/>
                  <a:gd name="connsiteX28" fmla="*/ 18097 w 53149"/>
                  <a:gd name="connsiteY28" fmla="*/ 37814 h 62674"/>
                  <a:gd name="connsiteX29" fmla="*/ 16478 w 53149"/>
                  <a:gd name="connsiteY29" fmla="*/ 43053 h 62674"/>
                  <a:gd name="connsiteX30" fmla="*/ 18479 w 53149"/>
                  <a:gd name="connsiteY30" fmla="*/ 48673 h 62674"/>
                  <a:gd name="connsiteX31" fmla="*/ 23813 w 53149"/>
                  <a:gd name="connsiteY31" fmla="*/ 50578 h 62674"/>
                  <a:gd name="connsiteX32" fmla="*/ 30671 w 53149"/>
                  <a:gd name="connsiteY32" fmla="*/ 48768 h 626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53149" h="62674">
                    <a:moveTo>
                      <a:pt x="8954" y="60388"/>
                    </a:moveTo>
                    <a:cubicBezTo>
                      <a:pt x="6191" y="58960"/>
                      <a:pt x="4001" y="56864"/>
                      <a:pt x="2381" y="54197"/>
                    </a:cubicBezTo>
                    <a:cubicBezTo>
                      <a:pt x="762" y="51530"/>
                      <a:pt x="0" y="48196"/>
                      <a:pt x="0" y="44387"/>
                    </a:cubicBezTo>
                    <a:cubicBezTo>
                      <a:pt x="0" y="37719"/>
                      <a:pt x="2191" y="32861"/>
                      <a:pt x="6477" y="29813"/>
                    </a:cubicBezTo>
                    <a:cubicBezTo>
                      <a:pt x="10763" y="26765"/>
                      <a:pt x="16574" y="25241"/>
                      <a:pt x="23908" y="25051"/>
                    </a:cubicBezTo>
                    <a:lnTo>
                      <a:pt x="36957" y="24860"/>
                    </a:lnTo>
                    <a:lnTo>
                      <a:pt x="36957" y="22003"/>
                    </a:lnTo>
                    <a:cubicBezTo>
                      <a:pt x="36957" y="18288"/>
                      <a:pt x="36100" y="15716"/>
                      <a:pt x="34290" y="14288"/>
                    </a:cubicBezTo>
                    <a:cubicBezTo>
                      <a:pt x="32480" y="12859"/>
                      <a:pt x="30099" y="12097"/>
                      <a:pt x="27051" y="12097"/>
                    </a:cubicBezTo>
                    <a:cubicBezTo>
                      <a:pt x="21717" y="12097"/>
                      <a:pt x="16288" y="14573"/>
                      <a:pt x="10763" y="19431"/>
                    </a:cubicBezTo>
                    <a:lnTo>
                      <a:pt x="3334" y="9620"/>
                    </a:lnTo>
                    <a:cubicBezTo>
                      <a:pt x="10573" y="3238"/>
                      <a:pt x="18764" y="0"/>
                      <a:pt x="27908" y="0"/>
                    </a:cubicBezTo>
                    <a:cubicBezTo>
                      <a:pt x="35719" y="0"/>
                      <a:pt x="41815" y="1905"/>
                      <a:pt x="46196" y="5620"/>
                    </a:cubicBezTo>
                    <a:cubicBezTo>
                      <a:pt x="50578" y="9334"/>
                      <a:pt x="52673" y="14668"/>
                      <a:pt x="52673" y="21622"/>
                    </a:cubicBezTo>
                    <a:lnTo>
                      <a:pt x="52673" y="43720"/>
                    </a:lnTo>
                    <a:cubicBezTo>
                      <a:pt x="52673" y="50387"/>
                      <a:pt x="52864" y="56293"/>
                      <a:pt x="53150" y="61531"/>
                    </a:cubicBezTo>
                    <a:lnTo>
                      <a:pt x="38291" y="61531"/>
                    </a:lnTo>
                    <a:cubicBezTo>
                      <a:pt x="38005" y="58864"/>
                      <a:pt x="37910" y="56102"/>
                      <a:pt x="37910" y="53054"/>
                    </a:cubicBezTo>
                    <a:lnTo>
                      <a:pt x="37529" y="53054"/>
                    </a:lnTo>
                    <a:cubicBezTo>
                      <a:pt x="35528" y="56102"/>
                      <a:pt x="32956" y="58483"/>
                      <a:pt x="29813" y="60198"/>
                    </a:cubicBezTo>
                    <a:cubicBezTo>
                      <a:pt x="26670" y="61913"/>
                      <a:pt x="22955" y="62674"/>
                      <a:pt x="18764" y="62674"/>
                    </a:cubicBezTo>
                    <a:cubicBezTo>
                      <a:pt x="15050" y="62674"/>
                      <a:pt x="11811" y="62008"/>
                      <a:pt x="8954" y="60579"/>
                    </a:cubicBezTo>
                    <a:close/>
                    <a:moveTo>
                      <a:pt x="30575" y="48768"/>
                    </a:moveTo>
                    <a:cubicBezTo>
                      <a:pt x="32576" y="47530"/>
                      <a:pt x="34195" y="45910"/>
                      <a:pt x="35338" y="43910"/>
                    </a:cubicBezTo>
                    <a:cubicBezTo>
                      <a:pt x="36481" y="41910"/>
                      <a:pt x="37052" y="39814"/>
                      <a:pt x="37052" y="37529"/>
                    </a:cubicBezTo>
                    <a:lnTo>
                      <a:pt x="37052" y="34480"/>
                    </a:lnTo>
                    <a:lnTo>
                      <a:pt x="28956" y="34480"/>
                    </a:lnTo>
                    <a:cubicBezTo>
                      <a:pt x="26194" y="34766"/>
                      <a:pt x="24003" y="35052"/>
                      <a:pt x="22288" y="35433"/>
                    </a:cubicBezTo>
                    <a:cubicBezTo>
                      <a:pt x="20574" y="35814"/>
                      <a:pt x="19145" y="36576"/>
                      <a:pt x="18097" y="37814"/>
                    </a:cubicBezTo>
                    <a:cubicBezTo>
                      <a:pt x="17050" y="39052"/>
                      <a:pt x="16478" y="40767"/>
                      <a:pt x="16478" y="43053"/>
                    </a:cubicBezTo>
                    <a:cubicBezTo>
                      <a:pt x="16478" y="45339"/>
                      <a:pt x="17145" y="47339"/>
                      <a:pt x="18479" y="48673"/>
                    </a:cubicBezTo>
                    <a:cubicBezTo>
                      <a:pt x="19812" y="50006"/>
                      <a:pt x="21622" y="50578"/>
                      <a:pt x="23813" y="50578"/>
                    </a:cubicBezTo>
                    <a:cubicBezTo>
                      <a:pt x="26384" y="50578"/>
                      <a:pt x="28670" y="50006"/>
                      <a:pt x="30671" y="48768"/>
                    </a:cubicBezTo>
                    <a:close/>
                  </a:path>
                </a:pathLst>
              </a:custGeom>
              <a:solidFill>
                <a:srgbClr val="231F20"/>
              </a:solidFill>
              <a:ln w="9525" cap="flat">
                <a:noFill/>
                <a:prstDash val="solid"/>
                <a:miter/>
              </a:ln>
            </p:spPr>
            <p:txBody>
              <a:bodyPr rtlCol="0" anchor="ctr"/>
              <a:lstStyle/>
              <a:p>
                <a:pPr marL="0" marR="0" lvl="0" indent="0" algn="l" defTabSz="913578" rtl="0" eaLnBrk="1" fontAlgn="auto" latinLnBrk="0" hangingPunct="1">
                  <a:lnSpc>
                    <a:spcPct val="100000"/>
                  </a:lnSpc>
                  <a:spcBef>
                    <a:spcPts val="0"/>
                  </a:spcBef>
                  <a:spcAft>
                    <a:spcPts val="0"/>
                  </a:spcAft>
                  <a:buClrTx/>
                  <a:buSzTx/>
                  <a:buFontTx/>
                  <a:buNone/>
                  <a:tabLst/>
                  <a:defRPr/>
                </a:pPr>
                <a:endParaRPr kumimoji="0" lang="en-US" sz="17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345" name="Freeform: Shape 170">
                <a:extLst>
                  <a:ext uri="{FF2B5EF4-FFF2-40B4-BE49-F238E27FC236}">
                    <a16:creationId xmlns:a16="http://schemas.microsoft.com/office/drawing/2014/main" id="{0946CCDC-57DA-FA87-2D5B-D03D6D3B32C0}"/>
                  </a:ext>
                </a:extLst>
              </p:cNvPr>
              <p:cNvSpPr/>
              <p:nvPr/>
            </p:nvSpPr>
            <p:spPr>
              <a:xfrm>
                <a:off x="4783645" y="4054983"/>
                <a:ext cx="24383" cy="83629"/>
              </a:xfrm>
              <a:custGeom>
                <a:avLst/>
                <a:gdLst>
                  <a:gd name="connsiteX0" fmla="*/ 4001 w 24383"/>
                  <a:gd name="connsiteY0" fmla="*/ 79534 h 83629"/>
                  <a:gd name="connsiteX1" fmla="*/ 0 w 24383"/>
                  <a:gd name="connsiteY1" fmla="*/ 68294 h 83629"/>
                  <a:gd name="connsiteX2" fmla="*/ 0 w 24383"/>
                  <a:gd name="connsiteY2" fmla="*/ 0 h 83629"/>
                  <a:gd name="connsiteX3" fmla="*/ 15716 w 24383"/>
                  <a:gd name="connsiteY3" fmla="*/ 0 h 83629"/>
                  <a:gd name="connsiteX4" fmla="*/ 15716 w 24383"/>
                  <a:gd name="connsiteY4" fmla="*/ 64389 h 83629"/>
                  <a:gd name="connsiteX5" fmla="*/ 16097 w 24383"/>
                  <a:gd name="connsiteY5" fmla="*/ 68389 h 83629"/>
                  <a:gd name="connsiteX6" fmla="*/ 17621 w 24383"/>
                  <a:gd name="connsiteY6" fmla="*/ 70485 h 83629"/>
                  <a:gd name="connsiteX7" fmla="*/ 20955 w 24383"/>
                  <a:gd name="connsiteY7" fmla="*/ 71152 h 83629"/>
                  <a:gd name="connsiteX8" fmla="*/ 23813 w 24383"/>
                  <a:gd name="connsiteY8" fmla="*/ 70771 h 83629"/>
                  <a:gd name="connsiteX9" fmla="*/ 24384 w 24383"/>
                  <a:gd name="connsiteY9" fmla="*/ 82868 h 83629"/>
                  <a:gd name="connsiteX10" fmla="*/ 16097 w 24383"/>
                  <a:gd name="connsiteY10" fmla="*/ 83629 h 83629"/>
                  <a:gd name="connsiteX11" fmla="*/ 3905 w 24383"/>
                  <a:gd name="connsiteY11" fmla="*/ 79438 h 836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383" h="83629">
                    <a:moveTo>
                      <a:pt x="4001" y="79534"/>
                    </a:moveTo>
                    <a:cubicBezTo>
                      <a:pt x="1333" y="76771"/>
                      <a:pt x="0" y="72962"/>
                      <a:pt x="0" y="68294"/>
                    </a:cubicBezTo>
                    <a:lnTo>
                      <a:pt x="0" y="0"/>
                    </a:lnTo>
                    <a:lnTo>
                      <a:pt x="15716" y="0"/>
                    </a:lnTo>
                    <a:lnTo>
                      <a:pt x="15716" y="64389"/>
                    </a:lnTo>
                    <a:cubicBezTo>
                      <a:pt x="15716" y="66104"/>
                      <a:pt x="15812" y="67532"/>
                      <a:pt x="16097" y="68389"/>
                    </a:cubicBezTo>
                    <a:cubicBezTo>
                      <a:pt x="16383" y="69247"/>
                      <a:pt x="16859" y="70009"/>
                      <a:pt x="17621" y="70485"/>
                    </a:cubicBezTo>
                    <a:cubicBezTo>
                      <a:pt x="18383" y="70961"/>
                      <a:pt x="19526" y="71152"/>
                      <a:pt x="20955" y="71152"/>
                    </a:cubicBezTo>
                    <a:cubicBezTo>
                      <a:pt x="21812" y="71152"/>
                      <a:pt x="22765" y="71056"/>
                      <a:pt x="23813" y="70771"/>
                    </a:cubicBezTo>
                    <a:lnTo>
                      <a:pt x="24384" y="82868"/>
                    </a:lnTo>
                    <a:cubicBezTo>
                      <a:pt x="21717" y="83344"/>
                      <a:pt x="18955" y="83629"/>
                      <a:pt x="16097" y="83629"/>
                    </a:cubicBezTo>
                    <a:cubicBezTo>
                      <a:pt x="10668" y="83629"/>
                      <a:pt x="6572" y="82201"/>
                      <a:pt x="3905" y="79438"/>
                    </a:cubicBezTo>
                    <a:close/>
                  </a:path>
                </a:pathLst>
              </a:custGeom>
              <a:solidFill>
                <a:srgbClr val="231F20"/>
              </a:solidFill>
              <a:ln w="9525" cap="flat">
                <a:noFill/>
                <a:prstDash val="solid"/>
                <a:miter/>
              </a:ln>
            </p:spPr>
            <p:txBody>
              <a:bodyPr rtlCol="0" anchor="ctr"/>
              <a:lstStyle/>
              <a:p>
                <a:pPr marL="0" marR="0" lvl="0" indent="0" algn="l" defTabSz="913578" rtl="0" eaLnBrk="1" fontAlgn="auto" latinLnBrk="0" hangingPunct="1">
                  <a:lnSpc>
                    <a:spcPct val="100000"/>
                  </a:lnSpc>
                  <a:spcBef>
                    <a:spcPts val="0"/>
                  </a:spcBef>
                  <a:spcAft>
                    <a:spcPts val="0"/>
                  </a:spcAft>
                  <a:buClrTx/>
                  <a:buSzTx/>
                  <a:buFontTx/>
                  <a:buNone/>
                  <a:tabLst/>
                  <a:defRPr/>
                </a:pPr>
                <a:endParaRPr kumimoji="0" lang="en-US" sz="17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346" name="Freeform: Shape 171">
                <a:extLst>
                  <a:ext uri="{FF2B5EF4-FFF2-40B4-BE49-F238E27FC236}">
                    <a16:creationId xmlns:a16="http://schemas.microsoft.com/office/drawing/2014/main" id="{AD20AE15-0463-AE84-B266-65DF012FBDD2}"/>
                  </a:ext>
                </a:extLst>
              </p:cNvPr>
              <p:cNvSpPr/>
              <p:nvPr/>
            </p:nvSpPr>
            <p:spPr>
              <a:xfrm>
                <a:off x="4286345" y="4213574"/>
                <a:ext cx="87058" cy="61722"/>
              </a:xfrm>
              <a:custGeom>
                <a:avLst/>
                <a:gdLst>
                  <a:gd name="connsiteX0" fmla="*/ 381 w 87058"/>
                  <a:gd name="connsiteY0" fmla="*/ 14669 h 61722"/>
                  <a:gd name="connsiteX1" fmla="*/ 286 w 87058"/>
                  <a:gd name="connsiteY1" fmla="*/ 6763 h 61722"/>
                  <a:gd name="connsiteX2" fmla="*/ 0 w 87058"/>
                  <a:gd name="connsiteY2" fmla="*/ 1238 h 61722"/>
                  <a:gd name="connsiteX3" fmla="*/ 14954 w 87058"/>
                  <a:gd name="connsiteY3" fmla="*/ 1238 h 61722"/>
                  <a:gd name="connsiteX4" fmla="*/ 15430 w 87058"/>
                  <a:gd name="connsiteY4" fmla="*/ 6191 h 61722"/>
                  <a:gd name="connsiteX5" fmla="*/ 15716 w 87058"/>
                  <a:gd name="connsiteY5" fmla="*/ 12097 h 61722"/>
                  <a:gd name="connsiteX6" fmla="*/ 15907 w 87058"/>
                  <a:gd name="connsiteY6" fmla="*/ 12097 h 61722"/>
                  <a:gd name="connsiteX7" fmla="*/ 23146 w 87058"/>
                  <a:gd name="connsiteY7" fmla="*/ 2953 h 61722"/>
                  <a:gd name="connsiteX8" fmla="*/ 33528 w 87058"/>
                  <a:gd name="connsiteY8" fmla="*/ 0 h 61722"/>
                  <a:gd name="connsiteX9" fmla="*/ 44577 w 87058"/>
                  <a:gd name="connsiteY9" fmla="*/ 3143 h 61722"/>
                  <a:gd name="connsiteX10" fmla="*/ 50292 w 87058"/>
                  <a:gd name="connsiteY10" fmla="*/ 12192 h 61722"/>
                  <a:gd name="connsiteX11" fmla="*/ 50673 w 87058"/>
                  <a:gd name="connsiteY11" fmla="*/ 12192 h 61722"/>
                  <a:gd name="connsiteX12" fmla="*/ 58102 w 87058"/>
                  <a:gd name="connsiteY12" fmla="*/ 2858 h 61722"/>
                  <a:gd name="connsiteX13" fmla="*/ 68961 w 87058"/>
                  <a:gd name="connsiteY13" fmla="*/ 95 h 61722"/>
                  <a:gd name="connsiteX14" fmla="*/ 82677 w 87058"/>
                  <a:gd name="connsiteY14" fmla="*/ 6477 h 61722"/>
                  <a:gd name="connsiteX15" fmla="*/ 87058 w 87058"/>
                  <a:gd name="connsiteY15" fmla="*/ 23431 h 61722"/>
                  <a:gd name="connsiteX16" fmla="*/ 87058 w 87058"/>
                  <a:gd name="connsiteY16" fmla="*/ 61722 h 61722"/>
                  <a:gd name="connsiteX17" fmla="*/ 71533 w 87058"/>
                  <a:gd name="connsiteY17" fmla="*/ 61722 h 61722"/>
                  <a:gd name="connsiteX18" fmla="*/ 71533 w 87058"/>
                  <a:gd name="connsiteY18" fmla="*/ 27908 h 61722"/>
                  <a:gd name="connsiteX19" fmla="*/ 69532 w 87058"/>
                  <a:gd name="connsiteY19" fmla="*/ 17431 h 61722"/>
                  <a:gd name="connsiteX20" fmla="*/ 62865 w 87058"/>
                  <a:gd name="connsiteY20" fmla="*/ 13716 h 61722"/>
                  <a:gd name="connsiteX21" fmla="*/ 57245 w 87058"/>
                  <a:gd name="connsiteY21" fmla="*/ 15621 h 61722"/>
                  <a:gd name="connsiteX22" fmla="*/ 53245 w 87058"/>
                  <a:gd name="connsiteY22" fmla="*/ 20860 h 61722"/>
                  <a:gd name="connsiteX23" fmla="*/ 51625 w 87058"/>
                  <a:gd name="connsiteY23" fmla="*/ 28575 h 61722"/>
                  <a:gd name="connsiteX24" fmla="*/ 51625 w 87058"/>
                  <a:gd name="connsiteY24" fmla="*/ 61722 h 61722"/>
                  <a:gd name="connsiteX25" fmla="*/ 36100 w 87058"/>
                  <a:gd name="connsiteY25" fmla="*/ 61722 h 61722"/>
                  <a:gd name="connsiteX26" fmla="*/ 36100 w 87058"/>
                  <a:gd name="connsiteY26" fmla="*/ 27908 h 61722"/>
                  <a:gd name="connsiteX27" fmla="*/ 34099 w 87058"/>
                  <a:gd name="connsiteY27" fmla="*/ 17431 h 61722"/>
                  <a:gd name="connsiteX28" fmla="*/ 27432 w 87058"/>
                  <a:gd name="connsiteY28" fmla="*/ 13716 h 61722"/>
                  <a:gd name="connsiteX29" fmla="*/ 21717 w 87058"/>
                  <a:gd name="connsiteY29" fmla="*/ 15716 h 61722"/>
                  <a:gd name="connsiteX30" fmla="*/ 17716 w 87058"/>
                  <a:gd name="connsiteY30" fmla="*/ 21241 h 61722"/>
                  <a:gd name="connsiteX31" fmla="*/ 16288 w 87058"/>
                  <a:gd name="connsiteY31" fmla="*/ 29337 h 61722"/>
                  <a:gd name="connsiteX32" fmla="*/ 16288 w 87058"/>
                  <a:gd name="connsiteY32" fmla="*/ 61722 h 61722"/>
                  <a:gd name="connsiteX33" fmla="*/ 571 w 87058"/>
                  <a:gd name="connsiteY33" fmla="*/ 61722 h 61722"/>
                  <a:gd name="connsiteX34" fmla="*/ 571 w 87058"/>
                  <a:gd name="connsiteY34" fmla="*/ 14859 h 61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87058" h="61722">
                    <a:moveTo>
                      <a:pt x="381" y="14669"/>
                    </a:moveTo>
                    <a:cubicBezTo>
                      <a:pt x="381" y="12097"/>
                      <a:pt x="381" y="9430"/>
                      <a:pt x="286" y="6763"/>
                    </a:cubicBezTo>
                    <a:cubicBezTo>
                      <a:pt x="190" y="4096"/>
                      <a:pt x="95" y="2191"/>
                      <a:pt x="0" y="1238"/>
                    </a:cubicBezTo>
                    <a:lnTo>
                      <a:pt x="14954" y="1238"/>
                    </a:lnTo>
                    <a:cubicBezTo>
                      <a:pt x="15145" y="2096"/>
                      <a:pt x="15240" y="3715"/>
                      <a:pt x="15430" y="6191"/>
                    </a:cubicBezTo>
                    <a:cubicBezTo>
                      <a:pt x="15621" y="8668"/>
                      <a:pt x="15716" y="10668"/>
                      <a:pt x="15716" y="12097"/>
                    </a:cubicBezTo>
                    <a:lnTo>
                      <a:pt x="15907" y="12097"/>
                    </a:lnTo>
                    <a:cubicBezTo>
                      <a:pt x="17812" y="8001"/>
                      <a:pt x="20193" y="4953"/>
                      <a:pt x="23146" y="2953"/>
                    </a:cubicBezTo>
                    <a:cubicBezTo>
                      <a:pt x="26098" y="953"/>
                      <a:pt x="29527" y="0"/>
                      <a:pt x="33528" y="0"/>
                    </a:cubicBezTo>
                    <a:cubicBezTo>
                      <a:pt x="38100" y="0"/>
                      <a:pt x="41720" y="1048"/>
                      <a:pt x="44577" y="3143"/>
                    </a:cubicBezTo>
                    <a:cubicBezTo>
                      <a:pt x="47434" y="5239"/>
                      <a:pt x="49339" y="8192"/>
                      <a:pt x="50292" y="12192"/>
                    </a:cubicBezTo>
                    <a:lnTo>
                      <a:pt x="50673" y="12192"/>
                    </a:lnTo>
                    <a:cubicBezTo>
                      <a:pt x="52673" y="7811"/>
                      <a:pt x="55245" y="4667"/>
                      <a:pt x="58102" y="2858"/>
                    </a:cubicBezTo>
                    <a:cubicBezTo>
                      <a:pt x="60960" y="1048"/>
                      <a:pt x="64675" y="95"/>
                      <a:pt x="68961" y="95"/>
                    </a:cubicBezTo>
                    <a:cubicBezTo>
                      <a:pt x="75247" y="95"/>
                      <a:pt x="79820" y="2191"/>
                      <a:pt x="82677" y="6477"/>
                    </a:cubicBezTo>
                    <a:cubicBezTo>
                      <a:pt x="85534" y="10763"/>
                      <a:pt x="87058" y="16383"/>
                      <a:pt x="87058" y="23431"/>
                    </a:cubicBezTo>
                    <a:lnTo>
                      <a:pt x="87058" y="61722"/>
                    </a:lnTo>
                    <a:lnTo>
                      <a:pt x="71533" y="61722"/>
                    </a:lnTo>
                    <a:lnTo>
                      <a:pt x="71533" y="27908"/>
                    </a:lnTo>
                    <a:cubicBezTo>
                      <a:pt x="71533" y="23336"/>
                      <a:pt x="70866" y="19907"/>
                      <a:pt x="69532" y="17431"/>
                    </a:cubicBezTo>
                    <a:cubicBezTo>
                      <a:pt x="68199" y="14954"/>
                      <a:pt x="66008" y="13716"/>
                      <a:pt x="62865" y="13716"/>
                    </a:cubicBezTo>
                    <a:cubicBezTo>
                      <a:pt x="60770" y="13716"/>
                      <a:pt x="58864" y="14383"/>
                      <a:pt x="57245" y="15621"/>
                    </a:cubicBezTo>
                    <a:cubicBezTo>
                      <a:pt x="55626" y="16859"/>
                      <a:pt x="54197" y="18574"/>
                      <a:pt x="53245" y="20860"/>
                    </a:cubicBezTo>
                    <a:cubicBezTo>
                      <a:pt x="52292" y="23146"/>
                      <a:pt x="51721" y="25718"/>
                      <a:pt x="51625" y="28575"/>
                    </a:cubicBezTo>
                    <a:lnTo>
                      <a:pt x="51625" y="61722"/>
                    </a:lnTo>
                    <a:lnTo>
                      <a:pt x="36100" y="61722"/>
                    </a:lnTo>
                    <a:lnTo>
                      <a:pt x="36100" y="27908"/>
                    </a:lnTo>
                    <a:cubicBezTo>
                      <a:pt x="36100" y="23336"/>
                      <a:pt x="35433" y="19907"/>
                      <a:pt x="34099" y="17431"/>
                    </a:cubicBezTo>
                    <a:cubicBezTo>
                      <a:pt x="32766" y="14954"/>
                      <a:pt x="30575" y="13716"/>
                      <a:pt x="27432" y="13716"/>
                    </a:cubicBezTo>
                    <a:cubicBezTo>
                      <a:pt x="25337" y="13716"/>
                      <a:pt x="23431" y="14383"/>
                      <a:pt x="21717" y="15716"/>
                    </a:cubicBezTo>
                    <a:cubicBezTo>
                      <a:pt x="20002" y="17050"/>
                      <a:pt x="18669" y="18860"/>
                      <a:pt x="17716" y="21241"/>
                    </a:cubicBezTo>
                    <a:cubicBezTo>
                      <a:pt x="16764" y="23622"/>
                      <a:pt x="16288" y="26289"/>
                      <a:pt x="16288" y="29337"/>
                    </a:cubicBezTo>
                    <a:lnTo>
                      <a:pt x="16288" y="61722"/>
                    </a:lnTo>
                    <a:lnTo>
                      <a:pt x="571" y="61722"/>
                    </a:lnTo>
                    <a:lnTo>
                      <a:pt x="571" y="14859"/>
                    </a:lnTo>
                    <a:close/>
                  </a:path>
                </a:pathLst>
              </a:custGeom>
              <a:solidFill>
                <a:srgbClr val="231F20"/>
              </a:solidFill>
              <a:ln w="9525" cap="flat">
                <a:noFill/>
                <a:prstDash val="solid"/>
                <a:miter/>
              </a:ln>
            </p:spPr>
            <p:txBody>
              <a:bodyPr rtlCol="0" anchor="ctr"/>
              <a:lstStyle/>
              <a:p>
                <a:pPr marL="0" marR="0" lvl="0" indent="0" algn="l" defTabSz="913578" rtl="0" eaLnBrk="1" fontAlgn="auto" latinLnBrk="0" hangingPunct="1">
                  <a:lnSpc>
                    <a:spcPct val="100000"/>
                  </a:lnSpc>
                  <a:spcBef>
                    <a:spcPts val="0"/>
                  </a:spcBef>
                  <a:spcAft>
                    <a:spcPts val="0"/>
                  </a:spcAft>
                  <a:buClrTx/>
                  <a:buSzTx/>
                  <a:buFontTx/>
                  <a:buNone/>
                  <a:tabLst/>
                  <a:defRPr/>
                </a:pPr>
                <a:endParaRPr kumimoji="0" lang="en-US" sz="17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347" name="Freeform: Shape 172">
                <a:extLst>
                  <a:ext uri="{FF2B5EF4-FFF2-40B4-BE49-F238E27FC236}">
                    <a16:creationId xmlns:a16="http://schemas.microsoft.com/office/drawing/2014/main" id="{5A494135-E28D-677A-5909-DC67E29B96F3}"/>
                  </a:ext>
                </a:extLst>
              </p:cNvPr>
              <p:cNvSpPr/>
              <p:nvPr/>
            </p:nvSpPr>
            <p:spPr>
              <a:xfrm>
                <a:off x="4383976" y="4213669"/>
                <a:ext cx="53149" cy="62674"/>
              </a:xfrm>
              <a:custGeom>
                <a:avLst/>
                <a:gdLst>
                  <a:gd name="connsiteX0" fmla="*/ 8954 w 53149"/>
                  <a:gd name="connsiteY0" fmla="*/ 60388 h 62674"/>
                  <a:gd name="connsiteX1" fmla="*/ 2381 w 53149"/>
                  <a:gd name="connsiteY1" fmla="*/ 54197 h 62674"/>
                  <a:gd name="connsiteX2" fmla="*/ 0 w 53149"/>
                  <a:gd name="connsiteY2" fmla="*/ 44387 h 62674"/>
                  <a:gd name="connsiteX3" fmla="*/ 6477 w 53149"/>
                  <a:gd name="connsiteY3" fmla="*/ 29813 h 62674"/>
                  <a:gd name="connsiteX4" fmla="*/ 23908 w 53149"/>
                  <a:gd name="connsiteY4" fmla="*/ 25051 h 62674"/>
                  <a:gd name="connsiteX5" fmla="*/ 36957 w 53149"/>
                  <a:gd name="connsiteY5" fmla="*/ 24860 h 62674"/>
                  <a:gd name="connsiteX6" fmla="*/ 36957 w 53149"/>
                  <a:gd name="connsiteY6" fmla="*/ 22003 h 62674"/>
                  <a:gd name="connsiteX7" fmla="*/ 34290 w 53149"/>
                  <a:gd name="connsiteY7" fmla="*/ 14288 h 62674"/>
                  <a:gd name="connsiteX8" fmla="*/ 27051 w 53149"/>
                  <a:gd name="connsiteY8" fmla="*/ 12097 h 62674"/>
                  <a:gd name="connsiteX9" fmla="*/ 10763 w 53149"/>
                  <a:gd name="connsiteY9" fmla="*/ 19431 h 62674"/>
                  <a:gd name="connsiteX10" fmla="*/ 3334 w 53149"/>
                  <a:gd name="connsiteY10" fmla="*/ 9620 h 62674"/>
                  <a:gd name="connsiteX11" fmla="*/ 27908 w 53149"/>
                  <a:gd name="connsiteY11" fmla="*/ 0 h 62674"/>
                  <a:gd name="connsiteX12" fmla="*/ 46196 w 53149"/>
                  <a:gd name="connsiteY12" fmla="*/ 5620 h 62674"/>
                  <a:gd name="connsiteX13" fmla="*/ 52673 w 53149"/>
                  <a:gd name="connsiteY13" fmla="*/ 21622 h 62674"/>
                  <a:gd name="connsiteX14" fmla="*/ 52673 w 53149"/>
                  <a:gd name="connsiteY14" fmla="*/ 43720 h 62674"/>
                  <a:gd name="connsiteX15" fmla="*/ 53149 w 53149"/>
                  <a:gd name="connsiteY15" fmla="*/ 61531 h 62674"/>
                  <a:gd name="connsiteX16" fmla="*/ 38290 w 53149"/>
                  <a:gd name="connsiteY16" fmla="*/ 61531 h 62674"/>
                  <a:gd name="connsiteX17" fmla="*/ 37909 w 53149"/>
                  <a:gd name="connsiteY17" fmla="*/ 53054 h 62674"/>
                  <a:gd name="connsiteX18" fmla="*/ 37529 w 53149"/>
                  <a:gd name="connsiteY18" fmla="*/ 53054 h 62674"/>
                  <a:gd name="connsiteX19" fmla="*/ 29813 w 53149"/>
                  <a:gd name="connsiteY19" fmla="*/ 60198 h 62674"/>
                  <a:gd name="connsiteX20" fmla="*/ 18764 w 53149"/>
                  <a:gd name="connsiteY20" fmla="*/ 62674 h 62674"/>
                  <a:gd name="connsiteX21" fmla="*/ 8954 w 53149"/>
                  <a:gd name="connsiteY21" fmla="*/ 60579 h 62674"/>
                  <a:gd name="connsiteX22" fmla="*/ 30575 w 53149"/>
                  <a:gd name="connsiteY22" fmla="*/ 48768 h 62674"/>
                  <a:gd name="connsiteX23" fmla="*/ 35338 w 53149"/>
                  <a:gd name="connsiteY23" fmla="*/ 43910 h 62674"/>
                  <a:gd name="connsiteX24" fmla="*/ 37052 w 53149"/>
                  <a:gd name="connsiteY24" fmla="*/ 37529 h 62674"/>
                  <a:gd name="connsiteX25" fmla="*/ 37052 w 53149"/>
                  <a:gd name="connsiteY25" fmla="*/ 34480 h 62674"/>
                  <a:gd name="connsiteX26" fmla="*/ 28956 w 53149"/>
                  <a:gd name="connsiteY26" fmla="*/ 34480 h 62674"/>
                  <a:gd name="connsiteX27" fmla="*/ 22288 w 53149"/>
                  <a:gd name="connsiteY27" fmla="*/ 35433 h 62674"/>
                  <a:gd name="connsiteX28" fmla="*/ 18097 w 53149"/>
                  <a:gd name="connsiteY28" fmla="*/ 37814 h 62674"/>
                  <a:gd name="connsiteX29" fmla="*/ 16478 w 53149"/>
                  <a:gd name="connsiteY29" fmla="*/ 43053 h 62674"/>
                  <a:gd name="connsiteX30" fmla="*/ 18479 w 53149"/>
                  <a:gd name="connsiteY30" fmla="*/ 48673 h 62674"/>
                  <a:gd name="connsiteX31" fmla="*/ 23813 w 53149"/>
                  <a:gd name="connsiteY31" fmla="*/ 50578 h 62674"/>
                  <a:gd name="connsiteX32" fmla="*/ 30671 w 53149"/>
                  <a:gd name="connsiteY32" fmla="*/ 48768 h 626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53149" h="62674">
                    <a:moveTo>
                      <a:pt x="8954" y="60388"/>
                    </a:moveTo>
                    <a:cubicBezTo>
                      <a:pt x="6191" y="58960"/>
                      <a:pt x="4000" y="56864"/>
                      <a:pt x="2381" y="54197"/>
                    </a:cubicBezTo>
                    <a:cubicBezTo>
                      <a:pt x="762" y="51530"/>
                      <a:pt x="0" y="48196"/>
                      <a:pt x="0" y="44387"/>
                    </a:cubicBezTo>
                    <a:cubicBezTo>
                      <a:pt x="0" y="37719"/>
                      <a:pt x="2191" y="32861"/>
                      <a:pt x="6477" y="29813"/>
                    </a:cubicBezTo>
                    <a:cubicBezTo>
                      <a:pt x="10763" y="26765"/>
                      <a:pt x="16573" y="25241"/>
                      <a:pt x="23908" y="25051"/>
                    </a:cubicBezTo>
                    <a:lnTo>
                      <a:pt x="36957" y="24860"/>
                    </a:lnTo>
                    <a:lnTo>
                      <a:pt x="36957" y="22003"/>
                    </a:lnTo>
                    <a:cubicBezTo>
                      <a:pt x="36957" y="18288"/>
                      <a:pt x="36100" y="15716"/>
                      <a:pt x="34290" y="14288"/>
                    </a:cubicBezTo>
                    <a:cubicBezTo>
                      <a:pt x="32480" y="12859"/>
                      <a:pt x="30099" y="12097"/>
                      <a:pt x="27051" y="12097"/>
                    </a:cubicBezTo>
                    <a:cubicBezTo>
                      <a:pt x="21717" y="12097"/>
                      <a:pt x="16288" y="14573"/>
                      <a:pt x="10763" y="19431"/>
                    </a:cubicBezTo>
                    <a:lnTo>
                      <a:pt x="3334" y="9620"/>
                    </a:lnTo>
                    <a:cubicBezTo>
                      <a:pt x="10573" y="3238"/>
                      <a:pt x="18764" y="0"/>
                      <a:pt x="27908" y="0"/>
                    </a:cubicBezTo>
                    <a:cubicBezTo>
                      <a:pt x="35719" y="0"/>
                      <a:pt x="41815" y="1905"/>
                      <a:pt x="46196" y="5620"/>
                    </a:cubicBezTo>
                    <a:cubicBezTo>
                      <a:pt x="50578" y="9334"/>
                      <a:pt x="52673" y="14669"/>
                      <a:pt x="52673" y="21622"/>
                    </a:cubicBezTo>
                    <a:lnTo>
                      <a:pt x="52673" y="43720"/>
                    </a:lnTo>
                    <a:cubicBezTo>
                      <a:pt x="52673" y="50387"/>
                      <a:pt x="52864" y="56293"/>
                      <a:pt x="53149" y="61531"/>
                    </a:cubicBezTo>
                    <a:lnTo>
                      <a:pt x="38290" y="61531"/>
                    </a:lnTo>
                    <a:cubicBezTo>
                      <a:pt x="38005" y="58864"/>
                      <a:pt x="37909" y="56102"/>
                      <a:pt x="37909" y="53054"/>
                    </a:cubicBezTo>
                    <a:lnTo>
                      <a:pt x="37529" y="53054"/>
                    </a:lnTo>
                    <a:cubicBezTo>
                      <a:pt x="35528" y="56102"/>
                      <a:pt x="32956" y="58483"/>
                      <a:pt x="29813" y="60198"/>
                    </a:cubicBezTo>
                    <a:cubicBezTo>
                      <a:pt x="26670" y="61913"/>
                      <a:pt x="22955" y="62674"/>
                      <a:pt x="18764" y="62674"/>
                    </a:cubicBezTo>
                    <a:cubicBezTo>
                      <a:pt x="15049" y="62674"/>
                      <a:pt x="11811" y="62008"/>
                      <a:pt x="8954" y="60579"/>
                    </a:cubicBezTo>
                    <a:close/>
                    <a:moveTo>
                      <a:pt x="30575" y="48768"/>
                    </a:moveTo>
                    <a:cubicBezTo>
                      <a:pt x="32575" y="47530"/>
                      <a:pt x="34195" y="45911"/>
                      <a:pt x="35338" y="43910"/>
                    </a:cubicBezTo>
                    <a:cubicBezTo>
                      <a:pt x="36481" y="41910"/>
                      <a:pt x="37052" y="39814"/>
                      <a:pt x="37052" y="37529"/>
                    </a:cubicBezTo>
                    <a:lnTo>
                      <a:pt x="37052" y="34480"/>
                    </a:lnTo>
                    <a:lnTo>
                      <a:pt x="28956" y="34480"/>
                    </a:lnTo>
                    <a:cubicBezTo>
                      <a:pt x="26194" y="34766"/>
                      <a:pt x="24003" y="35052"/>
                      <a:pt x="22288" y="35433"/>
                    </a:cubicBezTo>
                    <a:cubicBezTo>
                      <a:pt x="20574" y="35814"/>
                      <a:pt x="19145" y="36576"/>
                      <a:pt x="18097" y="37814"/>
                    </a:cubicBezTo>
                    <a:cubicBezTo>
                      <a:pt x="17050" y="39053"/>
                      <a:pt x="16478" y="40767"/>
                      <a:pt x="16478" y="43053"/>
                    </a:cubicBezTo>
                    <a:cubicBezTo>
                      <a:pt x="16478" y="45339"/>
                      <a:pt x="17145" y="47339"/>
                      <a:pt x="18479" y="48673"/>
                    </a:cubicBezTo>
                    <a:cubicBezTo>
                      <a:pt x="19812" y="50006"/>
                      <a:pt x="21622" y="50578"/>
                      <a:pt x="23813" y="50578"/>
                    </a:cubicBezTo>
                    <a:cubicBezTo>
                      <a:pt x="26384" y="50578"/>
                      <a:pt x="28670" y="50006"/>
                      <a:pt x="30671" y="48768"/>
                    </a:cubicBezTo>
                    <a:close/>
                  </a:path>
                </a:pathLst>
              </a:custGeom>
              <a:solidFill>
                <a:srgbClr val="231F20"/>
              </a:solidFill>
              <a:ln w="9525" cap="flat">
                <a:noFill/>
                <a:prstDash val="solid"/>
                <a:miter/>
              </a:ln>
            </p:spPr>
            <p:txBody>
              <a:bodyPr rtlCol="0" anchor="ctr"/>
              <a:lstStyle/>
              <a:p>
                <a:pPr marL="0" marR="0" lvl="0" indent="0" algn="l" defTabSz="913578" rtl="0" eaLnBrk="1" fontAlgn="auto" latinLnBrk="0" hangingPunct="1">
                  <a:lnSpc>
                    <a:spcPct val="100000"/>
                  </a:lnSpc>
                  <a:spcBef>
                    <a:spcPts val="0"/>
                  </a:spcBef>
                  <a:spcAft>
                    <a:spcPts val="0"/>
                  </a:spcAft>
                  <a:buClrTx/>
                  <a:buSzTx/>
                  <a:buFontTx/>
                  <a:buNone/>
                  <a:tabLst/>
                  <a:defRPr/>
                </a:pPr>
                <a:endParaRPr kumimoji="0" lang="en-US" sz="17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348" name="Freeform: Shape 173">
                <a:extLst>
                  <a:ext uri="{FF2B5EF4-FFF2-40B4-BE49-F238E27FC236}">
                    <a16:creationId xmlns:a16="http://schemas.microsoft.com/office/drawing/2014/main" id="{5F1ABC4C-9BB8-AD7C-237B-27FE20930A0A}"/>
                  </a:ext>
                </a:extLst>
              </p:cNvPr>
              <p:cNvSpPr/>
              <p:nvPr/>
            </p:nvSpPr>
            <p:spPr>
              <a:xfrm>
                <a:off x="4451508" y="4213574"/>
                <a:ext cx="55149" cy="61722"/>
              </a:xfrm>
              <a:custGeom>
                <a:avLst/>
                <a:gdLst>
                  <a:gd name="connsiteX0" fmla="*/ 381 w 55149"/>
                  <a:gd name="connsiteY0" fmla="*/ 14669 h 61722"/>
                  <a:gd name="connsiteX1" fmla="*/ 286 w 55149"/>
                  <a:gd name="connsiteY1" fmla="*/ 6763 h 61722"/>
                  <a:gd name="connsiteX2" fmla="*/ 0 w 55149"/>
                  <a:gd name="connsiteY2" fmla="*/ 1238 h 61722"/>
                  <a:gd name="connsiteX3" fmla="*/ 14954 w 55149"/>
                  <a:gd name="connsiteY3" fmla="*/ 1238 h 61722"/>
                  <a:gd name="connsiteX4" fmla="*/ 15430 w 55149"/>
                  <a:gd name="connsiteY4" fmla="*/ 6191 h 61722"/>
                  <a:gd name="connsiteX5" fmla="*/ 15716 w 55149"/>
                  <a:gd name="connsiteY5" fmla="*/ 12097 h 61722"/>
                  <a:gd name="connsiteX6" fmla="*/ 15907 w 55149"/>
                  <a:gd name="connsiteY6" fmla="*/ 12097 h 61722"/>
                  <a:gd name="connsiteX7" fmla="*/ 23908 w 55149"/>
                  <a:gd name="connsiteY7" fmla="*/ 2953 h 61722"/>
                  <a:gd name="connsiteX8" fmla="*/ 35338 w 55149"/>
                  <a:gd name="connsiteY8" fmla="*/ 0 h 61722"/>
                  <a:gd name="connsiteX9" fmla="*/ 50387 w 55149"/>
                  <a:gd name="connsiteY9" fmla="*/ 6382 h 61722"/>
                  <a:gd name="connsiteX10" fmla="*/ 55150 w 55149"/>
                  <a:gd name="connsiteY10" fmla="*/ 23336 h 61722"/>
                  <a:gd name="connsiteX11" fmla="*/ 55150 w 55149"/>
                  <a:gd name="connsiteY11" fmla="*/ 61627 h 61722"/>
                  <a:gd name="connsiteX12" fmla="*/ 39529 w 55149"/>
                  <a:gd name="connsiteY12" fmla="*/ 61627 h 61722"/>
                  <a:gd name="connsiteX13" fmla="*/ 39529 w 55149"/>
                  <a:gd name="connsiteY13" fmla="*/ 27813 h 61722"/>
                  <a:gd name="connsiteX14" fmla="*/ 37243 w 55149"/>
                  <a:gd name="connsiteY14" fmla="*/ 17240 h 61722"/>
                  <a:gd name="connsiteX15" fmla="*/ 29337 w 55149"/>
                  <a:gd name="connsiteY15" fmla="*/ 13526 h 61722"/>
                  <a:gd name="connsiteX16" fmla="*/ 22574 w 55149"/>
                  <a:gd name="connsiteY16" fmla="*/ 15526 h 61722"/>
                  <a:gd name="connsiteX17" fmla="*/ 17812 w 55149"/>
                  <a:gd name="connsiteY17" fmla="*/ 21146 h 61722"/>
                  <a:gd name="connsiteX18" fmla="*/ 16097 w 55149"/>
                  <a:gd name="connsiteY18" fmla="*/ 29337 h 61722"/>
                  <a:gd name="connsiteX19" fmla="*/ 16097 w 55149"/>
                  <a:gd name="connsiteY19" fmla="*/ 61722 h 61722"/>
                  <a:gd name="connsiteX20" fmla="*/ 381 w 55149"/>
                  <a:gd name="connsiteY20" fmla="*/ 61722 h 61722"/>
                  <a:gd name="connsiteX21" fmla="*/ 381 w 55149"/>
                  <a:gd name="connsiteY21" fmla="*/ 14859 h 61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5149" h="61722">
                    <a:moveTo>
                      <a:pt x="381" y="14669"/>
                    </a:moveTo>
                    <a:cubicBezTo>
                      <a:pt x="381" y="12097"/>
                      <a:pt x="381" y="9430"/>
                      <a:pt x="286" y="6763"/>
                    </a:cubicBezTo>
                    <a:cubicBezTo>
                      <a:pt x="190" y="4096"/>
                      <a:pt x="95" y="2191"/>
                      <a:pt x="0" y="1238"/>
                    </a:cubicBezTo>
                    <a:lnTo>
                      <a:pt x="14954" y="1238"/>
                    </a:lnTo>
                    <a:cubicBezTo>
                      <a:pt x="15145" y="2096"/>
                      <a:pt x="15240" y="3715"/>
                      <a:pt x="15430" y="6191"/>
                    </a:cubicBezTo>
                    <a:cubicBezTo>
                      <a:pt x="15621" y="8668"/>
                      <a:pt x="15716" y="10668"/>
                      <a:pt x="15716" y="12097"/>
                    </a:cubicBezTo>
                    <a:lnTo>
                      <a:pt x="15907" y="12097"/>
                    </a:lnTo>
                    <a:cubicBezTo>
                      <a:pt x="18002" y="8001"/>
                      <a:pt x="20669" y="4953"/>
                      <a:pt x="23908" y="2953"/>
                    </a:cubicBezTo>
                    <a:cubicBezTo>
                      <a:pt x="27146" y="953"/>
                      <a:pt x="30956" y="0"/>
                      <a:pt x="35338" y="0"/>
                    </a:cubicBezTo>
                    <a:cubicBezTo>
                      <a:pt x="42196" y="0"/>
                      <a:pt x="47244" y="2096"/>
                      <a:pt x="50387" y="6382"/>
                    </a:cubicBezTo>
                    <a:cubicBezTo>
                      <a:pt x="53530" y="10668"/>
                      <a:pt x="55150" y="16288"/>
                      <a:pt x="55150" y="23336"/>
                    </a:cubicBezTo>
                    <a:lnTo>
                      <a:pt x="55150" y="61627"/>
                    </a:lnTo>
                    <a:lnTo>
                      <a:pt x="39529" y="61627"/>
                    </a:lnTo>
                    <a:lnTo>
                      <a:pt x="39529" y="27813"/>
                    </a:lnTo>
                    <a:cubicBezTo>
                      <a:pt x="39529" y="23241"/>
                      <a:pt x="38767" y="19717"/>
                      <a:pt x="37243" y="17240"/>
                    </a:cubicBezTo>
                    <a:cubicBezTo>
                      <a:pt x="35719" y="14764"/>
                      <a:pt x="33052" y="13526"/>
                      <a:pt x="29337" y="13526"/>
                    </a:cubicBezTo>
                    <a:cubicBezTo>
                      <a:pt x="26765" y="13526"/>
                      <a:pt x="24574" y="14192"/>
                      <a:pt x="22574" y="15526"/>
                    </a:cubicBezTo>
                    <a:cubicBezTo>
                      <a:pt x="20574" y="16859"/>
                      <a:pt x="18955" y="18669"/>
                      <a:pt x="17812" y="21146"/>
                    </a:cubicBezTo>
                    <a:cubicBezTo>
                      <a:pt x="16669" y="23622"/>
                      <a:pt x="16097" y="26289"/>
                      <a:pt x="16097" y="29337"/>
                    </a:cubicBezTo>
                    <a:lnTo>
                      <a:pt x="16097" y="61722"/>
                    </a:lnTo>
                    <a:lnTo>
                      <a:pt x="381" y="61722"/>
                    </a:lnTo>
                    <a:lnTo>
                      <a:pt x="381" y="14859"/>
                    </a:lnTo>
                    <a:close/>
                  </a:path>
                </a:pathLst>
              </a:custGeom>
              <a:solidFill>
                <a:srgbClr val="231F20"/>
              </a:solidFill>
              <a:ln w="9525" cap="flat">
                <a:noFill/>
                <a:prstDash val="solid"/>
                <a:miter/>
              </a:ln>
            </p:spPr>
            <p:txBody>
              <a:bodyPr rtlCol="0" anchor="ctr"/>
              <a:lstStyle/>
              <a:p>
                <a:pPr marL="0" marR="0" lvl="0" indent="0" algn="l" defTabSz="913578" rtl="0" eaLnBrk="1" fontAlgn="auto" latinLnBrk="0" hangingPunct="1">
                  <a:lnSpc>
                    <a:spcPct val="100000"/>
                  </a:lnSpc>
                  <a:spcBef>
                    <a:spcPts val="0"/>
                  </a:spcBef>
                  <a:spcAft>
                    <a:spcPts val="0"/>
                  </a:spcAft>
                  <a:buClrTx/>
                  <a:buSzTx/>
                  <a:buFontTx/>
                  <a:buNone/>
                  <a:tabLst/>
                  <a:defRPr/>
                </a:pPr>
                <a:endParaRPr kumimoji="0" lang="en-US" sz="17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349" name="Freeform: Shape 174">
                <a:extLst>
                  <a:ext uri="{FF2B5EF4-FFF2-40B4-BE49-F238E27FC236}">
                    <a16:creationId xmlns:a16="http://schemas.microsoft.com/office/drawing/2014/main" id="{E67EB89F-2F82-182B-2B67-242848943DAF}"/>
                  </a:ext>
                </a:extLst>
              </p:cNvPr>
              <p:cNvSpPr/>
              <p:nvPr/>
            </p:nvSpPr>
            <p:spPr>
              <a:xfrm>
                <a:off x="4517421" y="4213669"/>
                <a:ext cx="53149" cy="62674"/>
              </a:xfrm>
              <a:custGeom>
                <a:avLst/>
                <a:gdLst>
                  <a:gd name="connsiteX0" fmla="*/ 8954 w 53149"/>
                  <a:gd name="connsiteY0" fmla="*/ 60388 h 62674"/>
                  <a:gd name="connsiteX1" fmla="*/ 2381 w 53149"/>
                  <a:gd name="connsiteY1" fmla="*/ 54197 h 62674"/>
                  <a:gd name="connsiteX2" fmla="*/ 0 w 53149"/>
                  <a:gd name="connsiteY2" fmla="*/ 44387 h 62674"/>
                  <a:gd name="connsiteX3" fmla="*/ 6477 w 53149"/>
                  <a:gd name="connsiteY3" fmla="*/ 29813 h 62674"/>
                  <a:gd name="connsiteX4" fmla="*/ 23908 w 53149"/>
                  <a:gd name="connsiteY4" fmla="*/ 25051 h 62674"/>
                  <a:gd name="connsiteX5" fmla="*/ 36957 w 53149"/>
                  <a:gd name="connsiteY5" fmla="*/ 24860 h 62674"/>
                  <a:gd name="connsiteX6" fmla="*/ 36957 w 53149"/>
                  <a:gd name="connsiteY6" fmla="*/ 22003 h 62674"/>
                  <a:gd name="connsiteX7" fmla="*/ 34290 w 53149"/>
                  <a:gd name="connsiteY7" fmla="*/ 14288 h 62674"/>
                  <a:gd name="connsiteX8" fmla="*/ 27051 w 53149"/>
                  <a:gd name="connsiteY8" fmla="*/ 12097 h 62674"/>
                  <a:gd name="connsiteX9" fmla="*/ 10763 w 53149"/>
                  <a:gd name="connsiteY9" fmla="*/ 19431 h 62674"/>
                  <a:gd name="connsiteX10" fmla="*/ 3334 w 53149"/>
                  <a:gd name="connsiteY10" fmla="*/ 9620 h 62674"/>
                  <a:gd name="connsiteX11" fmla="*/ 27908 w 53149"/>
                  <a:gd name="connsiteY11" fmla="*/ 0 h 62674"/>
                  <a:gd name="connsiteX12" fmla="*/ 46196 w 53149"/>
                  <a:gd name="connsiteY12" fmla="*/ 5620 h 62674"/>
                  <a:gd name="connsiteX13" fmla="*/ 52673 w 53149"/>
                  <a:gd name="connsiteY13" fmla="*/ 21622 h 62674"/>
                  <a:gd name="connsiteX14" fmla="*/ 52673 w 53149"/>
                  <a:gd name="connsiteY14" fmla="*/ 43720 h 62674"/>
                  <a:gd name="connsiteX15" fmla="*/ 53150 w 53149"/>
                  <a:gd name="connsiteY15" fmla="*/ 61531 h 62674"/>
                  <a:gd name="connsiteX16" fmla="*/ 38291 w 53149"/>
                  <a:gd name="connsiteY16" fmla="*/ 61531 h 62674"/>
                  <a:gd name="connsiteX17" fmla="*/ 37910 w 53149"/>
                  <a:gd name="connsiteY17" fmla="*/ 53054 h 62674"/>
                  <a:gd name="connsiteX18" fmla="*/ 37529 w 53149"/>
                  <a:gd name="connsiteY18" fmla="*/ 53054 h 62674"/>
                  <a:gd name="connsiteX19" fmla="*/ 29813 w 53149"/>
                  <a:gd name="connsiteY19" fmla="*/ 60198 h 62674"/>
                  <a:gd name="connsiteX20" fmla="*/ 18764 w 53149"/>
                  <a:gd name="connsiteY20" fmla="*/ 62674 h 62674"/>
                  <a:gd name="connsiteX21" fmla="*/ 8954 w 53149"/>
                  <a:gd name="connsiteY21" fmla="*/ 60579 h 62674"/>
                  <a:gd name="connsiteX22" fmla="*/ 30575 w 53149"/>
                  <a:gd name="connsiteY22" fmla="*/ 48768 h 62674"/>
                  <a:gd name="connsiteX23" fmla="*/ 35338 w 53149"/>
                  <a:gd name="connsiteY23" fmla="*/ 43910 h 62674"/>
                  <a:gd name="connsiteX24" fmla="*/ 37052 w 53149"/>
                  <a:gd name="connsiteY24" fmla="*/ 37529 h 62674"/>
                  <a:gd name="connsiteX25" fmla="*/ 37052 w 53149"/>
                  <a:gd name="connsiteY25" fmla="*/ 34480 h 62674"/>
                  <a:gd name="connsiteX26" fmla="*/ 28956 w 53149"/>
                  <a:gd name="connsiteY26" fmla="*/ 34480 h 62674"/>
                  <a:gd name="connsiteX27" fmla="*/ 22288 w 53149"/>
                  <a:gd name="connsiteY27" fmla="*/ 35433 h 62674"/>
                  <a:gd name="connsiteX28" fmla="*/ 18098 w 53149"/>
                  <a:gd name="connsiteY28" fmla="*/ 37814 h 62674"/>
                  <a:gd name="connsiteX29" fmla="*/ 16478 w 53149"/>
                  <a:gd name="connsiteY29" fmla="*/ 43053 h 62674"/>
                  <a:gd name="connsiteX30" fmla="*/ 18479 w 53149"/>
                  <a:gd name="connsiteY30" fmla="*/ 48673 h 62674"/>
                  <a:gd name="connsiteX31" fmla="*/ 23813 w 53149"/>
                  <a:gd name="connsiteY31" fmla="*/ 50578 h 62674"/>
                  <a:gd name="connsiteX32" fmla="*/ 30671 w 53149"/>
                  <a:gd name="connsiteY32" fmla="*/ 48768 h 626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53149" h="62674">
                    <a:moveTo>
                      <a:pt x="8954" y="60388"/>
                    </a:moveTo>
                    <a:cubicBezTo>
                      <a:pt x="6191" y="58960"/>
                      <a:pt x="4001" y="56864"/>
                      <a:pt x="2381" y="54197"/>
                    </a:cubicBezTo>
                    <a:cubicBezTo>
                      <a:pt x="762" y="51530"/>
                      <a:pt x="0" y="48196"/>
                      <a:pt x="0" y="44387"/>
                    </a:cubicBezTo>
                    <a:cubicBezTo>
                      <a:pt x="0" y="37719"/>
                      <a:pt x="2191" y="32861"/>
                      <a:pt x="6477" y="29813"/>
                    </a:cubicBezTo>
                    <a:cubicBezTo>
                      <a:pt x="10763" y="26765"/>
                      <a:pt x="16574" y="25241"/>
                      <a:pt x="23908" y="25051"/>
                    </a:cubicBezTo>
                    <a:lnTo>
                      <a:pt x="36957" y="24860"/>
                    </a:lnTo>
                    <a:lnTo>
                      <a:pt x="36957" y="22003"/>
                    </a:lnTo>
                    <a:cubicBezTo>
                      <a:pt x="36957" y="18288"/>
                      <a:pt x="36100" y="15716"/>
                      <a:pt x="34290" y="14288"/>
                    </a:cubicBezTo>
                    <a:cubicBezTo>
                      <a:pt x="32480" y="12859"/>
                      <a:pt x="30099" y="12097"/>
                      <a:pt x="27051" y="12097"/>
                    </a:cubicBezTo>
                    <a:cubicBezTo>
                      <a:pt x="21717" y="12097"/>
                      <a:pt x="16288" y="14573"/>
                      <a:pt x="10763" y="19431"/>
                    </a:cubicBezTo>
                    <a:lnTo>
                      <a:pt x="3334" y="9620"/>
                    </a:lnTo>
                    <a:cubicBezTo>
                      <a:pt x="10573" y="3238"/>
                      <a:pt x="18764" y="0"/>
                      <a:pt x="27908" y="0"/>
                    </a:cubicBezTo>
                    <a:cubicBezTo>
                      <a:pt x="35719" y="0"/>
                      <a:pt x="41815" y="1905"/>
                      <a:pt x="46196" y="5620"/>
                    </a:cubicBezTo>
                    <a:cubicBezTo>
                      <a:pt x="50578" y="9334"/>
                      <a:pt x="52673" y="14669"/>
                      <a:pt x="52673" y="21622"/>
                    </a:cubicBezTo>
                    <a:lnTo>
                      <a:pt x="52673" y="43720"/>
                    </a:lnTo>
                    <a:cubicBezTo>
                      <a:pt x="52673" y="50387"/>
                      <a:pt x="52864" y="56293"/>
                      <a:pt x="53150" y="61531"/>
                    </a:cubicBezTo>
                    <a:lnTo>
                      <a:pt x="38291" y="61531"/>
                    </a:lnTo>
                    <a:cubicBezTo>
                      <a:pt x="38005" y="58864"/>
                      <a:pt x="37910" y="56102"/>
                      <a:pt x="37910" y="53054"/>
                    </a:cubicBezTo>
                    <a:lnTo>
                      <a:pt x="37529" y="53054"/>
                    </a:lnTo>
                    <a:cubicBezTo>
                      <a:pt x="35528" y="56102"/>
                      <a:pt x="32957" y="58483"/>
                      <a:pt x="29813" y="60198"/>
                    </a:cubicBezTo>
                    <a:cubicBezTo>
                      <a:pt x="26670" y="61913"/>
                      <a:pt x="22955" y="62674"/>
                      <a:pt x="18764" y="62674"/>
                    </a:cubicBezTo>
                    <a:cubicBezTo>
                      <a:pt x="15050" y="62674"/>
                      <a:pt x="11811" y="62008"/>
                      <a:pt x="8954" y="60579"/>
                    </a:cubicBezTo>
                    <a:close/>
                    <a:moveTo>
                      <a:pt x="30575" y="48768"/>
                    </a:moveTo>
                    <a:cubicBezTo>
                      <a:pt x="32576" y="47530"/>
                      <a:pt x="34195" y="45911"/>
                      <a:pt x="35338" y="43910"/>
                    </a:cubicBezTo>
                    <a:cubicBezTo>
                      <a:pt x="36481" y="41910"/>
                      <a:pt x="37052" y="39814"/>
                      <a:pt x="37052" y="37529"/>
                    </a:cubicBezTo>
                    <a:lnTo>
                      <a:pt x="37052" y="34480"/>
                    </a:lnTo>
                    <a:lnTo>
                      <a:pt x="28956" y="34480"/>
                    </a:lnTo>
                    <a:cubicBezTo>
                      <a:pt x="26194" y="34766"/>
                      <a:pt x="24003" y="35052"/>
                      <a:pt x="22288" y="35433"/>
                    </a:cubicBezTo>
                    <a:cubicBezTo>
                      <a:pt x="20574" y="35814"/>
                      <a:pt x="19145" y="36576"/>
                      <a:pt x="18098" y="37814"/>
                    </a:cubicBezTo>
                    <a:cubicBezTo>
                      <a:pt x="17050" y="39053"/>
                      <a:pt x="16478" y="40767"/>
                      <a:pt x="16478" y="43053"/>
                    </a:cubicBezTo>
                    <a:cubicBezTo>
                      <a:pt x="16478" y="45339"/>
                      <a:pt x="17145" y="47339"/>
                      <a:pt x="18479" y="48673"/>
                    </a:cubicBezTo>
                    <a:cubicBezTo>
                      <a:pt x="19812" y="50006"/>
                      <a:pt x="21622" y="50578"/>
                      <a:pt x="23813" y="50578"/>
                    </a:cubicBezTo>
                    <a:cubicBezTo>
                      <a:pt x="26384" y="50578"/>
                      <a:pt x="28670" y="50006"/>
                      <a:pt x="30671" y="48768"/>
                    </a:cubicBezTo>
                    <a:close/>
                  </a:path>
                </a:pathLst>
              </a:custGeom>
              <a:solidFill>
                <a:srgbClr val="231F20"/>
              </a:solidFill>
              <a:ln w="9525" cap="flat">
                <a:noFill/>
                <a:prstDash val="solid"/>
                <a:miter/>
              </a:ln>
            </p:spPr>
            <p:txBody>
              <a:bodyPr rtlCol="0" anchor="ctr"/>
              <a:lstStyle/>
              <a:p>
                <a:pPr marL="0" marR="0" lvl="0" indent="0" algn="l" defTabSz="913578" rtl="0" eaLnBrk="1" fontAlgn="auto" latinLnBrk="0" hangingPunct="1">
                  <a:lnSpc>
                    <a:spcPct val="100000"/>
                  </a:lnSpc>
                  <a:spcBef>
                    <a:spcPts val="0"/>
                  </a:spcBef>
                  <a:spcAft>
                    <a:spcPts val="0"/>
                  </a:spcAft>
                  <a:buClrTx/>
                  <a:buSzTx/>
                  <a:buFontTx/>
                  <a:buNone/>
                  <a:tabLst/>
                  <a:defRPr/>
                </a:pPr>
                <a:endParaRPr kumimoji="0" lang="en-US" sz="17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350" name="Freeform: Shape 175">
                <a:extLst>
                  <a:ext uri="{FF2B5EF4-FFF2-40B4-BE49-F238E27FC236}">
                    <a16:creationId xmlns:a16="http://schemas.microsoft.com/office/drawing/2014/main" id="{F7619D6C-1BA0-F689-4DDE-B74D6C926E7A}"/>
                  </a:ext>
                </a:extLst>
              </p:cNvPr>
              <p:cNvSpPr/>
              <p:nvPr/>
            </p:nvSpPr>
            <p:spPr>
              <a:xfrm>
                <a:off x="4580858" y="4209097"/>
                <a:ext cx="60769" cy="89725"/>
              </a:xfrm>
              <a:custGeom>
                <a:avLst/>
                <a:gdLst>
                  <a:gd name="connsiteX0" fmla="*/ 48196 w 60769"/>
                  <a:gd name="connsiteY0" fmla="*/ 54293 h 89725"/>
                  <a:gd name="connsiteX1" fmla="*/ 57245 w 60769"/>
                  <a:gd name="connsiteY1" fmla="*/ 59246 h 89725"/>
                  <a:gd name="connsiteX2" fmla="*/ 60770 w 60769"/>
                  <a:gd name="connsiteY2" fmla="*/ 70866 h 89725"/>
                  <a:gd name="connsiteX3" fmla="*/ 53150 w 60769"/>
                  <a:gd name="connsiteY3" fmla="*/ 85058 h 89725"/>
                  <a:gd name="connsiteX4" fmla="*/ 28956 w 60769"/>
                  <a:gd name="connsiteY4" fmla="*/ 89726 h 89725"/>
                  <a:gd name="connsiteX5" fmla="*/ 12192 w 60769"/>
                  <a:gd name="connsiteY5" fmla="*/ 88297 h 89725"/>
                  <a:gd name="connsiteX6" fmla="*/ 2953 w 60769"/>
                  <a:gd name="connsiteY6" fmla="*/ 83629 h 89725"/>
                  <a:gd name="connsiteX7" fmla="*/ 0 w 60769"/>
                  <a:gd name="connsiteY7" fmla="*/ 74867 h 89725"/>
                  <a:gd name="connsiteX8" fmla="*/ 2000 w 60769"/>
                  <a:gd name="connsiteY8" fmla="*/ 68009 h 89725"/>
                  <a:gd name="connsiteX9" fmla="*/ 8001 w 60769"/>
                  <a:gd name="connsiteY9" fmla="*/ 62198 h 89725"/>
                  <a:gd name="connsiteX10" fmla="*/ 4286 w 60769"/>
                  <a:gd name="connsiteY10" fmla="*/ 53626 h 89725"/>
                  <a:gd name="connsiteX11" fmla="*/ 6191 w 60769"/>
                  <a:gd name="connsiteY11" fmla="*/ 46768 h 89725"/>
                  <a:gd name="connsiteX12" fmla="*/ 11621 w 60769"/>
                  <a:gd name="connsiteY12" fmla="*/ 40958 h 89725"/>
                  <a:gd name="connsiteX13" fmla="*/ 5144 w 60769"/>
                  <a:gd name="connsiteY13" fmla="*/ 34290 h 89725"/>
                  <a:gd name="connsiteX14" fmla="*/ 2953 w 60769"/>
                  <a:gd name="connsiteY14" fmla="*/ 24860 h 89725"/>
                  <a:gd name="connsiteX15" fmla="*/ 5525 w 60769"/>
                  <a:gd name="connsiteY15" fmla="*/ 14478 h 89725"/>
                  <a:gd name="connsiteX16" fmla="*/ 13811 w 60769"/>
                  <a:gd name="connsiteY16" fmla="*/ 7239 h 89725"/>
                  <a:gd name="connsiteX17" fmla="*/ 28289 w 60769"/>
                  <a:gd name="connsiteY17" fmla="*/ 4572 h 89725"/>
                  <a:gd name="connsiteX18" fmla="*/ 43720 w 60769"/>
                  <a:gd name="connsiteY18" fmla="*/ 7906 h 89725"/>
                  <a:gd name="connsiteX19" fmla="*/ 50102 w 60769"/>
                  <a:gd name="connsiteY19" fmla="*/ 2000 h 89725"/>
                  <a:gd name="connsiteX20" fmla="*/ 58388 w 60769"/>
                  <a:gd name="connsiteY20" fmla="*/ 0 h 89725"/>
                  <a:gd name="connsiteX21" fmla="*/ 58579 w 60769"/>
                  <a:gd name="connsiteY21" fmla="*/ 0 h 89725"/>
                  <a:gd name="connsiteX22" fmla="*/ 59150 w 60769"/>
                  <a:gd name="connsiteY22" fmla="*/ 12763 h 89725"/>
                  <a:gd name="connsiteX23" fmla="*/ 58960 w 60769"/>
                  <a:gd name="connsiteY23" fmla="*/ 12763 h 89725"/>
                  <a:gd name="connsiteX24" fmla="*/ 50578 w 60769"/>
                  <a:gd name="connsiteY24" fmla="*/ 14002 h 89725"/>
                  <a:gd name="connsiteX25" fmla="*/ 53530 w 60769"/>
                  <a:gd name="connsiteY25" fmla="*/ 24860 h 89725"/>
                  <a:gd name="connsiteX26" fmla="*/ 50863 w 60769"/>
                  <a:gd name="connsiteY26" fmla="*/ 35052 h 89725"/>
                  <a:gd name="connsiteX27" fmla="*/ 42482 w 60769"/>
                  <a:gd name="connsiteY27" fmla="*/ 42196 h 89725"/>
                  <a:gd name="connsiteX28" fmla="*/ 28099 w 60769"/>
                  <a:gd name="connsiteY28" fmla="*/ 44863 h 89725"/>
                  <a:gd name="connsiteX29" fmla="*/ 20479 w 60769"/>
                  <a:gd name="connsiteY29" fmla="*/ 44196 h 89725"/>
                  <a:gd name="connsiteX30" fmla="*/ 18764 w 60769"/>
                  <a:gd name="connsiteY30" fmla="*/ 46292 h 89725"/>
                  <a:gd name="connsiteX31" fmla="*/ 18193 w 60769"/>
                  <a:gd name="connsiteY31" fmla="*/ 48387 h 89725"/>
                  <a:gd name="connsiteX32" fmla="*/ 19336 w 60769"/>
                  <a:gd name="connsiteY32" fmla="*/ 50673 h 89725"/>
                  <a:gd name="connsiteX33" fmla="*/ 22670 w 60769"/>
                  <a:gd name="connsiteY33" fmla="*/ 51721 h 89725"/>
                  <a:gd name="connsiteX34" fmla="*/ 29623 w 60769"/>
                  <a:gd name="connsiteY34" fmla="*/ 52292 h 89725"/>
                  <a:gd name="connsiteX35" fmla="*/ 32385 w 60769"/>
                  <a:gd name="connsiteY35" fmla="*/ 52483 h 89725"/>
                  <a:gd name="connsiteX36" fmla="*/ 48387 w 60769"/>
                  <a:gd name="connsiteY36" fmla="*/ 54293 h 89725"/>
                  <a:gd name="connsiteX37" fmla="*/ 41815 w 60769"/>
                  <a:gd name="connsiteY37" fmla="*/ 77248 h 89725"/>
                  <a:gd name="connsiteX38" fmla="*/ 45815 w 60769"/>
                  <a:gd name="connsiteY38" fmla="*/ 72771 h 89725"/>
                  <a:gd name="connsiteX39" fmla="*/ 44196 w 60769"/>
                  <a:gd name="connsiteY39" fmla="*/ 69437 h 89725"/>
                  <a:gd name="connsiteX40" fmla="*/ 39434 w 60769"/>
                  <a:gd name="connsiteY40" fmla="*/ 67913 h 89725"/>
                  <a:gd name="connsiteX41" fmla="*/ 29432 w 60769"/>
                  <a:gd name="connsiteY41" fmla="*/ 66961 h 89725"/>
                  <a:gd name="connsiteX42" fmla="*/ 27242 w 60769"/>
                  <a:gd name="connsiteY42" fmla="*/ 66770 h 89725"/>
                  <a:gd name="connsiteX43" fmla="*/ 23146 w 60769"/>
                  <a:gd name="connsiteY43" fmla="*/ 66485 h 89725"/>
                  <a:gd name="connsiteX44" fmla="*/ 16764 w 60769"/>
                  <a:gd name="connsiteY44" fmla="*/ 65722 h 89725"/>
                  <a:gd name="connsiteX45" fmla="*/ 14764 w 60769"/>
                  <a:gd name="connsiteY45" fmla="*/ 69056 h 89725"/>
                  <a:gd name="connsiteX46" fmla="*/ 14097 w 60769"/>
                  <a:gd name="connsiteY46" fmla="*/ 72676 h 89725"/>
                  <a:gd name="connsiteX47" fmla="*/ 15716 w 60769"/>
                  <a:gd name="connsiteY47" fmla="*/ 76486 h 89725"/>
                  <a:gd name="connsiteX48" fmla="*/ 20479 w 60769"/>
                  <a:gd name="connsiteY48" fmla="*/ 78200 h 89725"/>
                  <a:gd name="connsiteX49" fmla="*/ 29432 w 60769"/>
                  <a:gd name="connsiteY49" fmla="*/ 78581 h 89725"/>
                  <a:gd name="connsiteX50" fmla="*/ 41815 w 60769"/>
                  <a:gd name="connsiteY50" fmla="*/ 77343 h 89725"/>
                  <a:gd name="connsiteX51" fmla="*/ 20288 w 60769"/>
                  <a:gd name="connsiteY51" fmla="*/ 17717 h 89725"/>
                  <a:gd name="connsiteX52" fmla="*/ 17717 w 60769"/>
                  <a:gd name="connsiteY52" fmla="*/ 24860 h 89725"/>
                  <a:gd name="connsiteX53" fmla="*/ 20288 w 60769"/>
                  <a:gd name="connsiteY53" fmla="*/ 31813 h 89725"/>
                  <a:gd name="connsiteX54" fmla="*/ 27718 w 60769"/>
                  <a:gd name="connsiteY54" fmla="*/ 34290 h 89725"/>
                  <a:gd name="connsiteX55" fmla="*/ 36004 w 60769"/>
                  <a:gd name="connsiteY55" fmla="*/ 31813 h 89725"/>
                  <a:gd name="connsiteX56" fmla="*/ 38481 w 60769"/>
                  <a:gd name="connsiteY56" fmla="*/ 24860 h 89725"/>
                  <a:gd name="connsiteX57" fmla="*/ 35909 w 60769"/>
                  <a:gd name="connsiteY57" fmla="*/ 17717 h 89725"/>
                  <a:gd name="connsiteX58" fmla="*/ 28004 w 60769"/>
                  <a:gd name="connsiteY58" fmla="*/ 15145 h 89725"/>
                  <a:gd name="connsiteX59" fmla="*/ 20193 w 60769"/>
                  <a:gd name="connsiteY59" fmla="*/ 17717 h 89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60769" h="89725">
                    <a:moveTo>
                      <a:pt x="48196" y="54293"/>
                    </a:moveTo>
                    <a:cubicBezTo>
                      <a:pt x="51816" y="55054"/>
                      <a:pt x="54864" y="56674"/>
                      <a:pt x="57245" y="59246"/>
                    </a:cubicBezTo>
                    <a:cubicBezTo>
                      <a:pt x="59627" y="61817"/>
                      <a:pt x="60770" y="65627"/>
                      <a:pt x="60770" y="70866"/>
                    </a:cubicBezTo>
                    <a:cubicBezTo>
                      <a:pt x="60770" y="77248"/>
                      <a:pt x="58198" y="82010"/>
                      <a:pt x="53150" y="85058"/>
                    </a:cubicBezTo>
                    <a:cubicBezTo>
                      <a:pt x="48101" y="88106"/>
                      <a:pt x="40005" y="89726"/>
                      <a:pt x="28956" y="89726"/>
                    </a:cubicBezTo>
                    <a:cubicBezTo>
                      <a:pt x="22003" y="89726"/>
                      <a:pt x="16383" y="89249"/>
                      <a:pt x="12192" y="88297"/>
                    </a:cubicBezTo>
                    <a:cubicBezTo>
                      <a:pt x="8001" y="87344"/>
                      <a:pt x="4953" y="85820"/>
                      <a:pt x="2953" y="83629"/>
                    </a:cubicBezTo>
                    <a:cubicBezTo>
                      <a:pt x="953" y="81439"/>
                      <a:pt x="0" y="78581"/>
                      <a:pt x="0" y="74867"/>
                    </a:cubicBezTo>
                    <a:cubicBezTo>
                      <a:pt x="0" y="72295"/>
                      <a:pt x="667" y="70009"/>
                      <a:pt x="2000" y="68009"/>
                    </a:cubicBezTo>
                    <a:cubicBezTo>
                      <a:pt x="3334" y="66008"/>
                      <a:pt x="5334" y="64008"/>
                      <a:pt x="8001" y="62198"/>
                    </a:cubicBezTo>
                    <a:cubicBezTo>
                      <a:pt x="5525" y="60198"/>
                      <a:pt x="4286" y="57341"/>
                      <a:pt x="4286" y="53626"/>
                    </a:cubicBezTo>
                    <a:cubicBezTo>
                      <a:pt x="4286" y="51054"/>
                      <a:pt x="4953" y="48863"/>
                      <a:pt x="6191" y="46768"/>
                    </a:cubicBezTo>
                    <a:cubicBezTo>
                      <a:pt x="7429" y="44672"/>
                      <a:pt x="9239" y="42767"/>
                      <a:pt x="11621" y="40958"/>
                    </a:cubicBezTo>
                    <a:cubicBezTo>
                      <a:pt x="8763" y="39243"/>
                      <a:pt x="6668" y="37052"/>
                      <a:pt x="5144" y="34290"/>
                    </a:cubicBezTo>
                    <a:cubicBezTo>
                      <a:pt x="3620" y="31528"/>
                      <a:pt x="2953" y="28385"/>
                      <a:pt x="2953" y="24860"/>
                    </a:cubicBezTo>
                    <a:cubicBezTo>
                      <a:pt x="2953" y="20955"/>
                      <a:pt x="3810" y="17526"/>
                      <a:pt x="5525" y="14478"/>
                    </a:cubicBezTo>
                    <a:cubicBezTo>
                      <a:pt x="7239" y="11430"/>
                      <a:pt x="10001" y="8954"/>
                      <a:pt x="13811" y="7239"/>
                    </a:cubicBezTo>
                    <a:cubicBezTo>
                      <a:pt x="17621" y="5525"/>
                      <a:pt x="22384" y="4572"/>
                      <a:pt x="28289" y="4572"/>
                    </a:cubicBezTo>
                    <a:cubicBezTo>
                      <a:pt x="34480" y="4572"/>
                      <a:pt x="39624" y="5715"/>
                      <a:pt x="43720" y="7906"/>
                    </a:cubicBezTo>
                    <a:cubicBezTo>
                      <a:pt x="45625" y="5334"/>
                      <a:pt x="47816" y="3334"/>
                      <a:pt x="50102" y="2000"/>
                    </a:cubicBezTo>
                    <a:cubicBezTo>
                      <a:pt x="52388" y="667"/>
                      <a:pt x="55150" y="0"/>
                      <a:pt x="58388" y="0"/>
                    </a:cubicBezTo>
                    <a:lnTo>
                      <a:pt x="58579" y="0"/>
                    </a:lnTo>
                    <a:lnTo>
                      <a:pt x="59150" y="12763"/>
                    </a:lnTo>
                    <a:lnTo>
                      <a:pt x="58960" y="12763"/>
                    </a:lnTo>
                    <a:cubicBezTo>
                      <a:pt x="55721" y="12763"/>
                      <a:pt x="52959" y="13145"/>
                      <a:pt x="50578" y="14002"/>
                    </a:cubicBezTo>
                    <a:cubicBezTo>
                      <a:pt x="52578" y="17145"/>
                      <a:pt x="53530" y="20764"/>
                      <a:pt x="53530" y="24860"/>
                    </a:cubicBezTo>
                    <a:cubicBezTo>
                      <a:pt x="53530" y="28575"/>
                      <a:pt x="52673" y="32004"/>
                      <a:pt x="50863" y="35052"/>
                    </a:cubicBezTo>
                    <a:cubicBezTo>
                      <a:pt x="49054" y="38100"/>
                      <a:pt x="46292" y="40481"/>
                      <a:pt x="42482" y="42196"/>
                    </a:cubicBezTo>
                    <a:cubicBezTo>
                      <a:pt x="38671" y="43910"/>
                      <a:pt x="33814" y="44863"/>
                      <a:pt x="28099" y="44863"/>
                    </a:cubicBezTo>
                    <a:cubicBezTo>
                      <a:pt x="25337" y="44863"/>
                      <a:pt x="22860" y="44672"/>
                      <a:pt x="20479" y="44196"/>
                    </a:cubicBezTo>
                    <a:cubicBezTo>
                      <a:pt x="19717" y="44958"/>
                      <a:pt x="19145" y="45720"/>
                      <a:pt x="18764" y="46292"/>
                    </a:cubicBezTo>
                    <a:cubicBezTo>
                      <a:pt x="18383" y="46863"/>
                      <a:pt x="18193" y="47625"/>
                      <a:pt x="18193" y="48387"/>
                    </a:cubicBezTo>
                    <a:cubicBezTo>
                      <a:pt x="18193" y="49435"/>
                      <a:pt x="18574" y="50197"/>
                      <a:pt x="19336" y="50673"/>
                    </a:cubicBezTo>
                    <a:cubicBezTo>
                      <a:pt x="20098" y="51149"/>
                      <a:pt x="21241" y="51530"/>
                      <a:pt x="22670" y="51721"/>
                    </a:cubicBezTo>
                    <a:cubicBezTo>
                      <a:pt x="24098" y="51911"/>
                      <a:pt x="26479" y="52102"/>
                      <a:pt x="29623" y="52292"/>
                    </a:cubicBezTo>
                    <a:lnTo>
                      <a:pt x="32385" y="52483"/>
                    </a:lnTo>
                    <a:cubicBezTo>
                      <a:pt x="39434" y="52959"/>
                      <a:pt x="44768" y="53530"/>
                      <a:pt x="48387" y="54293"/>
                    </a:cubicBezTo>
                    <a:close/>
                    <a:moveTo>
                      <a:pt x="41815" y="77248"/>
                    </a:moveTo>
                    <a:cubicBezTo>
                      <a:pt x="44482" y="76391"/>
                      <a:pt x="45815" y="74962"/>
                      <a:pt x="45815" y="72771"/>
                    </a:cubicBezTo>
                    <a:cubicBezTo>
                      <a:pt x="45815" y="71247"/>
                      <a:pt x="45244" y="70199"/>
                      <a:pt x="44196" y="69437"/>
                    </a:cubicBezTo>
                    <a:cubicBezTo>
                      <a:pt x="43148" y="68675"/>
                      <a:pt x="41529" y="68199"/>
                      <a:pt x="39434" y="67913"/>
                    </a:cubicBezTo>
                    <a:cubicBezTo>
                      <a:pt x="37338" y="67628"/>
                      <a:pt x="34004" y="67246"/>
                      <a:pt x="29432" y="66961"/>
                    </a:cubicBezTo>
                    <a:lnTo>
                      <a:pt x="27242" y="66770"/>
                    </a:lnTo>
                    <a:cubicBezTo>
                      <a:pt x="27242" y="66770"/>
                      <a:pt x="25527" y="66675"/>
                      <a:pt x="23146" y="66485"/>
                    </a:cubicBezTo>
                    <a:cubicBezTo>
                      <a:pt x="20764" y="66294"/>
                      <a:pt x="18669" y="66008"/>
                      <a:pt x="16764" y="65722"/>
                    </a:cubicBezTo>
                    <a:cubicBezTo>
                      <a:pt x="15907" y="66866"/>
                      <a:pt x="15240" y="67913"/>
                      <a:pt x="14764" y="69056"/>
                    </a:cubicBezTo>
                    <a:cubicBezTo>
                      <a:pt x="14288" y="70199"/>
                      <a:pt x="14097" y="71342"/>
                      <a:pt x="14097" y="72676"/>
                    </a:cubicBezTo>
                    <a:cubicBezTo>
                      <a:pt x="14097" y="74390"/>
                      <a:pt x="14669" y="75629"/>
                      <a:pt x="15716" y="76486"/>
                    </a:cubicBezTo>
                    <a:cubicBezTo>
                      <a:pt x="16764" y="77343"/>
                      <a:pt x="18383" y="77914"/>
                      <a:pt x="20479" y="78200"/>
                    </a:cubicBezTo>
                    <a:cubicBezTo>
                      <a:pt x="22574" y="78486"/>
                      <a:pt x="25622" y="78581"/>
                      <a:pt x="29432" y="78581"/>
                    </a:cubicBezTo>
                    <a:cubicBezTo>
                      <a:pt x="35052" y="78581"/>
                      <a:pt x="39148" y="78200"/>
                      <a:pt x="41815" y="77343"/>
                    </a:cubicBezTo>
                    <a:close/>
                    <a:moveTo>
                      <a:pt x="20288" y="17717"/>
                    </a:moveTo>
                    <a:cubicBezTo>
                      <a:pt x="18574" y="19431"/>
                      <a:pt x="17717" y="21812"/>
                      <a:pt x="17717" y="24860"/>
                    </a:cubicBezTo>
                    <a:cubicBezTo>
                      <a:pt x="17717" y="27908"/>
                      <a:pt x="18574" y="30099"/>
                      <a:pt x="20288" y="31813"/>
                    </a:cubicBezTo>
                    <a:cubicBezTo>
                      <a:pt x="22003" y="33528"/>
                      <a:pt x="24479" y="34290"/>
                      <a:pt x="27718" y="34290"/>
                    </a:cubicBezTo>
                    <a:cubicBezTo>
                      <a:pt x="31623" y="34290"/>
                      <a:pt x="34385" y="33433"/>
                      <a:pt x="36004" y="31813"/>
                    </a:cubicBezTo>
                    <a:cubicBezTo>
                      <a:pt x="37624" y="30194"/>
                      <a:pt x="38481" y="27908"/>
                      <a:pt x="38481" y="24860"/>
                    </a:cubicBezTo>
                    <a:cubicBezTo>
                      <a:pt x="38481" y="21812"/>
                      <a:pt x="37624" y="19431"/>
                      <a:pt x="35909" y="17717"/>
                    </a:cubicBezTo>
                    <a:cubicBezTo>
                      <a:pt x="34195" y="16002"/>
                      <a:pt x="31623" y="15145"/>
                      <a:pt x="28004" y="15145"/>
                    </a:cubicBezTo>
                    <a:cubicBezTo>
                      <a:pt x="24384" y="15145"/>
                      <a:pt x="21908" y="16002"/>
                      <a:pt x="20193" y="17717"/>
                    </a:cubicBezTo>
                    <a:close/>
                  </a:path>
                </a:pathLst>
              </a:custGeom>
              <a:solidFill>
                <a:srgbClr val="231F20"/>
              </a:solidFill>
              <a:ln w="9525" cap="flat">
                <a:noFill/>
                <a:prstDash val="solid"/>
                <a:miter/>
              </a:ln>
            </p:spPr>
            <p:txBody>
              <a:bodyPr rtlCol="0" anchor="ctr"/>
              <a:lstStyle/>
              <a:p>
                <a:pPr marL="0" marR="0" lvl="0" indent="0" algn="l" defTabSz="913578" rtl="0" eaLnBrk="1" fontAlgn="auto" latinLnBrk="0" hangingPunct="1">
                  <a:lnSpc>
                    <a:spcPct val="100000"/>
                  </a:lnSpc>
                  <a:spcBef>
                    <a:spcPts val="0"/>
                  </a:spcBef>
                  <a:spcAft>
                    <a:spcPts val="0"/>
                  </a:spcAft>
                  <a:buClrTx/>
                  <a:buSzTx/>
                  <a:buFontTx/>
                  <a:buNone/>
                  <a:tabLst/>
                  <a:defRPr/>
                </a:pPr>
                <a:endParaRPr kumimoji="0" lang="en-US" sz="17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351" name="Freeform: Shape 176">
                <a:extLst>
                  <a:ext uri="{FF2B5EF4-FFF2-40B4-BE49-F238E27FC236}">
                    <a16:creationId xmlns:a16="http://schemas.microsoft.com/office/drawing/2014/main" id="{EBFF2065-6ADA-3BA2-1F33-1644F5A68B3C}"/>
                  </a:ext>
                </a:extLst>
              </p:cNvPr>
              <p:cNvSpPr/>
              <p:nvPr/>
            </p:nvSpPr>
            <p:spPr>
              <a:xfrm>
                <a:off x="4646580" y="4213574"/>
                <a:ext cx="55245" cy="62769"/>
              </a:xfrm>
              <a:custGeom>
                <a:avLst/>
                <a:gdLst>
                  <a:gd name="connsiteX0" fmla="*/ 7716 w 55245"/>
                  <a:gd name="connsiteY0" fmla="*/ 54769 h 62769"/>
                  <a:gd name="connsiteX1" fmla="*/ 0 w 55245"/>
                  <a:gd name="connsiteY1" fmla="*/ 31242 h 62769"/>
                  <a:gd name="connsiteX2" fmla="*/ 3810 w 55245"/>
                  <a:gd name="connsiteY2" fmla="*/ 13716 h 62769"/>
                  <a:gd name="connsiteX3" fmla="*/ 14097 w 55245"/>
                  <a:gd name="connsiteY3" fmla="*/ 3334 h 62769"/>
                  <a:gd name="connsiteX4" fmla="*/ 28480 w 55245"/>
                  <a:gd name="connsiteY4" fmla="*/ 0 h 62769"/>
                  <a:gd name="connsiteX5" fmla="*/ 43720 w 55245"/>
                  <a:gd name="connsiteY5" fmla="*/ 4001 h 62769"/>
                  <a:gd name="connsiteX6" fmla="*/ 52483 w 55245"/>
                  <a:gd name="connsiteY6" fmla="*/ 14478 h 62769"/>
                  <a:gd name="connsiteX7" fmla="*/ 55245 w 55245"/>
                  <a:gd name="connsiteY7" fmla="*/ 29146 h 62769"/>
                  <a:gd name="connsiteX8" fmla="*/ 54864 w 55245"/>
                  <a:gd name="connsiteY8" fmla="*/ 35433 h 62769"/>
                  <a:gd name="connsiteX9" fmla="*/ 16478 w 55245"/>
                  <a:gd name="connsiteY9" fmla="*/ 35433 h 62769"/>
                  <a:gd name="connsiteX10" fmla="*/ 19812 w 55245"/>
                  <a:gd name="connsiteY10" fmla="*/ 46577 h 62769"/>
                  <a:gd name="connsiteX11" fmla="*/ 30194 w 55245"/>
                  <a:gd name="connsiteY11" fmla="*/ 50673 h 62769"/>
                  <a:gd name="connsiteX12" fmla="*/ 35909 w 55245"/>
                  <a:gd name="connsiteY12" fmla="*/ 50006 h 62769"/>
                  <a:gd name="connsiteX13" fmla="*/ 40958 w 55245"/>
                  <a:gd name="connsiteY13" fmla="*/ 48006 h 62769"/>
                  <a:gd name="connsiteX14" fmla="*/ 46958 w 55245"/>
                  <a:gd name="connsiteY14" fmla="*/ 44196 h 62769"/>
                  <a:gd name="connsiteX15" fmla="*/ 53340 w 55245"/>
                  <a:gd name="connsiteY15" fmla="*/ 54388 h 62769"/>
                  <a:gd name="connsiteX16" fmla="*/ 42672 w 55245"/>
                  <a:gd name="connsiteY16" fmla="*/ 60579 h 62769"/>
                  <a:gd name="connsiteX17" fmla="*/ 29433 w 55245"/>
                  <a:gd name="connsiteY17" fmla="*/ 62770 h 62769"/>
                  <a:gd name="connsiteX18" fmla="*/ 7811 w 55245"/>
                  <a:gd name="connsiteY18" fmla="*/ 54864 h 62769"/>
                  <a:gd name="connsiteX19" fmla="*/ 40005 w 55245"/>
                  <a:gd name="connsiteY19" fmla="*/ 24765 h 62769"/>
                  <a:gd name="connsiteX20" fmla="*/ 36862 w 55245"/>
                  <a:gd name="connsiteY20" fmla="*/ 14764 h 62769"/>
                  <a:gd name="connsiteX21" fmla="*/ 28385 w 55245"/>
                  <a:gd name="connsiteY21" fmla="*/ 11525 h 62769"/>
                  <a:gd name="connsiteX22" fmla="*/ 20003 w 55245"/>
                  <a:gd name="connsiteY22" fmla="*/ 14764 h 62769"/>
                  <a:gd name="connsiteX23" fmla="*/ 16669 w 55245"/>
                  <a:gd name="connsiteY23" fmla="*/ 24765 h 62769"/>
                  <a:gd name="connsiteX24" fmla="*/ 40100 w 55245"/>
                  <a:gd name="connsiteY24" fmla="*/ 24765 h 62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55245" h="62769">
                    <a:moveTo>
                      <a:pt x="7716" y="54769"/>
                    </a:moveTo>
                    <a:cubicBezTo>
                      <a:pt x="2572" y="49530"/>
                      <a:pt x="0" y="41624"/>
                      <a:pt x="0" y="31242"/>
                    </a:cubicBezTo>
                    <a:cubicBezTo>
                      <a:pt x="0" y="24289"/>
                      <a:pt x="1238" y="18383"/>
                      <a:pt x="3810" y="13716"/>
                    </a:cubicBezTo>
                    <a:cubicBezTo>
                      <a:pt x="6382" y="9049"/>
                      <a:pt x="9811" y="5620"/>
                      <a:pt x="14097" y="3334"/>
                    </a:cubicBezTo>
                    <a:cubicBezTo>
                      <a:pt x="18383" y="1048"/>
                      <a:pt x="23146" y="0"/>
                      <a:pt x="28480" y="0"/>
                    </a:cubicBezTo>
                    <a:cubicBezTo>
                      <a:pt x="34576" y="0"/>
                      <a:pt x="39719" y="1334"/>
                      <a:pt x="43720" y="4001"/>
                    </a:cubicBezTo>
                    <a:cubicBezTo>
                      <a:pt x="47720" y="6668"/>
                      <a:pt x="50673" y="10192"/>
                      <a:pt x="52483" y="14478"/>
                    </a:cubicBezTo>
                    <a:cubicBezTo>
                      <a:pt x="54293" y="18764"/>
                      <a:pt x="55245" y="23717"/>
                      <a:pt x="55245" y="29146"/>
                    </a:cubicBezTo>
                    <a:cubicBezTo>
                      <a:pt x="55245" y="31242"/>
                      <a:pt x="55150" y="33338"/>
                      <a:pt x="54864" y="35433"/>
                    </a:cubicBezTo>
                    <a:lnTo>
                      <a:pt x="16478" y="35433"/>
                    </a:lnTo>
                    <a:cubicBezTo>
                      <a:pt x="16478" y="40100"/>
                      <a:pt x="17621" y="43815"/>
                      <a:pt x="19812" y="46577"/>
                    </a:cubicBezTo>
                    <a:cubicBezTo>
                      <a:pt x="22003" y="49339"/>
                      <a:pt x="25527" y="50673"/>
                      <a:pt x="30194" y="50673"/>
                    </a:cubicBezTo>
                    <a:cubicBezTo>
                      <a:pt x="32290" y="50673"/>
                      <a:pt x="34195" y="50483"/>
                      <a:pt x="35909" y="50006"/>
                    </a:cubicBezTo>
                    <a:cubicBezTo>
                      <a:pt x="37624" y="49530"/>
                      <a:pt x="39338" y="48863"/>
                      <a:pt x="40958" y="48006"/>
                    </a:cubicBezTo>
                    <a:cubicBezTo>
                      <a:pt x="42577" y="47149"/>
                      <a:pt x="44577" y="45815"/>
                      <a:pt x="46958" y="44196"/>
                    </a:cubicBezTo>
                    <a:lnTo>
                      <a:pt x="53340" y="54388"/>
                    </a:lnTo>
                    <a:cubicBezTo>
                      <a:pt x="49816" y="57055"/>
                      <a:pt x="46196" y="59150"/>
                      <a:pt x="42672" y="60579"/>
                    </a:cubicBezTo>
                    <a:cubicBezTo>
                      <a:pt x="39148" y="62008"/>
                      <a:pt x="34671" y="62770"/>
                      <a:pt x="29433" y="62770"/>
                    </a:cubicBezTo>
                    <a:cubicBezTo>
                      <a:pt x="20193" y="62770"/>
                      <a:pt x="12954" y="60103"/>
                      <a:pt x="7811" y="54864"/>
                    </a:cubicBezTo>
                    <a:close/>
                    <a:moveTo>
                      <a:pt x="40005" y="24765"/>
                    </a:moveTo>
                    <a:cubicBezTo>
                      <a:pt x="39815" y="20193"/>
                      <a:pt x="38767" y="16859"/>
                      <a:pt x="36862" y="14764"/>
                    </a:cubicBezTo>
                    <a:cubicBezTo>
                      <a:pt x="34957" y="12668"/>
                      <a:pt x="32099" y="11525"/>
                      <a:pt x="28385" y="11525"/>
                    </a:cubicBezTo>
                    <a:cubicBezTo>
                      <a:pt x="24670" y="11525"/>
                      <a:pt x="22098" y="12573"/>
                      <a:pt x="20003" y="14764"/>
                    </a:cubicBezTo>
                    <a:cubicBezTo>
                      <a:pt x="17907" y="16954"/>
                      <a:pt x="16764" y="20288"/>
                      <a:pt x="16669" y="24765"/>
                    </a:cubicBezTo>
                    <a:lnTo>
                      <a:pt x="40100" y="24765"/>
                    </a:lnTo>
                    <a:close/>
                  </a:path>
                </a:pathLst>
              </a:custGeom>
              <a:solidFill>
                <a:srgbClr val="231F20"/>
              </a:solidFill>
              <a:ln w="9525" cap="flat">
                <a:noFill/>
                <a:prstDash val="solid"/>
                <a:miter/>
              </a:ln>
            </p:spPr>
            <p:txBody>
              <a:bodyPr rtlCol="0" anchor="ctr"/>
              <a:lstStyle/>
              <a:p>
                <a:pPr marL="0" marR="0" lvl="0" indent="0" algn="l" defTabSz="913578" rtl="0" eaLnBrk="1" fontAlgn="auto" latinLnBrk="0" hangingPunct="1">
                  <a:lnSpc>
                    <a:spcPct val="100000"/>
                  </a:lnSpc>
                  <a:spcBef>
                    <a:spcPts val="0"/>
                  </a:spcBef>
                  <a:spcAft>
                    <a:spcPts val="0"/>
                  </a:spcAft>
                  <a:buClrTx/>
                  <a:buSzTx/>
                  <a:buFontTx/>
                  <a:buNone/>
                  <a:tabLst/>
                  <a:defRPr/>
                </a:pPr>
                <a:endParaRPr kumimoji="0" lang="en-US" sz="17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352" name="Freeform: Shape 177">
                <a:extLst>
                  <a:ext uri="{FF2B5EF4-FFF2-40B4-BE49-F238E27FC236}">
                    <a16:creationId xmlns:a16="http://schemas.microsoft.com/office/drawing/2014/main" id="{94CB033D-865B-4105-D3AF-815496097600}"/>
                  </a:ext>
                </a:extLst>
              </p:cNvPr>
              <p:cNvSpPr/>
              <p:nvPr/>
            </p:nvSpPr>
            <p:spPr>
              <a:xfrm>
                <a:off x="4713350" y="4213574"/>
                <a:ext cx="87058" cy="61722"/>
              </a:xfrm>
              <a:custGeom>
                <a:avLst/>
                <a:gdLst>
                  <a:gd name="connsiteX0" fmla="*/ 381 w 87058"/>
                  <a:gd name="connsiteY0" fmla="*/ 14669 h 61722"/>
                  <a:gd name="connsiteX1" fmla="*/ 286 w 87058"/>
                  <a:gd name="connsiteY1" fmla="*/ 6763 h 61722"/>
                  <a:gd name="connsiteX2" fmla="*/ 0 w 87058"/>
                  <a:gd name="connsiteY2" fmla="*/ 1238 h 61722"/>
                  <a:gd name="connsiteX3" fmla="*/ 14954 w 87058"/>
                  <a:gd name="connsiteY3" fmla="*/ 1238 h 61722"/>
                  <a:gd name="connsiteX4" fmla="*/ 15430 w 87058"/>
                  <a:gd name="connsiteY4" fmla="*/ 6191 h 61722"/>
                  <a:gd name="connsiteX5" fmla="*/ 15716 w 87058"/>
                  <a:gd name="connsiteY5" fmla="*/ 12097 h 61722"/>
                  <a:gd name="connsiteX6" fmla="*/ 15907 w 87058"/>
                  <a:gd name="connsiteY6" fmla="*/ 12097 h 61722"/>
                  <a:gd name="connsiteX7" fmla="*/ 23146 w 87058"/>
                  <a:gd name="connsiteY7" fmla="*/ 2953 h 61722"/>
                  <a:gd name="connsiteX8" fmla="*/ 33528 w 87058"/>
                  <a:gd name="connsiteY8" fmla="*/ 0 h 61722"/>
                  <a:gd name="connsiteX9" fmla="*/ 44577 w 87058"/>
                  <a:gd name="connsiteY9" fmla="*/ 3143 h 61722"/>
                  <a:gd name="connsiteX10" fmla="*/ 50292 w 87058"/>
                  <a:gd name="connsiteY10" fmla="*/ 12192 h 61722"/>
                  <a:gd name="connsiteX11" fmla="*/ 50673 w 87058"/>
                  <a:gd name="connsiteY11" fmla="*/ 12192 h 61722"/>
                  <a:gd name="connsiteX12" fmla="*/ 58103 w 87058"/>
                  <a:gd name="connsiteY12" fmla="*/ 2858 h 61722"/>
                  <a:gd name="connsiteX13" fmla="*/ 68961 w 87058"/>
                  <a:gd name="connsiteY13" fmla="*/ 95 h 61722"/>
                  <a:gd name="connsiteX14" fmla="*/ 82677 w 87058"/>
                  <a:gd name="connsiteY14" fmla="*/ 6477 h 61722"/>
                  <a:gd name="connsiteX15" fmla="*/ 87059 w 87058"/>
                  <a:gd name="connsiteY15" fmla="*/ 23431 h 61722"/>
                  <a:gd name="connsiteX16" fmla="*/ 87059 w 87058"/>
                  <a:gd name="connsiteY16" fmla="*/ 61722 h 61722"/>
                  <a:gd name="connsiteX17" fmla="*/ 71533 w 87058"/>
                  <a:gd name="connsiteY17" fmla="*/ 61722 h 61722"/>
                  <a:gd name="connsiteX18" fmla="*/ 71533 w 87058"/>
                  <a:gd name="connsiteY18" fmla="*/ 27908 h 61722"/>
                  <a:gd name="connsiteX19" fmla="*/ 69533 w 87058"/>
                  <a:gd name="connsiteY19" fmla="*/ 17431 h 61722"/>
                  <a:gd name="connsiteX20" fmla="*/ 62865 w 87058"/>
                  <a:gd name="connsiteY20" fmla="*/ 13716 h 61722"/>
                  <a:gd name="connsiteX21" fmla="*/ 57245 w 87058"/>
                  <a:gd name="connsiteY21" fmla="*/ 15621 h 61722"/>
                  <a:gd name="connsiteX22" fmla="*/ 53245 w 87058"/>
                  <a:gd name="connsiteY22" fmla="*/ 20860 h 61722"/>
                  <a:gd name="connsiteX23" fmla="*/ 51626 w 87058"/>
                  <a:gd name="connsiteY23" fmla="*/ 28575 h 61722"/>
                  <a:gd name="connsiteX24" fmla="*/ 51626 w 87058"/>
                  <a:gd name="connsiteY24" fmla="*/ 61722 h 61722"/>
                  <a:gd name="connsiteX25" fmla="*/ 36100 w 87058"/>
                  <a:gd name="connsiteY25" fmla="*/ 61722 h 61722"/>
                  <a:gd name="connsiteX26" fmla="*/ 36100 w 87058"/>
                  <a:gd name="connsiteY26" fmla="*/ 27908 h 61722"/>
                  <a:gd name="connsiteX27" fmla="*/ 34100 w 87058"/>
                  <a:gd name="connsiteY27" fmla="*/ 17431 h 61722"/>
                  <a:gd name="connsiteX28" fmla="*/ 27432 w 87058"/>
                  <a:gd name="connsiteY28" fmla="*/ 13716 h 61722"/>
                  <a:gd name="connsiteX29" fmla="*/ 21717 w 87058"/>
                  <a:gd name="connsiteY29" fmla="*/ 15716 h 61722"/>
                  <a:gd name="connsiteX30" fmla="*/ 17717 w 87058"/>
                  <a:gd name="connsiteY30" fmla="*/ 21241 h 61722"/>
                  <a:gd name="connsiteX31" fmla="*/ 16288 w 87058"/>
                  <a:gd name="connsiteY31" fmla="*/ 29337 h 61722"/>
                  <a:gd name="connsiteX32" fmla="*/ 16288 w 87058"/>
                  <a:gd name="connsiteY32" fmla="*/ 61722 h 61722"/>
                  <a:gd name="connsiteX33" fmla="*/ 571 w 87058"/>
                  <a:gd name="connsiteY33" fmla="*/ 61722 h 61722"/>
                  <a:gd name="connsiteX34" fmla="*/ 571 w 87058"/>
                  <a:gd name="connsiteY34" fmla="*/ 14859 h 61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87058" h="61722">
                    <a:moveTo>
                      <a:pt x="381" y="14669"/>
                    </a:moveTo>
                    <a:cubicBezTo>
                      <a:pt x="381" y="12097"/>
                      <a:pt x="381" y="9430"/>
                      <a:pt x="286" y="6763"/>
                    </a:cubicBezTo>
                    <a:cubicBezTo>
                      <a:pt x="190" y="4096"/>
                      <a:pt x="95" y="2191"/>
                      <a:pt x="0" y="1238"/>
                    </a:cubicBezTo>
                    <a:lnTo>
                      <a:pt x="14954" y="1238"/>
                    </a:lnTo>
                    <a:cubicBezTo>
                      <a:pt x="15145" y="2096"/>
                      <a:pt x="15240" y="3715"/>
                      <a:pt x="15430" y="6191"/>
                    </a:cubicBezTo>
                    <a:cubicBezTo>
                      <a:pt x="15621" y="8668"/>
                      <a:pt x="15716" y="10668"/>
                      <a:pt x="15716" y="12097"/>
                    </a:cubicBezTo>
                    <a:lnTo>
                      <a:pt x="15907" y="12097"/>
                    </a:lnTo>
                    <a:cubicBezTo>
                      <a:pt x="17812" y="8001"/>
                      <a:pt x="20193" y="4953"/>
                      <a:pt x="23146" y="2953"/>
                    </a:cubicBezTo>
                    <a:cubicBezTo>
                      <a:pt x="26098" y="953"/>
                      <a:pt x="29528" y="0"/>
                      <a:pt x="33528" y="0"/>
                    </a:cubicBezTo>
                    <a:cubicBezTo>
                      <a:pt x="38100" y="0"/>
                      <a:pt x="41720" y="1048"/>
                      <a:pt x="44577" y="3143"/>
                    </a:cubicBezTo>
                    <a:cubicBezTo>
                      <a:pt x="47435" y="5239"/>
                      <a:pt x="49339" y="8192"/>
                      <a:pt x="50292" y="12192"/>
                    </a:cubicBezTo>
                    <a:lnTo>
                      <a:pt x="50673" y="12192"/>
                    </a:lnTo>
                    <a:cubicBezTo>
                      <a:pt x="52673" y="7811"/>
                      <a:pt x="55245" y="4667"/>
                      <a:pt x="58103" y="2858"/>
                    </a:cubicBezTo>
                    <a:cubicBezTo>
                      <a:pt x="60960" y="1048"/>
                      <a:pt x="64675" y="95"/>
                      <a:pt x="68961" y="95"/>
                    </a:cubicBezTo>
                    <a:cubicBezTo>
                      <a:pt x="75247" y="95"/>
                      <a:pt x="79820" y="2191"/>
                      <a:pt x="82677" y="6477"/>
                    </a:cubicBezTo>
                    <a:cubicBezTo>
                      <a:pt x="85535" y="10763"/>
                      <a:pt x="87059" y="16383"/>
                      <a:pt x="87059" y="23431"/>
                    </a:cubicBezTo>
                    <a:lnTo>
                      <a:pt x="87059" y="61722"/>
                    </a:lnTo>
                    <a:lnTo>
                      <a:pt x="71533" y="61722"/>
                    </a:lnTo>
                    <a:lnTo>
                      <a:pt x="71533" y="27908"/>
                    </a:lnTo>
                    <a:cubicBezTo>
                      <a:pt x="71533" y="23336"/>
                      <a:pt x="70866" y="19907"/>
                      <a:pt x="69533" y="17431"/>
                    </a:cubicBezTo>
                    <a:cubicBezTo>
                      <a:pt x="68199" y="14954"/>
                      <a:pt x="66008" y="13716"/>
                      <a:pt x="62865" y="13716"/>
                    </a:cubicBezTo>
                    <a:cubicBezTo>
                      <a:pt x="60770" y="13716"/>
                      <a:pt x="58864" y="14383"/>
                      <a:pt x="57245" y="15621"/>
                    </a:cubicBezTo>
                    <a:cubicBezTo>
                      <a:pt x="55626" y="16859"/>
                      <a:pt x="54197" y="18574"/>
                      <a:pt x="53245" y="20860"/>
                    </a:cubicBezTo>
                    <a:cubicBezTo>
                      <a:pt x="52292" y="23146"/>
                      <a:pt x="51721" y="25718"/>
                      <a:pt x="51626" y="28575"/>
                    </a:cubicBezTo>
                    <a:lnTo>
                      <a:pt x="51626" y="61722"/>
                    </a:lnTo>
                    <a:lnTo>
                      <a:pt x="36100" y="61722"/>
                    </a:lnTo>
                    <a:lnTo>
                      <a:pt x="36100" y="27908"/>
                    </a:lnTo>
                    <a:cubicBezTo>
                      <a:pt x="36100" y="23336"/>
                      <a:pt x="35433" y="19907"/>
                      <a:pt x="34100" y="17431"/>
                    </a:cubicBezTo>
                    <a:cubicBezTo>
                      <a:pt x="32766" y="14954"/>
                      <a:pt x="30575" y="13716"/>
                      <a:pt x="27432" y="13716"/>
                    </a:cubicBezTo>
                    <a:cubicBezTo>
                      <a:pt x="25337" y="13716"/>
                      <a:pt x="23431" y="14383"/>
                      <a:pt x="21717" y="15716"/>
                    </a:cubicBezTo>
                    <a:cubicBezTo>
                      <a:pt x="20003" y="17050"/>
                      <a:pt x="18669" y="18860"/>
                      <a:pt x="17717" y="21241"/>
                    </a:cubicBezTo>
                    <a:cubicBezTo>
                      <a:pt x="16764" y="23622"/>
                      <a:pt x="16288" y="26289"/>
                      <a:pt x="16288" y="29337"/>
                    </a:cubicBezTo>
                    <a:lnTo>
                      <a:pt x="16288" y="61722"/>
                    </a:lnTo>
                    <a:lnTo>
                      <a:pt x="571" y="61722"/>
                    </a:lnTo>
                    <a:lnTo>
                      <a:pt x="571" y="14859"/>
                    </a:lnTo>
                    <a:close/>
                  </a:path>
                </a:pathLst>
              </a:custGeom>
              <a:solidFill>
                <a:srgbClr val="231F20"/>
              </a:solidFill>
              <a:ln w="9525" cap="flat">
                <a:noFill/>
                <a:prstDash val="solid"/>
                <a:miter/>
              </a:ln>
            </p:spPr>
            <p:txBody>
              <a:bodyPr rtlCol="0" anchor="ctr"/>
              <a:lstStyle/>
              <a:p>
                <a:pPr marL="0" marR="0" lvl="0" indent="0" algn="l" defTabSz="913578" rtl="0" eaLnBrk="1" fontAlgn="auto" latinLnBrk="0" hangingPunct="1">
                  <a:lnSpc>
                    <a:spcPct val="100000"/>
                  </a:lnSpc>
                  <a:spcBef>
                    <a:spcPts val="0"/>
                  </a:spcBef>
                  <a:spcAft>
                    <a:spcPts val="0"/>
                  </a:spcAft>
                  <a:buClrTx/>
                  <a:buSzTx/>
                  <a:buFontTx/>
                  <a:buNone/>
                  <a:tabLst/>
                  <a:defRPr/>
                </a:pPr>
                <a:endParaRPr kumimoji="0" lang="en-US" sz="17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353" name="Freeform: Shape 178">
                <a:extLst>
                  <a:ext uri="{FF2B5EF4-FFF2-40B4-BE49-F238E27FC236}">
                    <a16:creationId xmlns:a16="http://schemas.microsoft.com/office/drawing/2014/main" id="{70C25D87-D450-4188-2254-D48AD9855F61}"/>
                  </a:ext>
                </a:extLst>
              </p:cNvPr>
              <p:cNvSpPr/>
              <p:nvPr/>
            </p:nvSpPr>
            <p:spPr>
              <a:xfrm>
                <a:off x="4811839" y="4213574"/>
                <a:ext cx="55245" cy="62769"/>
              </a:xfrm>
              <a:custGeom>
                <a:avLst/>
                <a:gdLst>
                  <a:gd name="connsiteX0" fmla="*/ 7715 w 55245"/>
                  <a:gd name="connsiteY0" fmla="*/ 54769 h 62769"/>
                  <a:gd name="connsiteX1" fmla="*/ 0 w 55245"/>
                  <a:gd name="connsiteY1" fmla="*/ 31242 h 62769"/>
                  <a:gd name="connsiteX2" fmla="*/ 3810 w 55245"/>
                  <a:gd name="connsiteY2" fmla="*/ 13716 h 62769"/>
                  <a:gd name="connsiteX3" fmla="*/ 14097 w 55245"/>
                  <a:gd name="connsiteY3" fmla="*/ 3334 h 62769"/>
                  <a:gd name="connsiteX4" fmla="*/ 28480 w 55245"/>
                  <a:gd name="connsiteY4" fmla="*/ 0 h 62769"/>
                  <a:gd name="connsiteX5" fmla="*/ 43720 w 55245"/>
                  <a:gd name="connsiteY5" fmla="*/ 4001 h 62769"/>
                  <a:gd name="connsiteX6" fmla="*/ 52483 w 55245"/>
                  <a:gd name="connsiteY6" fmla="*/ 14478 h 62769"/>
                  <a:gd name="connsiteX7" fmla="*/ 55245 w 55245"/>
                  <a:gd name="connsiteY7" fmla="*/ 29146 h 62769"/>
                  <a:gd name="connsiteX8" fmla="*/ 54864 w 55245"/>
                  <a:gd name="connsiteY8" fmla="*/ 35433 h 62769"/>
                  <a:gd name="connsiteX9" fmla="*/ 16478 w 55245"/>
                  <a:gd name="connsiteY9" fmla="*/ 35433 h 62769"/>
                  <a:gd name="connsiteX10" fmla="*/ 19812 w 55245"/>
                  <a:gd name="connsiteY10" fmla="*/ 46577 h 62769"/>
                  <a:gd name="connsiteX11" fmla="*/ 30194 w 55245"/>
                  <a:gd name="connsiteY11" fmla="*/ 50673 h 62769"/>
                  <a:gd name="connsiteX12" fmla="*/ 35909 w 55245"/>
                  <a:gd name="connsiteY12" fmla="*/ 50006 h 62769"/>
                  <a:gd name="connsiteX13" fmla="*/ 40958 w 55245"/>
                  <a:gd name="connsiteY13" fmla="*/ 48006 h 62769"/>
                  <a:gd name="connsiteX14" fmla="*/ 46958 w 55245"/>
                  <a:gd name="connsiteY14" fmla="*/ 44196 h 62769"/>
                  <a:gd name="connsiteX15" fmla="*/ 53340 w 55245"/>
                  <a:gd name="connsiteY15" fmla="*/ 54388 h 62769"/>
                  <a:gd name="connsiteX16" fmla="*/ 42672 w 55245"/>
                  <a:gd name="connsiteY16" fmla="*/ 60579 h 62769"/>
                  <a:gd name="connsiteX17" fmla="*/ 29432 w 55245"/>
                  <a:gd name="connsiteY17" fmla="*/ 62770 h 62769"/>
                  <a:gd name="connsiteX18" fmla="*/ 7811 w 55245"/>
                  <a:gd name="connsiteY18" fmla="*/ 54864 h 62769"/>
                  <a:gd name="connsiteX19" fmla="*/ 40005 w 55245"/>
                  <a:gd name="connsiteY19" fmla="*/ 24765 h 62769"/>
                  <a:gd name="connsiteX20" fmla="*/ 36862 w 55245"/>
                  <a:gd name="connsiteY20" fmla="*/ 14764 h 62769"/>
                  <a:gd name="connsiteX21" fmla="*/ 28385 w 55245"/>
                  <a:gd name="connsiteY21" fmla="*/ 11525 h 62769"/>
                  <a:gd name="connsiteX22" fmla="*/ 20003 w 55245"/>
                  <a:gd name="connsiteY22" fmla="*/ 14764 h 62769"/>
                  <a:gd name="connsiteX23" fmla="*/ 16669 w 55245"/>
                  <a:gd name="connsiteY23" fmla="*/ 24765 h 62769"/>
                  <a:gd name="connsiteX24" fmla="*/ 40100 w 55245"/>
                  <a:gd name="connsiteY24" fmla="*/ 24765 h 62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55245" h="62769">
                    <a:moveTo>
                      <a:pt x="7715" y="54769"/>
                    </a:moveTo>
                    <a:cubicBezTo>
                      <a:pt x="2572" y="49530"/>
                      <a:pt x="0" y="41624"/>
                      <a:pt x="0" y="31242"/>
                    </a:cubicBezTo>
                    <a:cubicBezTo>
                      <a:pt x="0" y="24289"/>
                      <a:pt x="1238" y="18383"/>
                      <a:pt x="3810" y="13716"/>
                    </a:cubicBezTo>
                    <a:cubicBezTo>
                      <a:pt x="6382" y="9049"/>
                      <a:pt x="9811" y="5620"/>
                      <a:pt x="14097" y="3334"/>
                    </a:cubicBezTo>
                    <a:cubicBezTo>
                      <a:pt x="18383" y="1048"/>
                      <a:pt x="23146" y="0"/>
                      <a:pt x="28480" y="0"/>
                    </a:cubicBezTo>
                    <a:cubicBezTo>
                      <a:pt x="34576" y="0"/>
                      <a:pt x="39719" y="1334"/>
                      <a:pt x="43720" y="4001"/>
                    </a:cubicBezTo>
                    <a:cubicBezTo>
                      <a:pt x="47720" y="6668"/>
                      <a:pt x="50673" y="10192"/>
                      <a:pt x="52483" y="14478"/>
                    </a:cubicBezTo>
                    <a:cubicBezTo>
                      <a:pt x="54293" y="18764"/>
                      <a:pt x="55245" y="23717"/>
                      <a:pt x="55245" y="29146"/>
                    </a:cubicBezTo>
                    <a:cubicBezTo>
                      <a:pt x="55245" y="31242"/>
                      <a:pt x="55150" y="33338"/>
                      <a:pt x="54864" y="35433"/>
                    </a:cubicBezTo>
                    <a:lnTo>
                      <a:pt x="16478" y="35433"/>
                    </a:lnTo>
                    <a:cubicBezTo>
                      <a:pt x="16478" y="40100"/>
                      <a:pt x="17621" y="43815"/>
                      <a:pt x="19812" y="46577"/>
                    </a:cubicBezTo>
                    <a:cubicBezTo>
                      <a:pt x="22003" y="49339"/>
                      <a:pt x="25527" y="50673"/>
                      <a:pt x="30194" y="50673"/>
                    </a:cubicBezTo>
                    <a:cubicBezTo>
                      <a:pt x="32290" y="50673"/>
                      <a:pt x="34195" y="50483"/>
                      <a:pt x="35909" y="50006"/>
                    </a:cubicBezTo>
                    <a:cubicBezTo>
                      <a:pt x="37624" y="49530"/>
                      <a:pt x="39338" y="48863"/>
                      <a:pt x="40958" y="48006"/>
                    </a:cubicBezTo>
                    <a:cubicBezTo>
                      <a:pt x="42577" y="47149"/>
                      <a:pt x="44577" y="45815"/>
                      <a:pt x="46958" y="44196"/>
                    </a:cubicBezTo>
                    <a:lnTo>
                      <a:pt x="53340" y="54388"/>
                    </a:lnTo>
                    <a:cubicBezTo>
                      <a:pt x="49816" y="57055"/>
                      <a:pt x="46196" y="59150"/>
                      <a:pt x="42672" y="60579"/>
                    </a:cubicBezTo>
                    <a:cubicBezTo>
                      <a:pt x="39148" y="62008"/>
                      <a:pt x="34671" y="62770"/>
                      <a:pt x="29432" y="62770"/>
                    </a:cubicBezTo>
                    <a:cubicBezTo>
                      <a:pt x="20193" y="62770"/>
                      <a:pt x="12954" y="60103"/>
                      <a:pt x="7811" y="54864"/>
                    </a:cubicBezTo>
                    <a:close/>
                    <a:moveTo>
                      <a:pt x="40005" y="24765"/>
                    </a:moveTo>
                    <a:cubicBezTo>
                      <a:pt x="39814" y="20193"/>
                      <a:pt x="38767" y="16859"/>
                      <a:pt x="36862" y="14764"/>
                    </a:cubicBezTo>
                    <a:cubicBezTo>
                      <a:pt x="34957" y="12668"/>
                      <a:pt x="32099" y="11525"/>
                      <a:pt x="28385" y="11525"/>
                    </a:cubicBezTo>
                    <a:cubicBezTo>
                      <a:pt x="24670" y="11525"/>
                      <a:pt x="22098" y="12573"/>
                      <a:pt x="20003" y="14764"/>
                    </a:cubicBezTo>
                    <a:cubicBezTo>
                      <a:pt x="17907" y="16954"/>
                      <a:pt x="16764" y="20288"/>
                      <a:pt x="16669" y="24765"/>
                    </a:cubicBezTo>
                    <a:lnTo>
                      <a:pt x="40100" y="24765"/>
                    </a:lnTo>
                    <a:close/>
                  </a:path>
                </a:pathLst>
              </a:custGeom>
              <a:solidFill>
                <a:srgbClr val="231F20"/>
              </a:solidFill>
              <a:ln w="9525" cap="flat">
                <a:noFill/>
                <a:prstDash val="solid"/>
                <a:miter/>
              </a:ln>
            </p:spPr>
            <p:txBody>
              <a:bodyPr rtlCol="0" anchor="ctr"/>
              <a:lstStyle/>
              <a:p>
                <a:pPr marL="0" marR="0" lvl="0" indent="0" algn="l" defTabSz="913578" rtl="0" eaLnBrk="1" fontAlgn="auto" latinLnBrk="0" hangingPunct="1">
                  <a:lnSpc>
                    <a:spcPct val="100000"/>
                  </a:lnSpc>
                  <a:spcBef>
                    <a:spcPts val="0"/>
                  </a:spcBef>
                  <a:spcAft>
                    <a:spcPts val="0"/>
                  </a:spcAft>
                  <a:buClrTx/>
                  <a:buSzTx/>
                  <a:buFontTx/>
                  <a:buNone/>
                  <a:tabLst/>
                  <a:defRPr/>
                </a:pPr>
                <a:endParaRPr kumimoji="0" lang="en-US" sz="17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354" name="Freeform: Shape 179">
                <a:extLst>
                  <a:ext uri="{FF2B5EF4-FFF2-40B4-BE49-F238E27FC236}">
                    <a16:creationId xmlns:a16="http://schemas.microsoft.com/office/drawing/2014/main" id="{294C0679-B4ED-1DAE-1ACF-505A20F20615}"/>
                  </a:ext>
                </a:extLst>
              </p:cNvPr>
              <p:cNvSpPr/>
              <p:nvPr/>
            </p:nvSpPr>
            <p:spPr>
              <a:xfrm>
                <a:off x="4878514" y="4213574"/>
                <a:ext cx="55149" cy="61722"/>
              </a:xfrm>
              <a:custGeom>
                <a:avLst/>
                <a:gdLst>
                  <a:gd name="connsiteX0" fmla="*/ 381 w 55149"/>
                  <a:gd name="connsiteY0" fmla="*/ 14669 h 61722"/>
                  <a:gd name="connsiteX1" fmla="*/ 286 w 55149"/>
                  <a:gd name="connsiteY1" fmla="*/ 6763 h 61722"/>
                  <a:gd name="connsiteX2" fmla="*/ 0 w 55149"/>
                  <a:gd name="connsiteY2" fmla="*/ 1238 h 61722"/>
                  <a:gd name="connsiteX3" fmla="*/ 14954 w 55149"/>
                  <a:gd name="connsiteY3" fmla="*/ 1238 h 61722"/>
                  <a:gd name="connsiteX4" fmla="*/ 15430 w 55149"/>
                  <a:gd name="connsiteY4" fmla="*/ 6191 h 61722"/>
                  <a:gd name="connsiteX5" fmla="*/ 15716 w 55149"/>
                  <a:gd name="connsiteY5" fmla="*/ 12097 h 61722"/>
                  <a:gd name="connsiteX6" fmla="*/ 15907 w 55149"/>
                  <a:gd name="connsiteY6" fmla="*/ 12097 h 61722"/>
                  <a:gd name="connsiteX7" fmla="*/ 23908 w 55149"/>
                  <a:gd name="connsiteY7" fmla="*/ 2953 h 61722"/>
                  <a:gd name="connsiteX8" fmla="*/ 35338 w 55149"/>
                  <a:gd name="connsiteY8" fmla="*/ 0 h 61722"/>
                  <a:gd name="connsiteX9" fmla="*/ 50387 w 55149"/>
                  <a:gd name="connsiteY9" fmla="*/ 6382 h 61722"/>
                  <a:gd name="connsiteX10" fmla="*/ 55150 w 55149"/>
                  <a:gd name="connsiteY10" fmla="*/ 23336 h 61722"/>
                  <a:gd name="connsiteX11" fmla="*/ 55150 w 55149"/>
                  <a:gd name="connsiteY11" fmla="*/ 61627 h 61722"/>
                  <a:gd name="connsiteX12" fmla="*/ 39529 w 55149"/>
                  <a:gd name="connsiteY12" fmla="*/ 61627 h 61722"/>
                  <a:gd name="connsiteX13" fmla="*/ 39529 w 55149"/>
                  <a:gd name="connsiteY13" fmla="*/ 27813 h 61722"/>
                  <a:gd name="connsiteX14" fmla="*/ 37243 w 55149"/>
                  <a:gd name="connsiteY14" fmla="*/ 17240 h 61722"/>
                  <a:gd name="connsiteX15" fmla="*/ 29337 w 55149"/>
                  <a:gd name="connsiteY15" fmla="*/ 13526 h 61722"/>
                  <a:gd name="connsiteX16" fmla="*/ 22574 w 55149"/>
                  <a:gd name="connsiteY16" fmla="*/ 15526 h 61722"/>
                  <a:gd name="connsiteX17" fmla="*/ 17812 w 55149"/>
                  <a:gd name="connsiteY17" fmla="*/ 21146 h 61722"/>
                  <a:gd name="connsiteX18" fmla="*/ 16097 w 55149"/>
                  <a:gd name="connsiteY18" fmla="*/ 29337 h 61722"/>
                  <a:gd name="connsiteX19" fmla="*/ 16097 w 55149"/>
                  <a:gd name="connsiteY19" fmla="*/ 61722 h 61722"/>
                  <a:gd name="connsiteX20" fmla="*/ 381 w 55149"/>
                  <a:gd name="connsiteY20" fmla="*/ 61722 h 61722"/>
                  <a:gd name="connsiteX21" fmla="*/ 381 w 55149"/>
                  <a:gd name="connsiteY21" fmla="*/ 14859 h 61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5149" h="61722">
                    <a:moveTo>
                      <a:pt x="381" y="14669"/>
                    </a:moveTo>
                    <a:cubicBezTo>
                      <a:pt x="381" y="12097"/>
                      <a:pt x="381" y="9430"/>
                      <a:pt x="286" y="6763"/>
                    </a:cubicBezTo>
                    <a:cubicBezTo>
                      <a:pt x="191" y="4096"/>
                      <a:pt x="95" y="2191"/>
                      <a:pt x="0" y="1238"/>
                    </a:cubicBezTo>
                    <a:lnTo>
                      <a:pt x="14954" y="1238"/>
                    </a:lnTo>
                    <a:cubicBezTo>
                      <a:pt x="15145" y="2096"/>
                      <a:pt x="15240" y="3715"/>
                      <a:pt x="15430" y="6191"/>
                    </a:cubicBezTo>
                    <a:cubicBezTo>
                      <a:pt x="15621" y="8668"/>
                      <a:pt x="15716" y="10668"/>
                      <a:pt x="15716" y="12097"/>
                    </a:cubicBezTo>
                    <a:lnTo>
                      <a:pt x="15907" y="12097"/>
                    </a:lnTo>
                    <a:cubicBezTo>
                      <a:pt x="18002" y="8001"/>
                      <a:pt x="20669" y="4953"/>
                      <a:pt x="23908" y="2953"/>
                    </a:cubicBezTo>
                    <a:cubicBezTo>
                      <a:pt x="27146" y="953"/>
                      <a:pt x="30956" y="0"/>
                      <a:pt x="35338" y="0"/>
                    </a:cubicBezTo>
                    <a:cubicBezTo>
                      <a:pt x="42196" y="0"/>
                      <a:pt x="47244" y="2096"/>
                      <a:pt x="50387" y="6382"/>
                    </a:cubicBezTo>
                    <a:cubicBezTo>
                      <a:pt x="53530" y="10668"/>
                      <a:pt x="55150" y="16288"/>
                      <a:pt x="55150" y="23336"/>
                    </a:cubicBezTo>
                    <a:lnTo>
                      <a:pt x="55150" y="61627"/>
                    </a:lnTo>
                    <a:lnTo>
                      <a:pt x="39529" y="61627"/>
                    </a:lnTo>
                    <a:lnTo>
                      <a:pt x="39529" y="27813"/>
                    </a:lnTo>
                    <a:cubicBezTo>
                      <a:pt x="39529" y="23241"/>
                      <a:pt x="38767" y="19717"/>
                      <a:pt x="37243" y="17240"/>
                    </a:cubicBezTo>
                    <a:cubicBezTo>
                      <a:pt x="35719" y="14764"/>
                      <a:pt x="33052" y="13526"/>
                      <a:pt x="29337" y="13526"/>
                    </a:cubicBezTo>
                    <a:cubicBezTo>
                      <a:pt x="26765" y="13526"/>
                      <a:pt x="24575" y="14192"/>
                      <a:pt x="22574" y="15526"/>
                    </a:cubicBezTo>
                    <a:cubicBezTo>
                      <a:pt x="20574" y="16859"/>
                      <a:pt x="18955" y="18669"/>
                      <a:pt x="17812" y="21146"/>
                    </a:cubicBezTo>
                    <a:cubicBezTo>
                      <a:pt x="16669" y="23622"/>
                      <a:pt x="16097" y="26289"/>
                      <a:pt x="16097" y="29337"/>
                    </a:cubicBezTo>
                    <a:lnTo>
                      <a:pt x="16097" y="61722"/>
                    </a:lnTo>
                    <a:lnTo>
                      <a:pt x="381" y="61722"/>
                    </a:lnTo>
                    <a:lnTo>
                      <a:pt x="381" y="14859"/>
                    </a:lnTo>
                    <a:close/>
                  </a:path>
                </a:pathLst>
              </a:custGeom>
              <a:solidFill>
                <a:srgbClr val="231F20"/>
              </a:solidFill>
              <a:ln w="9525" cap="flat">
                <a:noFill/>
                <a:prstDash val="solid"/>
                <a:miter/>
              </a:ln>
            </p:spPr>
            <p:txBody>
              <a:bodyPr rtlCol="0" anchor="ctr"/>
              <a:lstStyle/>
              <a:p>
                <a:pPr marL="0" marR="0" lvl="0" indent="0" algn="l" defTabSz="913578" rtl="0" eaLnBrk="1" fontAlgn="auto" latinLnBrk="0" hangingPunct="1">
                  <a:lnSpc>
                    <a:spcPct val="100000"/>
                  </a:lnSpc>
                  <a:spcBef>
                    <a:spcPts val="0"/>
                  </a:spcBef>
                  <a:spcAft>
                    <a:spcPts val="0"/>
                  </a:spcAft>
                  <a:buClrTx/>
                  <a:buSzTx/>
                  <a:buFontTx/>
                  <a:buNone/>
                  <a:tabLst/>
                  <a:defRPr/>
                </a:pPr>
                <a:endParaRPr kumimoji="0" lang="en-US" sz="17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355" name="Freeform: Shape 180">
                <a:extLst>
                  <a:ext uri="{FF2B5EF4-FFF2-40B4-BE49-F238E27FC236}">
                    <a16:creationId xmlns:a16="http://schemas.microsoft.com/office/drawing/2014/main" id="{043EEB1D-CA77-E158-EFED-2259610CB365}"/>
                  </a:ext>
                </a:extLst>
              </p:cNvPr>
              <p:cNvSpPr/>
              <p:nvPr/>
            </p:nvSpPr>
            <p:spPr>
              <a:xfrm>
                <a:off x="4942141" y="4200048"/>
                <a:ext cx="35814" cy="76104"/>
              </a:xfrm>
              <a:custGeom>
                <a:avLst/>
                <a:gdLst>
                  <a:gd name="connsiteX0" fmla="*/ 11621 w 35814"/>
                  <a:gd name="connsiteY0" fmla="*/ 71914 h 76104"/>
                  <a:gd name="connsiteX1" fmla="*/ 7620 w 35814"/>
                  <a:gd name="connsiteY1" fmla="*/ 59722 h 76104"/>
                  <a:gd name="connsiteX2" fmla="*/ 7620 w 35814"/>
                  <a:gd name="connsiteY2" fmla="*/ 26384 h 76104"/>
                  <a:gd name="connsiteX3" fmla="*/ 0 w 35814"/>
                  <a:gd name="connsiteY3" fmla="*/ 26384 h 76104"/>
                  <a:gd name="connsiteX4" fmla="*/ 0 w 35814"/>
                  <a:gd name="connsiteY4" fmla="*/ 14764 h 76104"/>
                  <a:gd name="connsiteX5" fmla="*/ 8382 w 35814"/>
                  <a:gd name="connsiteY5" fmla="*/ 14764 h 76104"/>
                  <a:gd name="connsiteX6" fmla="*/ 9144 w 35814"/>
                  <a:gd name="connsiteY6" fmla="*/ 1143 h 76104"/>
                  <a:gd name="connsiteX7" fmla="*/ 23051 w 35814"/>
                  <a:gd name="connsiteY7" fmla="*/ 0 h 76104"/>
                  <a:gd name="connsiteX8" fmla="*/ 23051 w 35814"/>
                  <a:gd name="connsiteY8" fmla="*/ 14764 h 76104"/>
                  <a:gd name="connsiteX9" fmla="*/ 35052 w 35814"/>
                  <a:gd name="connsiteY9" fmla="*/ 14764 h 76104"/>
                  <a:gd name="connsiteX10" fmla="*/ 35052 w 35814"/>
                  <a:gd name="connsiteY10" fmla="*/ 26384 h 76104"/>
                  <a:gd name="connsiteX11" fmla="*/ 23051 w 35814"/>
                  <a:gd name="connsiteY11" fmla="*/ 26384 h 76104"/>
                  <a:gd name="connsiteX12" fmla="*/ 23051 w 35814"/>
                  <a:gd name="connsiteY12" fmla="*/ 55531 h 76104"/>
                  <a:gd name="connsiteX13" fmla="*/ 24479 w 35814"/>
                  <a:gd name="connsiteY13" fmla="*/ 61246 h 76104"/>
                  <a:gd name="connsiteX14" fmla="*/ 28956 w 35814"/>
                  <a:gd name="connsiteY14" fmla="*/ 63055 h 76104"/>
                  <a:gd name="connsiteX15" fmla="*/ 34671 w 35814"/>
                  <a:gd name="connsiteY15" fmla="*/ 62389 h 76104"/>
                  <a:gd name="connsiteX16" fmla="*/ 35814 w 35814"/>
                  <a:gd name="connsiteY16" fmla="*/ 74295 h 76104"/>
                  <a:gd name="connsiteX17" fmla="*/ 23051 w 35814"/>
                  <a:gd name="connsiteY17" fmla="*/ 76105 h 76104"/>
                  <a:gd name="connsiteX18" fmla="*/ 11525 w 35814"/>
                  <a:gd name="connsiteY18" fmla="*/ 72009 h 76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5814" h="76104">
                    <a:moveTo>
                      <a:pt x="11621" y="71914"/>
                    </a:moveTo>
                    <a:cubicBezTo>
                      <a:pt x="8954" y="69151"/>
                      <a:pt x="7620" y="65151"/>
                      <a:pt x="7620" y="59722"/>
                    </a:cubicBezTo>
                    <a:lnTo>
                      <a:pt x="7620" y="26384"/>
                    </a:lnTo>
                    <a:lnTo>
                      <a:pt x="0" y="26384"/>
                    </a:lnTo>
                    <a:lnTo>
                      <a:pt x="0" y="14764"/>
                    </a:lnTo>
                    <a:lnTo>
                      <a:pt x="8382" y="14764"/>
                    </a:lnTo>
                    <a:lnTo>
                      <a:pt x="9144" y="1143"/>
                    </a:lnTo>
                    <a:lnTo>
                      <a:pt x="23051" y="0"/>
                    </a:lnTo>
                    <a:lnTo>
                      <a:pt x="23051" y="14764"/>
                    </a:lnTo>
                    <a:lnTo>
                      <a:pt x="35052" y="14764"/>
                    </a:lnTo>
                    <a:lnTo>
                      <a:pt x="35052" y="26384"/>
                    </a:lnTo>
                    <a:lnTo>
                      <a:pt x="23051" y="26384"/>
                    </a:lnTo>
                    <a:lnTo>
                      <a:pt x="23051" y="55531"/>
                    </a:lnTo>
                    <a:cubicBezTo>
                      <a:pt x="23051" y="58102"/>
                      <a:pt x="23527" y="60007"/>
                      <a:pt x="24479" y="61246"/>
                    </a:cubicBezTo>
                    <a:cubicBezTo>
                      <a:pt x="25432" y="62484"/>
                      <a:pt x="26861" y="63055"/>
                      <a:pt x="28956" y="63055"/>
                    </a:cubicBezTo>
                    <a:cubicBezTo>
                      <a:pt x="30575" y="63055"/>
                      <a:pt x="32480" y="62865"/>
                      <a:pt x="34671" y="62389"/>
                    </a:cubicBezTo>
                    <a:lnTo>
                      <a:pt x="35814" y="74295"/>
                    </a:lnTo>
                    <a:cubicBezTo>
                      <a:pt x="31528" y="75438"/>
                      <a:pt x="27337" y="76105"/>
                      <a:pt x="23051" y="76105"/>
                    </a:cubicBezTo>
                    <a:cubicBezTo>
                      <a:pt x="18002" y="76105"/>
                      <a:pt x="14192" y="74771"/>
                      <a:pt x="11525" y="72009"/>
                    </a:cubicBezTo>
                    <a:close/>
                  </a:path>
                </a:pathLst>
              </a:custGeom>
              <a:solidFill>
                <a:srgbClr val="231F20"/>
              </a:solidFill>
              <a:ln w="9525" cap="flat">
                <a:noFill/>
                <a:prstDash val="solid"/>
                <a:miter/>
              </a:ln>
            </p:spPr>
            <p:txBody>
              <a:bodyPr rtlCol="0" anchor="ctr"/>
              <a:lstStyle/>
              <a:p>
                <a:pPr marL="0" marR="0" lvl="0" indent="0" algn="l" defTabSz="913578" rtl="0" eaLnBrk="1" fontAlgn="auto" latinLnBrk="0" hangingPunct="1">
                  <a:lnSpc>
                    <a:spcPct val="100000"/>
                  </a:lnSpc>
                  <a:spcBef>
                    <a:spcPts val="0"/>
                  </a:spcBef>
                  <a:spcAft>
                    <a:spcPts val="0"/>
                  </a:spcAft>
                  <a:buClrTx/>
                  <a:buSzTx/>
                  <a:buFontTx/>
                  <a:buNone/>
                  <a:tabLst/>
                  <a:defRPr/>
                </a:pPr>
                <a:endParaRPr kumimoji="0" lang="en-US" sz="17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grpSp>
        <p:grpSp>
          <p:nvGrpSpPr>
            <p:cNvPr id="273" name="Graphic 2">
              <a:extLst>
                <a:ext uri="{FF2B5EF4-FFF2-40B4-BE49-F238E27FC236}">
                  <a16:creationId xmlns:a16="http://schemas.microsoft.com/office/drawing/2014/main" id="{475E01ED-22EE-9AB4-73F1-1B1AE6D93C08}"/>
                </a:ext>
              </a:extLst>
            </p:cNvPr>
            <p:cNvGrpSpPr/>
            <p:nvPr/>
          </p:nvGrpSpPr>
          <p:grpSpPr>
            <a:xfrm>
              <a:off x="9090470" y="3434775"/>
              <a:ext cx="919318" cy="518530"/>
              <a:chOff x="7230046" y="3920966"/>
              <a:chExt cx="691610" cy="377856"/>
            </a:xfrm>
            <a:solidFill>
              <a:srgbClr val="231F20"/>
            </a:solidFill>
          </p:grpSpPr>
          <p:sp>
            <p:nvSpPr>
              <p:cNvPr id="304" name="Freeform: Shape 129">
                <a:extLst>
                  <a:ext uri="{FF2B5EF4-FFF2-40B4-BE49-F238E27FC236}">
                    <a16:creationId xmlns:a16="http://schemas.microsoft.com/office/drawing/2014/main" id="{61DB084F-0F42-30B5-A34B-796A5D1B4623}"/>
                  </a:ext>
                </a:extLst>
              </p:cNvPr>
              <p:cNvSpPr/>
              <p:nvPr/>
            </p:nvSpPr>
            <p:spPr>
              <a:xfrm>
                <a:off x="7314342" y="3920966"/>
                <a:ext cx="74009" cy="80772"/>
              </a:xfrm>
              <a:custGeom>
                <a:avLst/>
                <a:gdLst>
                  <a:gd name="connsiteX0" fmla="*/ 18098 w 74009"/>
                  <a:gd name="connsiteY0" fmla="*/ 75724 h 80772"/>
                  <a:gd name="connsiteX1" fmla="*/ 4572 w 74009"/>
                  <a:gd name="connsiteY1" fmla="*/ 61341 h 80772"/>
                  <a:gd name="connsiteX2" fmla="*/ 0 w 74009"/>
                  <a:gd name="connsiteY2" fmla="*/ 40100 h 80772"/>
                  <a:gd name="connsiteX3" fmla="*/ 4668 w 74009"/>
                  <a:gd name="connsiteY3" fmla="*/ 18860 h 80772"/>
                  <a:gd name="connsiteX4" fmla="*/ 18193 w 74009"/>
                  <a:gd name="connsiteY4" fmla="*/ 4953 h 80772"/>
                  <a:gd name="connsiteX5" fmla="*/ 38958 w 74009"/>
                  <a:gd name="connsiteY5" fmla="*/ 0 h 80772"/>
                  <a:gd name="connsiteX6" fmla="*/ 59817 w 74009"/>
                  <a:gd name="connsiteY6" fmla="*/ 5048 h 80772"/>
                  <a:gd name="connsiteX7" fmla="*/ 72676 w 74009"/>
                  <a:gd name="connsiteY7" fmla="*/ 18860 h 80772"/>
                  <a:gd name="connsiteX8" fmla="*/ 58960 w 74009"/>
                  <a:gd name="connsiteY8" fmla="*/ 25527 h 80772"/>
                  <a:gd name="connsiteX9" fmla="*/ 51340 w 74009"/>
                  <a:gd name="connsiteY9" fmla="*/ 17336 h 80772"/>
                  <a:gd name="connsiteX10" fmla="*/ 39244 w 74009"/>
                  <a:gd name="connsiteY10" fmla="*/ 14097 h 80772"/>
                  <a:gd name="connsiteX11" fmla="*/ 27337 w 74009"/>
                  <a:gd name="connsiteY11" fmla="*/ 17336 h 80772"/>
                  <a:gd name="connsiteX12" fmla="*/ 19336 w 74009"/>
                  <a:gd name="connsiteY12" fmla="*/ 26479 h 80772"/>
                  <a:gd name="connsiteX13" fmla="*/ 16479 w 74009"/>
                  <a:gd name="connsiteY13" fmla="*/ 40196 h 80772"/>
                  <a:gd name="connsiteX14" fmla="*/ 19145 w 74009"/>
                  <a:gd name="connsiteY14" fmla="*/ 54102 h 80772"/>
                  <a:gd name="connsiteX15" fmla="*/ 26956 w 74009"/>
                  <a:gd name="connsiteY15" fmla="*/ 63437 h 80772"/>
                  <a:gd name="connsiteX16" fmla="*/ 39624 w 74009"/>
                  <a:gd name="connsiteY16" fmla="*/ 66770 h 80772"/>
                  <a:gd name="connsiteX17" fmla="*/ 60484 w 74009"/>
                  <a:gd name="connsiteY17" fmla="*/ 53340 h 80772"/>
                  <a:gd name="connsiteX18" fmla="*/ 74009 w 74009"/>
                  <a:gd name="connsiteY18" fmla="*/ 60293 h 80772"/>
                  <a:gd name="connsiteX19" fmla="*/ 61436 w 74009"/>
                  <a:gd name="connsiteY19" fmla="*/ 75057 h 80772"/>
                  <a:gd name="connsiteX20" fmla="*/ 39624 w 74009"/>
                  <a:gd name="connsiteY20" fmla="*/ 80772 h 80772"/>
                  <a:gd name="connsiteX21" fmla="*/ 18002 w 74009"/>
                  <a:gd name="connsiteY21" fmla="*/ 75629 h 80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74009" h="80772">
                    <a:moveTo>
                      <a:pt x="18098" y="75724"/>
                    </a:moveTo>
                    <a:cubicBezTo>
                      <a:pt x="12192" y="72295"/>
                      <a:pt x="7620" y="67437"/>
                      <a:pt x="4572" y="61341"/>
                    </a:cubicBezTo>
                    <a:cubicBezTo>
                      <a:pt x="1524" y="55245"/>
                      <a:pt x="0" y="48101"/>
                      <a:pt x="0" y="40100"/>
                    </a:cubicBezTo>
                    <a:cubicBezTo>
                      <a:pt x="0" y="32099"/>
                      <a:pt x="1524" y="24860"/>
                      <a:pt x="4668" y="18860"/>
                    </a:cubicBezTo>
                    <a:cubicBezTo>
                      <a:pt x="7811" y="12859"/>
                      <a:pt x="12288" y="8192"/>
                      <a:pt x="18193" y="4953"/>
                    </a:cubicBezTo>
                    <a:cubicBezTo>
                      <a:pt x="24099" y="1714"/>
                      <a:pt x="30956" y="0"/>
                      <a:pt x="38958" y="0"/>
                    </a:cubicBezTo>
                    <a:cubicBezTo>
                      <a:pt x="46959" y="0"/>
                      <a:pt x="54197" y="1714"/>
                      <a:pt x="59817" y="5048"/>
                    </a:cubicBezTo>
                    <a:cubicBezTo>
                      <a:pt x="65437" y="8382"/>
                      <a:pt x="69723" y="13049"/>
                      <a:pt x="72676" y="18860"/>
                    </a:cubicBezTo>
                    <a:lnTo>
                      <a:pt x="58960" y="25527"/>
                    </a:lnTo>
                    <a:cubicBezTo>
                      <a:pt x="57245" y="22193"/>
                      <a:pt x="54674" y="19526"/>
                      <a:pt x="51340" y="17336"/>
                    </a:cubicBezTo>
                    <a:cubicBezTo>
                      <a:pt x="48006" y="15145"/>
                      <a:pt x="44006" y="14097"/>
                      <a:pt x="39244" y="14097"/>
                    </a:cubicBezTo>
                    <a:cubicBezTo>
                      <a:pt x="34481" y="14097"/>
                      <a:pt x="30766" y="15145"/>
                      <a:pt x="27337" y="17336"/>
                    </a:cubicBezTo>
                    <a:cubicBezTo>
                      <a:pt x="23908" y="19526"/>
                      <a:pt x="21241" y="22574"/>
                      <a:pt x="19336" y="26479"/>
                    </a:cubicBezTo>
                    <a:cubicBezTo>
                      <a:pt x="17431" y="30385"/>
                      <a:pt x="16479" y="34957"/>
                      <a:pt x="16479" y="40196"/>
                    </a:cubicBezTo>
                    <a:cubicBezTo>
                      <a:pt x="16479" y="45434"/>
                      <a:pt x="17336" y="50102"/>
                      <a:pt x="19145" y="54102"/>
                    </a:cubicBezTo>
                    <a:cubicBezTo>
                      <a:pt x="20955" y="58103"/>
                      <a:pt x="23527" y="61246"/>
                      <a:pt x="26956" y="63437"/>
                    </a:cubicBezTo>
                    <a:cubicBezTo>
                      <a:pt x="30385" y="65627"/>
                      <a:pt x="34671" y="66770"/>
                      <a:pt x="39624" y="66770"/>
                    </a:cubicBezTo>
                    <a:cubicBezTo>
                      <a:pt x="48959" y="66770"/>
                      <a:pt x="55912" y="62294"/>
                      <a:pt x="60484" y="53340"/>
                    </a:cubicBezTo>
                    <a:lnTo>
                      <a:pt x="74009" y="60293"/>
                    </a:lnTo>
                    <a:cubicBezTo>
                      <a:pt x="71247" y="66294"/>
                      <a:pt x="67056" y="71247"/>
                      <a:pt x="61436" y="75057"/>
                    </a:cubicBezTo>
                    <a:cubicBezTo>
                      <a:pt x="55817" y="78867"/>
                      <a:pt x="48578" y="80772"/>
                      <a:pt x="39624" y="80772"/>
                    </a:cubicBezTo>
                    <a:cubicBezTo>
                      <a:pt x="30671" y="80772"/>
                      <a:pt x="23908" y="79058"/>
                      <a:pt x="18002" y="75629"/>
                    </a:cubicBezTo>
                    <a:close/>
                  </a:path>
                </a:pathLst>
              </a:custGeom>
              <a:solidFill>
                <a:srgbClr val="231F20"/>
              </a:solidFill>
              <a:ln w="9525" cap="flat">
                <a:noFill/>
                <a:prstDash val="solid"/>
                <a:miter/>
              </a:ln>
            </p:spPr>
            <p:txBody>
              <a:bodyPr rtlCol="0" anchor="ctr"/>
              <a:lstStyle/>
              <a:p>
                <a:pPr marL="0" marR="0" lvl="0" indent="0" algn="l" defTabSz="913578" rtl="0" eaLnBrk="1" fontAlgn="auto" latinLnBrk="0" hangingPunct="1">
                  <a:lnSpc>
                    <a:spcPct val="100000"/>
                  </a:lnSpc>
                  <a:spcBef>
                    <a:spcPts val="0"/>
                  </a:spcBef>
                  <a:spcAft>
                    <a:spcPts val="0"/>
                  </a:spcAft>
                  <a:buClrTx/>
                  <a:buSzTx/>
                  <a:buFontTx/>
                  <a:buNone/>
                  <a:tabLst/>
                  <a:defRPr/>
                </a:pPr>
                <a:endParaRPr kumimoji="0" lang="en-US" sz="17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305" name="Freeform: Shape 130">
                <a:extLst>
                  <a:ext uri="{FF2B5EF4-FFF2-40B4-BE49-F238E27FC236}">
                    <a16:creationId xmlns:a16="http://schemas.microsoft.com/office/drawing/2014/main" id="{63369695-0C6B-D5A6-96F1-8E6C6BAF3952}"/>
                  </a:ext>
                </a:extLst>
              </p:cNvPr>
              <p:cNvSpPr/>
              <p:nvPr/>
            </p:nvSpPr>
            <p:spPr>
              <a:xfrm>
                <a:off x="7397972" y="3940492"/>
                <a:ext cx="55244" cy="61531"/>
              </a:xfrm>
              <a:custGeom>
                <a:avLst/>
                <a:gdLst>
                  <a:gd name="connsiteX0" fmla="*/ 4763 w 55244"/>
                  <a:gd name="connsiteY0" fmla="*/ 55150 h 61531"/>
                  <a:gd name="connsiteX1" fmla="*/ 0 w 55244"/>
                  <a:gd name="connsiteY1" fmla="*/ 38290 h 61531"/>
                  <a:gd name="connsiteX2" fmla="*/ 0 w 55244"/>
                  <a:gd name="connsiteY2" fmla="*/ 0 h 61531"/>
                  <a:gd name="connsiteX3" fmla="*/ 15716 w 55244"/>
                  <a:gd name="connsiteY3" fmla="*/ 0 h 61531"/>
                  <a:gd name="connsiteX4" fmla="*/ 15716 w 55244"/>
                  <a:gd name="connsiteY4" fmla="*/ 33814 h 61531"/>
                  <a:gd name="connsiteX5" fmla="*/ 18002 w 55244"/>
                  <a:gd name="connsiteY5" fmla="*/ 44291 h 61531"/>
                  <a:gd name="connsiteX6" fmla="*/ 25908 w 55244"/>
                  <a:gd name="connsiteY6" fmla="*/ 48006 h 61531"/>
                  <a:gd name="connsiteX7" fmla="*/ 32671 w 55244"/>
                  <a:gd name="connsiteY7" fmla="*/ 46006 h 61531"/>
                  <a:gd name="connsiteX8" fmla="*/ 37433 w 55244"/>
                  <a:gd name="connsiteY8" fmla="*/ 40481 h 61531"/>
                  <a:gd name="connsiteX9" fmla="*/ 39148 w 55244"/>
                  <a:gd name="connsiteY9" fmla="*/ 32290 h 61531"/>
                  <a:gd name="connsiteX10" fmla="*/ 39148 w 55244"/>
                  <a:gd name="connsiteY10" fmla="*/ 0 h 61531"/>
                  <a:gd name="connsiteX11" fmla="*/ 54864 w 55244"/>
                  <a:gd name="connsiteY11" fmla="*/ 0 h 61531"/>
                  <a:gd name="connsiteX12" fmla="*/ 54864 w 55244"/>
                  <a:gd name="connsiteY12" fmla="*/ 46863 h 61531"/>
                  <a:gd name="connsiteX13" fmla="*/ 54959 w 55244"/>
                  <a:gd name="connsiteY13" fmla="*/ 54769 h 61531"/>
                  <a:gd name="connsiteX14" fmla="*/ 55245 w 55244"/>
                  <a:gd name="connsiteY14" fmla="*/ 60388 h 61531"/>
                  <a:gd name="connsiteX15" fmla="*/ 40291 w 55244"/>
                  <a:gd name="connsiteY15" fmla="*/ 60388 h 61531"/>
                  <a:gd name="connsiteX16" fmla="*/ 39910 w 55244"/>
                  <a:gd name="connsiteY16" fmla="*/ 55340 h 61531"/>
                  <a:gd name="connsiteX17" fmla="*/ 39624 w 55244"/>
                  <a:gd name="connsiteY17" fmla="*/ 49530 h 61531"/>
                  <a:gd name="connsiteX18" fmla="*/ 39338 w 55244"/>
                  <a:gd name="connsiteY18" fmla="*/ 49530 h 61531"/>
                  <a:gd name="connsiteX19" fmla="*/ 31432 w 55244"/>
                  <a:gd name="connsiteY19" fmla="*/ 58674 h 61531"/>
                  <a:gd name="connsiteX20" fmla="*/ 19908 w 55244"/>
                  <a:gd name="connsiteY20" fmla="*/ 61531 h 61531"/>
                  <a:gd name="connsiteX21" fmla="*/ 4858 w 55244"/>
                  <a:gd name="connsiteY21" fmla="*/ 55245 h 61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5244" h="61531">
                    <a:moveTo>
                      <a:pt x="4763" y="55150"/>
                    </a:moveTo>
                    <a:cubicBezTo>
                      <a:pt x="1619" y="50959"/>
                      <a:pt x="0" y="45339"/>
                      <a:pt x="0" y="38290"/>
                    </a:cubicBezTo>
                    <a:lnTo>
                      <a:pt x="0" y="0"/>
                    </a:lnTo>
                    <a:lnTo>
                      <a:pt x="15716" y="0"/>
                    </a:lnTo>
                    <a:lnTo>
                      <a:pt x="15716" y="33814"/>
                    </a:lnTo>
                    <a:cubicBezTo>
                      <a:pt x="15716" y="38290"/>
                      <a:pt x="16478" y="41815"/>
                      <a:pt x="18002" y="44291"/>
                    </a:cubicBezTo>
                    <a:cubicBezTo>
                      <a:pt x="19526" y="46767"/>
                      <a:pt x="22193" y="48006"/>
                      <a:pt x="25908" y="48006"/>
                    </a:cubicBezTo>
                    <a:cubicBezTo>
                      <a:pt x="28384" y="48006"/>
                      <a:pt x="30670" y="47339"/>
                      <a:pt x="32671" y="46006"/>
                    </a:cubicBezTo>
                    <a:cubicBezTo>
                      <a:pt x="34671" y="44672"/>
                      <a:pt x="36290" y="42863"/>
                      <a:pt x="37433" y="40481"/>
                    </a:cubicBezTo>
                    <a:cubicBezTo>
                      <a:pt x="38576" y="38100"/>
                      <a:pt x="39148" y="35338"/>
                      <a:pt x="39148" y="32290"/>
                    </a:cubicBezTo>
                    <a:lnTo>
                      <a:pt x="39148" y="0"/>
                    </a:lnTo>
                    <a:lnTo>
                      <a:pt x="54864" y="0"/>
                    </a:lnTo>
                    <a:lnTo>
                      <a:pt x="54864" y="46863"/>
                    </a:lnTo>
                    <a:cubicBezTo>
                      <a:pt x="54864" y="49435"/>
                      <a:pt x="54864" y="52006"/>
                      <a:pt x="54959" y="54769"/>
                    </a:cubicBezTo>
                    <a:cubicBezTo>
                      <a:pt x="55054" y="57531"/>
                      <a:pt x="55150" y="59341"/>
                      <a:pt x="55245" y="60388"/>
                    </a:cubicBezTo>
                    <a:lnTo>
                      <a:pt x="40291" y="60388"/>
                    </a:lnTo>
                    <a:cubicBezTo>
                      <a:pt x="40195" y="59531"/>
                      <a:pt x="40005" y="57817"/>
                      <a:pt x="39910" y="55340"/>
                    </a:cubicBezTo>
                    <a:cubicBezTo>
                      <a:pt x="39814" y="52864"/>
                      <a:pt x="39624" y="50959"/>
                      <a:pt x="39624" y="49530"/>
                    </a:cubicBezTo>
                    <a:lnTo>
                      <a:pt x="39338" y="49530"/>
                    </a:lnTo>
                    <a:cubicBezTo>
                      <a:pt x="37338" y="53626"/>
                      <a:pt x="34671" y="56674"/>
                      <a:pt x="31432" y="58674"/>
                    </a:cubicBezTo>
                    <a:cubicBezTo>
                      <a:pt x="28194" y="60674"/>
                      <a:pt x="24384" y="61531"/>
                      <a:pt x="19908" y="61531"/>
                    </a:cubicBezTo>
                    <a:cubicBezTo>
                      <a:pt x="13049" y="61531"/>
                      <a:pt x="8001" y="59436"/>
                      <a:pt x="4858" y="55245"/>
                    </a:cubicBezTo>
                    <a:close/>
                  </a:path>
                </a:pathLst>
              </a:custGeom>
              <a:solidFill>
                <a:srgbClr val="231F20"/>
              </a:solidFill>
              <a:ln w="9525" cap="flat">
                <a:noFill/>
                <a:prstDash val="solid"/>
                <a:miter/>
              </a:ln>
            </p:spPr>
            <p:txBody>
              <a:bodyPr rtlCol="0" anchor="ctr"/>
              <a:lstStyle/>
              <a:p>
                <a:pPr marL="0" marR="0" lvl="0" indent="0" algn="l" defTabSz="913578" rtl="0" eaLnBrk="1" fontAlgn="auto" latinLnBrk="0" hangingPunct="1">
                  <a:lnSpc>
                    <a:spcPct val="100000"/>
                  </a:lnSpc>
                  <a:spcBef>
                    <a:spcPts val="0"/>
                  </a:spcBef>
                  <a:spcAft>
                    <a:spcPts val="0"/>
                  </a:spcAft>
                  <a:buClrTx/>
                  <a:buSzTx/>
                  <a:buFontTx/>
                  <a:buNone/>
                  <a:tabLst/>
                  <a:defRPr/>
                </a:pPr>
                <a:endParaRPr kumimoji="0" lang="en-US" sz="17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306" name="Freeform: Shape 131">
                <a:extLst>
                  <a:ext uri="{FF2B5EF4-FFF2-40B4-BE49-F238E27FC236}">
                    <a16:creationId xmlns:a16="http://schemas.microsoft.com/office/drawing/2014/main" id="{78CF0E15-041E-BEE3-6467-7B3255C8D0E6}"/>
                  </a:ext>
                </a:extLst>
              </p:cNvPr>
              <p:cNvSpPr/>
              <p:nvPr/>
            </p:nvSpPr>
            <p:spPr>
              <a:xfrm>
                <a:off x="7463408" y="3939254"/>
                <a:ext cx="50768" cy="62769"/>
              </a:xfrm>
              <a:custGeom>
                <a:avLst/>
                <a:gdLst>
                  <a:gd name="connsiteX0" fmla="*/ 11716 w 50768"/>
                  <a:gd name="connsiteY0" fmla="*/ 60579 h 62769"/>
                  <a:gd name="connsiteX1" fmla="*/ 0 w 50768"/>
                  <a:gd name="connsiteY1" fmla="*/ 54007 h 62769"/>
                  <a:gd name="connsiteX2" fmla="*/ 7048 w 50768"/>
                  <a:gd name="connsiteY2" fmla="*/ 43243 h 62769"/>
                  <a:gd name="connsiteX3" fmla="*/ 16383 w 50768"/>
                  <a:gd name="connsiteY3" fmla="*/ 49054 h 62769"/>
                  <a:gd name="connsiteX4" fmla="*/ 25622 w 50768"/>
                  <a:gd name="connsiteY4" fmla="*/ 50959 h 62769"/>
                  <a:gd name="connsiteX5" fmla="*/ 33338 w 50768"/>
                  <a:gd name="connsiteY5" fmla="*/ 49721 h 62769"/>
                  <a:gd name="connsiteX6" fmla="*/ 36100 w 50768"/>
                  <a:gd name="connsiteY6" fmla="*/ 45244 h 62769"/>
                  <a:gd name="connsiteX7" fmla="*/ 34671 w 50768"/>
                  <a:gd name="connsiteY7" fmla="*/ 41529 h 62769"/>
                  <a:gd name="connsiteX8" fmla="*/ 30956 w 50768"/>
                  <a:gd name="connsiteY8" fmla="*/ 39338 h 62769"/>
                  <a:gd name="connsiteX9" fmla="*/ 24575 w 50768"/>
                  <a:gd name="connsiteY9" fmla="*/ 37624 h 62769"/>
                  <a:gd name="connsiteX10" fmla="*/ 21622 w 50768"/>
                  <a:gd name="connsiteY10" fmla="*/ 36862 h 62769"/>
                  <a:gd name="connsiteX11" fmla="*/ 11525 w 50768"/>
                  <a:gd name="connsiteY11" fmla="*/ 33338 h 62769"/>
                  <a:gd name="connsiteX12" fmla="*/ 4953 w 50768"/>
                  <a:gd name="connsiteY12" fmla="*/ 27813 h 62769"/>
                  <a:gd name="connsiteX13" fmla="*/ 2381 w 50768"/>
                  <a:gd name="connsiteY13" fmla="*/ 18288 h 62769"/>
                  <a:gd name="connsiteX14" fmla="*/ 5143 w 50768"/>
                  <a:gd name="connsiteY14" fmla="*/ 8477 h 62769"/>
                  <a:gd name="connsiteX15" fmla="*/ 13145 w 50768"/>
                  <a:gd name="connsiteY15" fmla="*/ 2191 h 62769"/>
                  <a:gd name="connsiteX16" fmla="*/ 25908 w 50768"/>
                  <a:gd name="connsiteY16" fmla="*/ 0 h 62769"/>
                  <a:gd name="connsiteX17" fmla="*/ 38958 w 50768"/>
                  <a:gd name="connsiteY17" fmla="*/ 2191 h 62769"/>
                  <a:gd name="connsiteX18" fmla="*/ 49054 w 50768"/>
                  <a:gd name="connsiteY18" fmla="*/ 8763 h 62769"/>
                  <a:gd name="connsiteX19" fmla="*/ 41053 w 50768"/>
                  <a:gd name="connsiteY19" fmla="*/ 18002 h 62769"/>
                  <a:gd name="connsiteX20" fmla="*/ 26098 w 50768"/>
                  <a:gd name="connsiteY20" fmla="*/ 11716 h 62769"/>
                  <a:gd name="connsiteX21" fmla="*/ 16859 w 50768"/>
                  <a:gd name="connsiteY21" fmla="*/ 17050 h 62769"/>
                  <a:gd name="connsiteX22" fmla="*/ 18098 w 50768"/>
                  <a:gd name="connsiteY22" fmla="*/ 20288 h 62769"/>
                  <a:gd name="connsiteX23" fmla="*/ 21241 w 50768"/>
                  <a:gd name="connsiteY23" fmla="*/ 22193 h 62769"/>
                  <a:gd name="connsiteX24" fmla="*/ 26861 w 50768"/>
                  <a:gd name="connsiteY24" fmla="*/ 23717 h 62769"/>
                  <a:gd name="connsiteX25" fmla="*/ 29718 w 50768"/>
                  <a:gd name="connsiteY25" fmla="*/ 24384 h 62769"/>
                  <a:gd name="connsiteX26" fmla="*/ 40767 w 50768"/>
                  <a:gd name="connsiteY26" fmla="*/ 28004 h 62769"/>
                  <a:gd name="connsiteX27" fmla="*/ 47911 w 50768"/>
                  <a:gd name="connsiteY27" fmla="*/ 33814 h 62769"/>
                  <a:gd name="connsiteX28" fmla="*/ 50768 w 50768"/>
                  <a:gd name="connsiteY28" fmla="*/ 44005 h 62769"/>
                  <a:gd name="connsiteX29" fmla="*/ 47816 w 50768"/>
                  <a:gd name="connsiteY29" fmla="*/ 54007 h 62769"/>
                  <a:gd name="connsiteX30" fmla="*/ 39243 w 50768"/>
                  <a:gd name="connsiteY30" fmla="*/ 60484 h 62769"/>
                  <a:gd name="connsiteX31" fmla="*/ 25813 w 50768"/>
                  <a:gd name="connsiteY31" fmla="*/ 62770 h 62769"/>
                  <a:gd name="connsiteX32" fmla="*/ 11906 w 50768"/>
                  <a:gd name="connsiteY32" fmla="*/ 60674 h 62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50768" h="62769">
                    <a:moveTo>
                      <a:pt x="11716" y="60579"/>
                    </a:moveTo>
                    <a:cubicBezTo>
                      <a:pt x="7620" y="59246"/>
                      <a:pt x="3715" y="56959"/>
                      <a:pt x="0" y="54007"/>
                    </a:cubicBezTo>
                    <a:lnTo>
                      <a:pt x="7048" y="43243"/>
                    </a:lnTo>
                    <a:cubicBezTo>
                      <a:pt x="10383" y="45815"/>
                      <a:pt x="13525" y="47720"/>
                      <a:pt x="16383" y="49054"/>
                    </a:cubicBezTo>
                    <a:cubicBezTo>
                      <a:pt x="19241" y="50387"/>
                      <a:pt x="22289" y="50959"/>
                      <a:pt x="25622" y="50959"/>
                    </a:cubicBezTo>
                    <a:cubicBezTo>
                      <a:pt x="28956" y="50959"/>
                      <a:pt x="31528" y="50578"/>
                      <a:pt x="33338" y="49721"/>
                    </a:cubicBezTo>
                    <a:cubicBezTo>
                      <a:pt x="35147" y="48863"/>
                      <a:pt x="36100" y="47339"/>
                      <a:pt x="36100" y="45244"/>
                    </a:cubicBezTo>
                    <a:cubicBezTo>
                      <a:pt x="36100" y="43720"/>
                      <a:pt x="35623" y="42481"/>
                      <a:pt x="34671" y="41529"/>
                    </a:cubicBezTo>
                    <a:cubicBezTo>
                      <a:pt x="33718" y="40576"/>
                      <a:pt x="32480" y="39910"/>
                      <a:pt x="30956" y="39338"/>
                    </a:cubicBezTo>
                    <a:cubicBezTo>
                      <a:pt x="29433" y="38767"/>
                      <a:pt x="27337" y="38290"/>
                      <a:pt x="24575" y="37624"/>
                    </a:cubicBezTo>
                    <a:lnTo>
                      <a:pt x="21622" y="36862"/>
                    </a:lnTo>
                    <a:cubicBezTo>
                      <a:pt x="17526" y="35814"/>
                      <a:pt x="14192" y="34671"/>
                      <a:pt x="11525" y="33338"/>
                    </a:cubicBezTo>
                    <a:cubicBezTo>
                      <a:pt x="8858" y="32004"/>
                      <a:pt x="6668" y="30194"/>
                      <a:pt x="4953" y="27813"/>
                    </a:cubicBezTo>
                    <a:cubicBezTo>
                      <a:pt x="3239" y="25432"/>
                      <a:pt x="2381" y="22193"/>
                      <a:pt x="2381" y="18288"/>
                    </a:cubicBezTo>
                    <a:cubicBezTo>
                      <a:pt x="2381" y="14383"/>
                      <a:pt x="3334" y="11239"/>
                      <a:pt x="5143" y="8477"/>
                    </a:cubicBezTo>
                    <a:cubicBezTo>
                      <a:pt x="6953" y="5715"/>
                      <a:pt x="9620" y="3620"/>
                      <a:pt x="13145" y="2191"/>
                    </a:cubicBezTo>
                    <a:cubicBezTo>
                      <a:pt x="16669" y="762"/>
                      <a:pt x="20955" y="0"/>
                      <a:pt x="25908" y="0"/>
                    </a:cubicBezTo>
                    <a:cubicBezTo>
                      <a:pt x="30861" y="0"/>
                      <a:pt x="35052" y="762"/>
                      <a:pt x="38958" y="2191"/>
                    </a:cubicBezTo>
                    <a:cubicBezTo>
                      <a:pt x="42863" y="3620"/>
                      <a:pt x="46196" y="5810"/>
                      <a:pt x="49054" y="8763"/>
                    </a:cubicBezTo>
                    <a:lnTo>
                      <a:pt x="41053" y="18002"/>
                    </a:lnTo>
                    <a:cubicBezTo>
                      <a:pt x="36766" y="13811"/>
                      <a:pt x="31814" y="11716"/>
                      <a:pt x="26098" y="11716"/>
                    </a:cubicBezTo>
                    <a:cubicBezTo>
                      <a:pt x="19908" y="11716"/>
                      <a:pt x="16859" y="13525"/>
                      <a:pt x="16859" y="17050"/>
                    </a:cubicBezTo>
                    <a:cubicBezTo>
                      <a:pt x="16859" y="18383"/>
                      <a:pt x="17240" y="19526"/>
                      <a:pt x="18098" y="20288"/>
                    </a:cubicBezTo>
                    <a:cubicBezTo>
                      <a:pt x="18955" y="21050"/>
                      <a:pt x="19908" y="21717"/>
                      <a:pt x="21241" y="22193"/>
                    </a:cubicBezTo>
                    <a:cubicBezTo>
                      <a:pt x="22574" y="22670"/>
                      <a:pt x="24384" y="23146"/>
                      <a:pt x="26861" y="23717"/>
                    </a:cubicBezTo>
                    <a:lnTo>
                      <a:pt x="29718" y="24384"/>
                    </a:lnTo>
                    <a:cubicBezTo>
                      <a:pt x="34195" y="25527"/>
                      <a:pt x="37815" y="26670"/>
                      <a:pt x="40767" y="28004"/>
                    </a:cubicBezTo>
                    <a:cubicBezTo>
                      <a:pt x="43720" y="29337"/>
                      <a:pt x="46006" y="31242"/>
                      <a:pt x="47911" y="33814"/>
                    </a:cubicBezTo>
                    <a:cubicBezTo>
                      <a:pt x="49816" y="36386"/>
                      <a:pt x="50768" y="39814"/>
                      <a:pt x="50768" y="44005"/>
                    </a:cubicBezTo>
                    <a:cubicBezTo>
                      <a:pt x="50768" y="47815"/>
                      <a:pt x="49816" y="51149"/>
                      <a:pt x="47816" y="54007"/>
                    </a:cubicBezTo>
                    <a:cubicBezTo>
                      <a:pt x="45815" y="56864"/>
                      <a:pt x="43053" y="58960"/>
                      <a:pt x="39243" y="60484"/>
                    </a:cubicBezTo>
                    <a:cubicBezTo>
                      <a:pt x="35433" y="62008"/>
                      <a:pt x="31052" y="62770"/>
                      <a:pt x="25813" y="62770"/>
                    </a:cubicBezTo>
                    <a:cubicBezTo>
                      <a:pt x="20574" y="62770"/>
                      <a:pt x="16002" y="62103"/>
                      <a:pt x="11906" y="60674"/>
                    </a:cubicBezTo>
                    <a:close/>
                  </a:path>
                </a:pathLst>
              </a:custGeom>
              <a:solidFill>
                <a:srgbClr val="231F20"/>
              </a:solidFill>
              <a:ln w="9525" cap="flat">
                <a:noFill/>
                <a:prstDash val="solid"/>
                <a:miter/>
              </a:ln>
            </p:spPr>
            <p:txBody>
              <a:bodyPr rtlCol="0" anchor="ctr"/>
              <a:lstStyle/>
              <a:p>
                <a:pPr marL="0" marR="0" lvl="0" indent="0" algn="l" defTabSz="913578" rtl="0" eaLnBrk="1" fontAlgn="auto" latinLnBrk="0" hangingPunct="1">
                  <a:lnSpc>
                    <a:spcPct val="100000"/>
                  </a:lnSpc>
                  <a:spcBef>
                    <a:spcPts val="0"/>
                  </a:spcBef>
                  <a:spcAft>
                    <a:spcPts val="0"/>
                  </a:spcAft>
                  <a:buClrTx/>
                  <a:buSzTx/>
                  <a:buFontTx/>
                  <a:buNone/>
                  <a:tabLst/>
                  <a:defRPr/>
                </a:pPr>
                <a:endParaRPr kumimoji="0" lang="en-US" sz="17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307" name="Freeform: Shape 132">
                <a:extLst>
                  <a:ext uri="{FF2B5EF4-FFF2-40B4-BE49-F238E27FC236}">
                    <a16:creationId xmlns:a16="http://schemas.microsoft.com/office/drawing/2014/main" id="{8F35044A-DB67-5986-4A47-D83669E70414}"/>
                  </a:ext>
                </a:extLst>
              </p:cNvPr>
              <p:cNvSpPr/>
              <p:nvPr/>
            </p:nvSpPr>
            <p:spPr>
              <a:xfrm>
                <a:off x="7518939" y="3925728"/>
                <a:ext cx="35814" cy="76104"/>
              </a:xfrm>
              <a:custGeom>
                <a:avLst/>
                <a:gdLst>
                  <a:gd name="connsiteX0" fmla="*/ 11620 w 35814"/>
                  <a:gd name="connsiteY0" fmla="*/ 71914 h 76104"/>
                  <a:gd name="connsiteX1" fmla="*/ 7620 w 35814"/>
                  <a:gd name="connsiteY1" fmla="*/ 59722 h 76104"/>
                  <a:gd name="connsiteX2" fmla="*/ 7620 w 35814"/>
                  <a:gd name="connsiteY2" fmla="*/ 26384 h 76104"/>
                  <a:gd name="connsiteX3" fmla="*/ 0 w 35814"/>
                  <a:gd name="connsiteY3" fmla="*/ 26384 h 76104"/>
                  <a:gd name="connsiteX4" fmla="*/ 0 w 35814"/>
                  <a:gd name="connsiteY4" fmla="*/ 14764 h 76104"/>
                  <a:gd name="connsiteX5" fmla="*/ 8382 w 35814"/>
                  <a:gd name="connsiteY5" fmla="*/ 14764 h 76104"/>
                  <a:gd name="connsiteX6" fmla="*/ 9144 w 35814"/>
                  <a:gd name="connsiteY6" fmla="*/ 1143 h 76104"/>
                  <a:gd name="connsiteX7" fmla="*/ 23050 w 35814"/>
                  <a:gd name="connsiteY7" fmla="*/ 0 h 76104"/>
                  <a:gd name="connsiteX8" fmla="*/ 23050 w 35814"/>
                  <a:gd name="connsiteY8" fmla="*/ 14764 h 76104"/>
                  <a:gd name="connsiteX9" fmla="*/ 35052 w 35814"/>
                  <a:gd name="connsiteY9" fmla="*/ 14764 h 76104"/>
                  <a:gd name="connsiteX10" fmla="*/ 35052 w 35814"/>
                  <a:gd name="connsiteY10" fmla="*/ 26384 h 76104"/>
                  <a:gd name="connsiteX11" fmla="*/ 23050 w 35814"/>
                  <a:gd name="connsiteY11" fmla="*/ 26384 h 76104"/>
                  <a:gd name="connsiteX12" fmla="*/ 23050 w 35814"/>
                  <a:gd name="connsiteY12" fmla="*/ 55531 h 76104"/>
                  <a:gd name="connsiteX13" fmla="*/ 24479 w 35814"/>
                  <a:gd name="connsiteY13" fmla="*/ 61246 h 76104"/>
                  <a:gd name="connsiteX14" fmla="*/ 28956 w 35814"/>
                  <a:gd name="connsiteY14" fmla="*/ 63055 h 76104"/>
                  <a:gd name="connsiteX15" fmla="*/ 34671 w 35814"/>
                  <a:gd name="connsiteY15" fmla="*/ 62389 h 76104"/>
                  <a:gd name="connsiteX16" fmla="*/ 35814 w 35814"/>
                  <a:gd name="connsiteY16" fmla="*/ 74295 h 76104"/>
                  <a:gd name="connsiteX17" fmla="*/ 23050 w 35814"/>
                  <a:gd name="connsiteY17" fmla="*/ 76105 h 76104"/>
                  <a:gd name="connsiteX18" fmla="*/ 11525 w 35814"/>
                  <a:gd name="connsiteY18" fmla="*/ 72009 h 76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5814" h="76104">
                    <a:moveTo>
                      <a:pt x="11620" y="71914"/>
                    </a:moveTo>
                    <a:cubicBezTo>
                      <a:pt x="8954" y="69152"/>
                      <a:pt x="7620" y="65151"/>
                      <a:pt x="7620" y="59722"/>
                    </a:cubicBezTo>
                    <a:lnTo>
                      <a:pt x="7620" y="26384"/>
                    </a:lnTo>
                    <a:lnTo>
                      <a:pt x="0" y="26384"/>
                    </a:lnTo>
                    <a:lnTo>
                      <a:pt x="0" y="14764"/>
                    </a:lnTo>
                    <a:lnTo>
                      <a:pt x="8382" y="14764"/>
                    </a:lnTo>
                    <a:lnTo>
                      <a:pt x="9144" y="1143"/>
                    </a:lnTo>
                    <a:lnTo>
                      <a:pt x="23050" y="0"/>
                    </a:lnTo>
                    <a:lnTo>
                      <a:pt x="23050" y="14764"/>
                    </a:lnTo>
                    <a:lnTo>
                      <a:pt x="35052" y="14764"/>
                    </a:lnTo>
                    <a:lnTo>
                      <a:pt x="35052" y="26384"/>
                    </a:lnTo>
                    <a:lnTo>
                      <a:pt x="23050" y="26384"/>
                    </a:lnTo>
                    <a:lnTo>
                      <a:pt x="23050" y="55531"/>
                    </a:lnTo>
                    <a:cubicBezTo>
                      <a:pt x="23050" y="58103"/>
                      <a:pt x="23526" y="60008"/>
                      <a:pt x="24479" y="61246"/>
                    </a:cubicBezTo>
                    <a:cubicBezTo>
                      <a:pt x="25432" y="62484"/>
                      <a:pt x="26861" y="63055"/>
                      <a:pt x="28956" y="63055"/>
                    </a:cubicBezTo>
                    <a:cubicBezTo>
                      <a:pt x="30575" y="63055"/>
                      <a:pt x="32480" y="62865"/>
                      <a:pt x="34671" y="62389"/>
                    </a:cubicBezTo>
                    <a:lnTo>
                      <a:pt x="35814" y="74295"/>
                    </a:lnTo>
                    <a:cubicBezTo>
                      <a:pt x="31528" y="75438"/>
                      <a:pt x="27337" y="76105"/>
                      <a:pt x="23050" y="76105"/>
                    </a:cubicBezTo>
                    <a:cubicBezTo>
                      <a:pt x="18002" y="76105"/>
                      <a:pt x="14192" y="74771"/>
                      <a:pt x="11525" y="72009"/>
                    </a:cubicBezTo>
                    <a:close/>
                  </a:path>
                </a:pathLst>
              </a:custGeom>
              <a:solidFill>
                <a:srgbClr val="231F20"/>
              </a:solidFill>
              <a:ln w="9525" cap="flat">
                <a:noFill/>
                <a:prstDash val="solid"/>
                <a:miter/>
              </a:ln>
            </p:spPr>
            <p:txBody>
              <a:bodyPr rtlCol="0" anchor="ctr"/>
              <a:lstStyle/>
              <a:p>
                <a:pPr marL="0" marR="0" lvl="0" indent="0" algn="l" defTabSz="913578" rtl="0" eaLnBrk="1" fontAlgn="auto" latinLnBrk="0" hangingPunct="1">
                  <a:lnSpc>
                    <a:spcPct val="100000"/>
                  </a:lnSpc>
                  <a:spcBef>
                    <a:spcPts val="0"/>
                  </a:spcBef>
                  <a:spcAft>
                    <a:spcPts val="0"/>
                  </a:spcAft>
                  <a:buClrTx/>
                  <a:buSzTx/>
                  <a:buFontTx/>
                  <a:buNone/>
                  <a:tabLst/>
                  <a:defRPr/>
                </a:pPr>
                <a:endParaRPr kumimoji="0" lang="en-US" sz="17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308" name="Freeform: Shape 133">
                <a:extLst>
                  <a:ext uri="{FF2B5EF4-FFF2-40B4-BE49-F238E27FC236}">
                    <a16:creationId xmlns:a16="http://schemas.microsoft.com/office/drawing/2014/main" id="{2B92811A-C45A-97CD-8D34-1416A89D128D}"/>
                  </a:ext>
                </a:extLst>
              </p:cNvPr>
              <p:cNvSpPr/>
              <p:nvPr/>
            </p:nvSpPr>
            <p:spPr>
              <a:xfrm>
                <a:off x="7560564" y="3939349"/>
                <a:ext cx="60864" cy="62674"/>
              </a:xfrm>
              <a:custGeom>
                <a:avLst/>
                <a:gdLst>
                  <a:gd name="connsiteX0" fmla="*/ 13906 w 60864"/>
                  <a:gd name="connsiteY0" fmla="*/ 58388 h 62674"/>
                  <a:gd name="connsiteX1" fmla="*/ 3524 w 60864"/>
                  <a:gd name="connsiteY1" fmla="*/ 47149 h 62674"/>
                  <a:gd name="connsiteX2" fmla="*/ 0 w 60864"/>
                  <a:gd name="connsiteY2" fmla="*/ 31147 h 62674"/>
                  <a:gd name="connsiteX3" fmla="*/ 3429 w 60864"/>
                  <a:gd name="connsiteY3" fmla="*/ 15431 h 62674"/>
                  <a:gd name="connsiteX4" fmla="*/ 13716 w 60864"/>
                  <a:gd name="connsiteY4" fmla="*/ 4191 h 62674"/>
                  <a:gd name="connsiteX5" fmla="*/ 30480 w 60864"/>
                  <a:gd name="connsiteY5" fmla="*/ 0 h 62674"/>
                  <a:gd name="connsiteX6" fmla="*/ 47720 w 60864"/>
                  <a:gd name="connsiteY6" fmla="*/ 4191 h 62674"/>
                  <a:gd name="connsiteX7" fmla="*/ 57721 w 60864"/>
                  <a:gd name="connsiteY7" fmla="*/ 15335 h 62674"/>
                  <a:gd name="connsiteX8" fmla="*/ 60865 w 60864"/>
                  <a:gd name="connsiteY8" fmla="*/ 31242 h 62674"/>
                  <a:gd name="connsiteX9" fmla="*/ 57341 w 60864"/>
                  <a:gd name="connsiteY9" fmla="*/ 47244 h 62674"/>
                  <a:gd name="connsiteX10" fmla="*/ 46958 w 60864"/>
                  <a:gd name="connsiteY10" fmla="*/ 58484 h 62674"/>
                  <a:gd name="connsiteX11" fmla="*/ 30194 w 60864"/>
                  <a:gd name="connsiteY11" fmla="*/ 62675 h 62674"/>
                  <a:gd name="connsiteX12" fmla="*/ 13906 w 60864"/>
                  <a:gd name="connsiteY12" fmla="*/ 58579 h 62674"/>
                  <a:gd name="connsiteX13" fmla="*/ 40767 w 60864"/>
                  <a:gd name="connsiteY13" fmla="*/ 45149 h 62674"/>
                  <a:gd name="connsiteX14" fmla="*/ 44482 w 60864"/>
                  <a:gd name="connsiteY14" fmla="*/ 31052 h 62674"/>
                  <a:gd name="connsiteX15" fmla="*/ 40957 w 60864"/>
                  <a:gd name="connsiteY15" fmla="*/ 17145 h 62674"/>
                  <a:gd name="connsiteX16" fmla="*/ 30766 w 60864"/>
                  <a:gd name="connsiteY16" fmla="*/ 12287 h 62674"/>
                  <a:gd name="connsiteX17" fmla="*/ 20193 w 60864"/>
                  <a:gd name="connsiteY17" fmla="*/ 17145 h 62674"/>
                  <a:gd name="connsiteX18" fmla="*/ 16478 w 60864"/>
                  <a:gd name="connsiteY18" fmla="*/ 31052 h 62674"/>
                  <a:gd name="connsiteX19" fmla="*/ 18192 w 60864"/>
                  <a:gd name="connsiteY19" fmla="*/ 41339 h 62674"/>
                  <a:gd name="connsiteX20" fmla="*/ 22955 w 60864"/>
                  <a:gd name="connsiteY20" fmla="*/ 47816 h 62674"/>
                  <a:gd name="connsiteX21" fmla="*/ 30099 w 60864"/>
                  <a:gd name="connsiteY21" fmla="*/ 50006 h 62674"/>
                  <a:gd name="connsiteX22" fmla="*/ 40767 w 60864"/>
                  <a:gd name="connsiteY22" fmla="*/ 45053 h 626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60864" h="62674">
                    <a:moveTo>
                      <a:pt x="13906" y="58388"/>
                    </a:moveTo>
                    <a:cubicBezTo>
                      <a:pt x="9334" y="55626"/>
                      <a:pt x="5905" y="51911"/>
                      <a:pt x="3524" y="47149"/>
                    </a:cubicBezTo>
                    <a:cubicBezTo>
                      <a:pt x="1143" y="42386"/>
                      <a:pt x="0" y="37052"/>
                      <a:pt x="0" y="31147"/>
                    </a:cubicBezTo>
                    <a:cubicBezTo>
                      <a:pt x="0" y="25241"/>
                      <a:pt x="1143" y="20098"/>
                      <a:pt x="3429" y="15431"/>
                    </a:cubicBezTo>
                    <a:cubicBezTo>
                      <a:pt x="5715" y="10763"/>
                      <a:pt x="9144" y="6953"/>
                      <a:pt x="13716" y="4191"/>
                    </a:cubicBezTo>
                    <a:cubicBezTo>
                      <a:pt x="18288" y="1429"/>
                      <a:pt x="23908" y="0"/>
                      <a:pt x="30480" y="0"/>
                    </a:cubicBezTo>
                    <a:cubicBezTo>
                      <a:pt x="37433" y="0"/>
                      <a:pt x="43148" y="1429"/>
                      <a:pt x="47720" y="4191"/>
                    </a:cubicBezTo>
                    <a:cubicBezTo>
                      <a:pt x="52292" y="6953"/>
                      <a:pt x="55531" y="10668"/>
                      <a:pt x="57721" y="15335"/>
                    </a:cubicBezTo>
                    <a:cubicBezTo>
                      <a:pt x="59912" y="20003"/>
                      <a:pt x="60865" y="25337"/>
                      <a:pt x="60865" y="31242"/>
                    </a:cubicBezTo>
                    <a:cubicBezTo>
                      <a:pt x="60865" y="37148"/>
                      <a:pt x="59722" y="42482"/>
                      <a:pt x="57341" y="47244"/>
                    </a:cubicBezTo>
                    <a:cubicBezTo>
                      <a:pt x="54959" y="52007"/>
                      <a:pt x="51530" y="55721"/>
                      <a:pt x="46958" y="58484"/>
                    </a:cubicBezTo>
                    <a:cubicBezTo>
                      <a:pt x="42386" y="61246"/>
                      <a:pt x="36766" y="62675"/>
                      <a:pt x="30194" y="62675"/>
                    </a:cubicBezTo>
                    <a:cubicBezTo>
                      <a:pt x="23622" y="62675"/>
                      <a:pt x="18383" y="61341"/>
                      <a:pt x="13906" y="58579"/>
                    </a:cubicBezTo>
                    <a:close/>
                    <a:moveTo>
                      <a:pt x="40767" y="45149"/>
                    </a:moveTo>
                    <a:cubicBezTo>
                      <a:pt x="43243" y="41910"/>
                      <a:pt x="44482" y="37148"/>
                      <a:pt x="44482" y="31052"/>
                    </a:cubicBezTo>
                    <a:cubicBezTo>
                      <a:pt x="44482" y="24956"/>
                      <a:pt x="43339" y="20384"/>
                      <a:pt x="40957" y="17145"/>
                    </a:cubicBezTo>
                    <a:cubicBezTo>
                      <a:pt x="38576" y="13907"/>
                      <a:pt x="35243" y="12287"/>
                      <a:pt x="30766" y="12287"/>
                    </a:cubicBezTo>
                    <a:cubicBezTo>
                      <a:pt x="26289" y="12287"/>
                      <a:pt x="22574" y="13907"/>
                      <a:pt x="20193" y="17145"/>
                    </a:cubicBezTo>
                    <a:cubicBezTo>
                      <a:pt x="17812" y="20384"/>
                      <a:pt x="16478" y="25051"/>
                      <a:pt x="16478" y="31052"/>
                    </a:cubicBezTo>
                    <a:cubicBezTo>
                      <a:pt x="16478" y="35052"/>
                      <a:pt x="17050" y="38481"/>
                      <a:pt x="18192" y="41339"/>
                    </a:cubicBezTo>
                    <a:cubicBezTo>
                      <a:pt x="19335" y="44196"/>
                      <a:pt x="20955" y="46387"/>
                      <a:pt x="22955" y="47816"/>
                    </a:cubicBezTo>
                    <a:cubicBezTo>
                      <a:pt x="24955" y="49244"/>
                      <a:pt x="27337" y="50006"/>
                      <a:pt x="30099" y="50006"/>
                    </a:cubicBezTo>
                    <a:cubicBezTo>
                      <a:pt x="34766" y="50006"/>
                      <a:pt x="38291" y="48387"/>
                      <a:pt x="40767" y="45053"/>
                    </a:cubicBezTo>
                    <a:close/>
                  </a:path>
                </a:pathLst>
              </a:custGeom>
              <a:solidFill>
                <a:srgbClr val="231F20"/>
              </a:solidFill>
              <a:ln w="9525" cap="flat">
                <a:noFill/>
                <a:prstDash val="solid"/>
                <a:miter/>
              </a:ln>
            </p:spPr>
            <p:txBody>
              <a:bodyPr rtlCol="0" anchor="ctr"/>
              <a:lstStyle/>
              <a:p>
                <a:pPr marL="0" marR="0" lvl="0" indent="0" algn="l" defTabSz="913578" rtl="0" eaLnBrk="1" fontAlgn="auto" latinLnBrk="0" hangingPunct="1">
                  <a:lnSpc>
                    <a:spcPct val="100000"/>
                  </a:lnSpc>
                  <a:spcBef>
                    <a:spcPts val="0"/>
                  </a:spcBef>
                  <a:spcAft>
                    <a:spcPts val="0"/>
                  </a:spcAft>
                  <a:buClrTx/>
                  <a:buSzTx/>
                  <a:buFontTx/>
                  <a:buNone/>
                  <a:tabLst/>
                  <a:defRPr/>
                </a:pPr>
                <a:endParaRPr kumimoji="0" lang="en-US" sz="17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309" name="Freeform: Shape 134">
                <a:extLst>
                  <a:ext uri="{FF2B5EF4-FFF2-40B4-BE49-F238E27FC236}">
                    <a16:creationId xmlns:a16="http://schemas.microsoft.com/office/drawing/2014/main" id="{84EACCEA-A0E7-9E2B-8479-850B217AE5EB}"/>
                  </a:ext>
                </a:extLst>
              </p:cNvPr>
              <p:cNvSpPr/>
              <p:nvPr/>
            </p:nvSpPr>
            <p:spPr>
              <a:xfrm>
                <a:off x="7633620" y="3939254"/>
                <a:ext cx="87058" cy="61721"/>
              </a:xfrm>
              <a:custGeom>
                <a:avLst/>
                <a:gdLst>
                  <a:gd name="connsiteX0" fmla="*/ 381 w 87058"/>
                  <a:gd name="connsiteY0" fmla="*/ 14668 h 61721"/>
                  <a:gd name="connsiteX1" fmla="*/ 286 w 87058"/>
                  <a:gd name="connsiteY1" fmla="*/ 6763 h 61721"/>
                  <a:gd name="connsiteX2" fmla="*/ 0 w 87058"/>
                  <a:gd name="connsiteY2" fmla="*/ 1238 h 61721"/>
                  <a:gd name="connsiteX3" fmla="*/ 14954 w 87058"/>
                  <a:gd name="connsiteY3" fmla="*/ 1238 h 61721"/>
                  <a:gd name="connsiteX4" fmla="*/ 15430 w 87058"/>
                  <a:gd name="connsiteY4" fmla="*/ 6191 h 61721"/>
                  <a:gd name="connsiteX5" fmla="*/ 15716 w 87058"/>
                  <a:gd name="connsiteY5" fmla="*/ 12097 h 61721"/>
                  <a:gd name="connsiteX6" fmla="*/ 15907 w 87058"/>
                  <a:gd name="connsiteY6" fmla="*/ 12097 h 61721"/>
                  <a:gd name="connsiteX7" fmla="*/ 23146 w 87058"/>
                  <a:gd name="connsiteY7" fmla="*/ 2953 h 61721"/>
                  <a:gd name="connsiteX8" fmla="*/ 33528 w 87058"/>
                  <a:gd name="connsiteY8" fmla="*/ 0 h 61721"/>
                  <a:gd name="connsiteX9" fmla="*/ 44577 w 87058"/>
                  <a:gd name="connsiteY9" fmla="*/ 3143 h 61721"/>
                  <a:gd name="connsiteX10" fmla="*/ 50292 w 87058"/>
                  <a:gd name="connsiteY10" fmla="*/ 12192 h 61721"/>
                  <a:gd name="connsiteX11" fmla="*/ 50673 w 87058"/>
                  <a:gd name="connsiteY11" fmla="*/ 12192 h 61721"/>
                  <a:gd name="connsiteX12" fmla="*/ 58103 w 87058"/>
                  <a:gd name="connsiteY12" fmla="*/ 2857 h 61721"/>
                  <a:gd name="connsiteX13" fmla="*/ 68961 w 87058"/>
                  <a:gd name="connsiteY13" fmla="*/ 95 h 61721"/>
                  <a:gd name="connsiteX14" fmla="*/ 82677 w 87058"/>
                  <a:gd name="connsiteY14" fmla="*/ 6477 h 61721"/>
                  <a:gd name="connsiteX15" fmla="*/ 87059 w 87058"/>
                  <a:gd name="connsiteY15" fmla="*/ 23431 h 61721"/>
                  <a:gd name="connsiteX16" fmla="*/ 87059 w 87058"/>
                  <a:gd name="connsiteY16" fmla="*/ 61722 h 61721"/>
                  <a:gd name="connsiteX17" fmla="*/ 71533 w 87058"/>
                  <a:gd name="connsiteY17" fmla="*/ 61722 h 61721"/>
                  <a:gd name="connsiteX18" fmla="*/ 71533 w 87058"/>
                  <a:gd name="connsiteY18" fmla="*/ 27908 h 61721"/>
                  <a:gd name="connsiteX19" fmla="*/ 69532 w 87058"/>
                  <a:gd name="connsiteY19" fmla="*/ 17431 h 61721"/>
                  <a:gd name="connsiteX20" fmla="*/ 62865 w 87058"/>
                  <a:gd name="connsiteY20" fmla="*/ 13716 h 61721"/>
                  <a:gd name="connsiteX21" fmla="*/ 57245 w 87058"/>
                  <a:gd name="connsiteY21" fmla="*/ 15621 h 61721"/>
                  <a:gd name="connsiteX22" fmla="*/ 53245 w 87058"/>
                  <a:gd name="connsiteY22" fmla="*/ 20860 h 61721"/>
                  <a:gd name="connsiteX23" fmla="*/ 51625 w 87058"/>
                  <a:gd name="connsiteY23" fmla="*/ 28575 h 61721"/>
                  <a:gd name="connsiteX24" fmla="*/ 51625 w 87058"/>
                  <a:gd name="connsiteY24" fmla="*/ 61722 h 61721"/>
                  <a:gd name="connsiteX25" fmla="*/ 36100 w 87058"/>
                  <a:gd name="connsiteY25" fmla="*/ 61722 h 61721"/>
                  <a:gd name="connsiteX26" fmla="*/ 36100 w 87058"/>
                  <a:gd name="connsiteY26" fmla="*/ 27908 h 61721"/>
                  <a:gd name="connsiteX27" fmla="*/ 34100 w 87058"/>
                  <a:gd name="connsiteY27" fmla="*/ 17431 h 61721"/>
                  <a:gd name="connsiteX28" fmla="*/ 27432 w 87058"/>
                  <a:gd name="connsiteY28" fmla="*/ 13716 h 61721"/>
                  <a:gd name="connsiteX29" fmla="*/ 21717 w 87058"/>
                  <a:gd name="connsiteY29" fmla="*/ 15716 h 61721"/>
                  <a:gd name="connsiteX30" fmla="*/ 17716 w 87058"/>
                  <a:gd name="connsiteY30" fmla="*/ 21241 h 61721"/>
                  <a:gd name="connsiteX31" fmla="*/ 16288 w 87058"/>
                  <a:gd name="connsiteY31" fmla="*/ 29337 h 61721"/>
                  <a:gd name="connsiteX32" fmla="*/ 16288 w 87058"/>
                  <a:gd name="connsiteY32" fmla="*/ 61722 h 61721"/>
                  <a:gd name="connsiteX33" fmla="*/ 571 w 87058"/>
                  <a:gd name="connsiteY33" fmla="*/ 61722 h 61721"/>
                  <a:gd name="connsiteX34" fmla="*/ 571 w 87058"/>
                  <a:gd name="connsiteY34" fmla="*/ 14859 h 617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87058" h="61721">
                    <a:moveTo>
                      <a:pt x="381" y="14668"/>
                    </a:moveTo>
                    <a:cubicBezTo>
                      <a:pt x="381" y="12097"/>
                      <a:pt x="381" y="9430"/>
                      <a:pt x="286" y="6763"/>
                    </a:cubicBezTo>
                    <a:cubicBezTo>
                      <a:pt x="191" y="4096"/>
                      <a:pt x="95" y="2191"/>
                      <a:pt x="0" y="1238"/>
                    </a:cubicBezTo>
                    <a:lnTo>
                      <a:pt x="14954" y="1238"/>
                    </a:lnTo>
                    <a:cubicBezTo>
                      <a:pt x="15145" y="2096"/>
                      <a:pt x="15240" y="3715"/>
                      <a:pt x="15430" y="6191"/>
                    </a:cubicBezTo>
                    <a:cubicBezTo>
                      <a:pt x="15621" y="8668"/>
                      <a:pt x="15716" y="10668"/>
                      <a:pt x="15716" y="12097"/>
                    </a:cubicBezTo>
                    <a:lnTo>
                      <a:pt x="15907" y="12097"/>
                    </a:lnTo>
                    <a:cubicBezTo>
                      <a:pt x="17812" y="8001"/>
                      <a:pt x="20193" y="4953"/>
                      <a:pt x="23146" y="2953"/>
                    </a:cubicBezTo>
                    <a:cubicBezTo>
                      <a:pt x="26098" y="953"/>
                      <a:pt x="29528" y="0"/>
                      <a:pt x="33528" y="0"/>
                    </a:cubicBezTo>
                    <a:cubicBezTo>
                      <a:pt x="38100" y="0"/>
                      <a:pt x="41720" y="1048"/>
                      <a:pt x="44577" y="3143"/>
                    </a:cubicBezTo>
                    <a:cubicBezTo>
                      <a:pt x="47434" y="5239"/>
                      <a:pt x="49339" y="8191"/>
                      <a:pt x="50292" y="12192"/>
                    </a:cubicBezTo>
                    <a:lnTo>
                      <a:pt x="50673" y="12192"/>
                    </a:lnTo>
                    <a:cubicBezTo>
                      <a:pt x="52674" y="7811"/>
                      <a:pt x="55245" y="4667"/>
                      <a:pt x="58103" y="2857"/>
                    </a:cubicBezTo>
                    <a:cubicBezTo>
                      <a:pt x="60960" y="1048"/>
                      <a:pt x="64675" y="95"/>
                      <a:pt x="68961" y="95"/>
                    </a:cubicBezTo>
                    <a:cubicBezTo>
                      <a:pt x="75248" y="95"/>
                      <a:pt x="79820" y="2191"/>
                      <a:pt x="82677" y="6477"/>
                    </a:cubicBezTo>
                    <a:cubicBezTo>
                      <a:pt x="85534" y="10763"/>
                      <a:pt x="87059" y="16383"/>
                      <a:pt x="87059" y="23431"/>
                    </a:cubicBezTo>
                    <a:lnTo>
                      <a:pt x="87059" y="61722"/>
                    </a:lnTo>
                    <a:lnTo>
                      <a:pt x="71533" y="61722"/>
                    </a:lnTo>
                    <a:lnTo>
                      <a:pt x="71533" y="27908"/>
                    </a:lnTo>
                    <a:cubicBezTo>
                      <a:pt x="71533" y="23336"/>
                      <a:pt x="70866" y="19907"/>
                      <a:pt x="69532" y="17431"/>
                    </a:cubicBezTo>
                    <a:cubicBezTo>
                      <a:pt x="68199" y="14954"/>
                      <a:pt x="66008" y="13716"/>
                      <a:pt x="62865" y="13716"/>
                    </a:cubicBezTo>
                    <a:cubicBezTo>
                      <a:pt x="60770" y="13716"/>
                      <a:pt x="58864" y="14383"/>
                      <a:pt x="57245" y="15621"/>
                    </a:cubicBezTo>
                    <a:cubicBezTo>
                      <a:pt x="55626" y="16859"/>
                      <a:pt x="54197" y="18574"/>
                      <a:pt x="53245" y="20860"/>
                    </a:cubicBezTo>
                    <a:cubicBezTo>
                      <a:pt x="52292" y="23146"/>
                      <a:pt x="51721" y="25717"/>
                      <a:pt x="51625" y="28575"/>
                    </a:cubicBezTo>
                    <a:lnTo>
                      <a:pt x="51625" y="61722"/>
                    </a:lnTo>
                    <a:lnTo>
                      <a:pt x="36100" y="61722"/>
                    </a:lnTo>
                    <a:lnTo>
                      <a:pt x="36100" y="27908"/>
                    </a:lnTo>
                    <a:cubicBezTo>
                      <a:pt x="36100" y="23336"/>
                      <a:pt x="35433" y="19907"/>
                      <a:pt x="34100" y="17431"/>
                    </a:cubicBezTo>
                    <a:cubicBezTo>
                      <a:pt x="32766" y="14954"/>
                      <a:pt x="30575" y="13716"/>
                      <a:pt x="27432" y="13716"/>
                    </a:cubicBezTo>
                    <a:cubicBezTo>
                      <a:pt x="25337" y="13716"/>
                      <a:pt x="23432" y="14383"/>
                      <a:pt x="21717" y="15716"/>
                    </a:cubicBezTo>
                    <a:cubicBezTo>
                      <a:pt x="20003" y="17050"/>
                      <a:pt x="18669" y="18859"/>
                      <a:pt x="17716" y="21241"/>
                    </a:cubicBezTo>
                    <a:cubicBezTo>
                      <a:pt x="16764" y="23622"/>
                      <a:pt x="16288" y="26289"/>
                      <a:pt x="16288" y="29337"/>
                    </a:cubicBezTo>
                    <a:lnTo>
                      <a:pt x="16288" y="61722"/>
                    </a:lnTo>
                    <a:lnTo>
                      <a:pt x="571" y="61722"/>
                    </a:lnTo>
                    <a:lnTo>
                      <a:pt x="571" y="14859"/>
                    </a:lnTo>
                    <a:close/>
                  </a:path>
                </a:pathLst>
              </a:custGeom>
              <a:solidFill>
                <a:srgbClr val="231F20"/>
              </a:solidFill>
              <a:ln w="9525" cap="flat">
                <a:noFill/>
                <a:prstDash val="solid"/>
                <a:miter/>
              </a:ln>
            </p:spPr>
            <p:txBody>
              <a:bodyPr rtlCol="0" anchor="ctr"/>
              <a:lstStyle/>
              <a:p>
                <a:pPr marL="0" marR="0" lvl="0" indent="0" algn="l" defTabSz="913578" rtl="0" eaLnBrk="1" fontAlgn="auto" latinLnBrk="0" hangingPunct="1">
                  <a:lnSpc>
                    <a:spcPct val="100000"/>
                  </a:lnSpc>
                  <a:spcBef>
                    <a:spcPts val="0"/>
                  </a:spcBef>
                  <a:spcAft>
                    <a:spcPts val="0"/>
                  </a:spcAft>
                  <a:buClrTx/>
                  <a:buSzTx/>
                  <a:buFontTx/>
                  <a:buNone/>
                  <a:tabLst/>
                  <a:defRPr/>
                </a:pPr>
                <a:endParaRPr kumimoji="0" lang="en-US" sz="17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310" name="Freeform: Shape 135">
                <a:extLst>
                  <a:ext uri="{FF2B5EF4-FFF2-40B4-BE49-F238E27FC236}">
                    <a16:creationId xmlns:a16="http://schemas.microsoft.com/office/drawing/2014/main" id="{D8892F16-7371-267D-D523-8A680A051559}"/>
                  </a:ext>
                </a:extLst>
              </p:cNvPr>
              <p:cNvSpPr/>
              <p:nvPr/>
            </p:nvSpPr>
            <p:spPr>
              <a:xfrm>
                <a:off x="7732109" y="3939254"/>
                <a:ext cx="55244" cy="62769"/>
              </a:xfrm>
              <a:custGeom>
                <a:avLst/>
                <a:gdLst>
                  <a:gd name="connsiteX0" fmla="*/ 7715 w 55244"/>
                  <a:gd name="connsiteY0" fmla="*/ 54769 h 62769"/>
                  <a:gd name="connsiteX1" fmla="*/ 0 w 55244"/>
                  <a:gd name="connsiteY1" fmla="*/ 31242 h 62769"/>
                  <a:gd name="connsiteX2" fmla="*/ 3810 w 55244"/>
                  <a:gd name="connsiteY2" fmla="*/ 13716 h 62769"/>
                  <a:gd name="connsiteX3" fmla="*/ 14097 w 55244"/>
                  <a:gd name="connsiteY3" fmla="*/ 3334 h 62769"/>
                  <a:gd name="connsiteX4" fmla="*/ 28480 w 55244"/>
                  <a:gd name="connsiteY4" fmla="*/ 0 h 62769"/>
                  <a:gd name="connsiteX5" fmla="*/ 43719 w 55244"/>
                  <a:gd name="connsiteY5" fmla="*/ 4000 h 62769"/>
                  <a:gd name="connsiteX6" fmla="*/ 52483 w 55244"/>
                  <a:gd name="connsiteY6" fmla="*/ 14478 h 62769"/>
                  <a:gd name="connsiteX7" fmla="*/ 55245 w 55244"/>
                  <a:gd name="connsiteY7" fmla="*/ 29146 h 62769"/>
                  <a:gd name="connsiteX8" fmla="*/ 54864 w 55244"/>
                  <a:gd name="connsiteY8" fmla="*/ 35433 h 62769"/>
                  <a:gd name="connsiteX9" fmla="*/ 16478 w 55244"/>
                  <a:gd name="connsiteY9" fmla="*/ 35433 h 62769"/>
                  <a:gd name="connsiteX10" fmla="*/ 19812 w 55244"/>
                  <a:gd name="connsiteY10" fmla="*/ 46577 h 62769"/>
                  <a:gd name="connsiteX11" fmla="*/ 30194 w 55244"/>
                  <a:gd name="connsiteY11" fmla="*/ 50673 h 62769"/>
                  <a:gd name="connsiteX12" fmla="*/ 35909 w 55244"/>
                  <a:gd name="connsiteY12" fmla="*/ 50006 h 62769"/>
                  <a:gd name="connsiteX13" fmla="*/ 40957 w 55244"/>
                  <a:gd name="connsiteY13" fmla="*/ 48006 h 62769"/>
                  <a:gd name="connsiteX14" fmla="*/ 46958 w 55244"/>
                  <a:gd name="connsiteY14" fmla="*/ 44196 h 62769"/>
                  <a:gd name="connsiteX15" fmla="*/ 53340 w 55244"/>
                  <a:gd name="connsiteY15" fmla="*/ 54388 h 62769"/>
                  <a:gd name="connsiteX16" fmla="*/ 42672 w 55244"/>
                  <a:gd name="connsiteY16" fmla="*/ 60579 h 62769"/>
                  <a:gd name="connsiteX17" fmla="*/ 29432 w 55244"/>
                  <a:gd name="connsiteY17" fmla="*/ 62770 h 62769"/>
                  <a:gd name="connsiteX18" fmla="*/ 7811 w 55244"/>
                  <a:gd name="connsiteY18" fmla="*/ 54864 h 62769"/>
                  <a:gd name="connsiteX19" fmla="*/ 40005 w 55244"/>
                  <a:gd name="connsiteY19" fmla="*/ 24765 h 62769"/>
                  <a:gd name="connsiteX20" fmla="*/ 36862 w 55244"/>
                  <a:gd name="connsiteY20" fmla="*/ 14764 h 62769"/>
                  <a:gd name="connsiteX21" fmla="*/ 28384 w 55244"/>
                  <a:gd name="connsiteY21" fmla="*/ 11525 h 62769"/>
                  <a:gd name="connsiteX22" fmla="*/ 20002 w 55244"/>
                  <a:gd name="connsiteY22" fmla="*/ 14764 h 62769"/>
                  <a:gd name="connsiteX23" fmla="*/ 16669 w 55244"/>
                  <a:gd name="connsiteY23" fmla="*/ 24765 h 62769"/>
                  <a:gd name="connsiteX24" fmla="*/ 40100 w 55244"/>
                  <a:gd name="connsiteY24" fmla="*/ 24765 h 62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55244" h="62769">
                    <a:moveTo>
                      <a:pt x="7715" y="54769"/>
                    </a:moveTo>
                    <a:cubicBezTo>
                      <a:pt x="2571" y="49530"/>
                      <a:pt x="0" y="41624"/>
                      <a:pt x="0" y="31242"/>
                    </a:cubicBezTo>
                    <a:cubicBezTo>
                      <a:pt x="0" y="24289"/>
                      <a:pt x="1238" y="18383"/>
                      <a:pt x="3810" y="13716"/>
                    </a:cubicBezTo>
                    <a:cubicBezTo>
                      <a:pt x="6382" y="9049"/>
                      <a:pt x="9810" y="5620"/>
                      <a:pt x="14097" y="3334"/>
                    </a:cubicBezTo>
                    <a:cubicBezTo>
                      <a:pt x="18383" y="1048"/>
                      <a:pt x="23146" y="0"/>
                      <a:pt x="28480" y="0"/>
                    </a:cubicBezTo>
                    <a:cubicBezTo>
                      <a:pt x="34576" y="0"/>
                      <a:pt x="39719" y="1333"/>
                      <a:pt x="43719" y="4000"/>
                    </a:cubicBezTo>
                    <a:cubicBezTo>
                      <a:pt x="47720" y="6667"/>
                      <a:pt x="50673" y="10192"/>
                      <a:pt x="52483" y="14478"/>
                    </a:cubicBezTo>
                    <a:cubicBezTo>
                      <a:pt x="54292" y="18764"/>
                      <a:pt x="55245" y="23717"/>
                      <a:pt x="55245" y="29146"/>
                    </a:cubicBezTo>
                    <a:cubicBezTo>
                      <a:pt x="55245" y="31242"/>
                      <a:pt x="55150" y="33338"/>
                      <a:pt x="54864" y="35433"/>
                    </a:cubicBezTo>
                    <a:lnTo>
                      <a:pt x="16478" y="35433"/>
                    </a:lnTo>
                    <a:cubicBezTo>
                      <a:pt x="16478" y="40100"/>
                      <a:pt x="17621" y="43815"/>
                      <a:pt x="19812" y="46577"/>
                    </a:cubicBezTo>
                    <a:cubicBezTo>
                      <a:pt x="22003" y="49339"/>
                      <a:pt x="25527" y="50673"/>
                      <a:pt x="30194" y="50673"/>
                    </a:cubicBezTo>
                    <a:cubicBezTo>
                      <a:pt x="32289" y="50673"/>
                      <a:pt x="34194" y="50482"/>
                      <a:pt x="35909" y="50006"/>
                    </a:cubicBezTo>
                    <a:cubicBezTo>
                      <a:pt x="37623" y="49530"/>
                      <a:pt x="39338" y="48863"/>
                      <a:pt x="40957" y="48006"/>
                    </a:cubicBezTo>
                    <a:cubicBezTo>
                      <a:pt x="42576" y="47149"/>
                      <a:pt x="44577" y="45815"/>
                      <a:pt x="46958" y="44196"/>
                    </a:cubicBezTo>
                    <a:lnTo>
                      <a:pt x="53340" y="54388"/>
                    </a:lnTo>
                    <a:cubicBezTo>
                      <a:pt x="49816" y="57055"/>
                      <a:pt x="46196" y="59150"/>
                      <a:pt x="42672" y="60579"/>
                    </a:cubicBezTo>
                    <a:cubicBezTo>
                      <a:pt x="39148" y="62008"/>
                      <a:pt x="34671" y="62770"/>
                      <a:pt x="29432" y="62770"/>
                    </a:cubicBezTo>
                    <a:cubicBezTo>
                      <a:pt x="20193" y="62770"/>
                      <a:pt x="12954" y="60103"/>
                      <a:pt x="7811" y="54864"/>
                    </a:cubicBezTo>
                    <a:close/>
                    <a:moveTo>
                      <a:pt x="40005" y="24765"/>
                    </a:moveTo>
                    <a:cubicBezTo>
                      <a:pt x="39814" y="20193"/>
                      <a:pt x="38767" y="16859"/>
                      <a:pt x="36862" y="14764"/>
                    </a:cubicBezTo>
                    <a:cubicBezTo>
                      <a:pt x="34957" y="12668"/>
                      <a:pt x="32099" y="11525"/>
                      <a:pt x="28384" y="11525"/>
                    </a:cubicBezTo>
                    <a:cubicBezTo>
                      <a:pt x="24669" y="11525"/>
                      <a:pt x="22098" y="12573"/>
                      <a:pt x="20002" y="14764"/>
                    </a:cubicBezTo>
                    <a:cubicBezTo>
                      <a:pt x="17907" y="16954"/>
                      <a:pt x="16764" y="20288"/>
                      <a:pt x="16669" y="24765"/>
                    </a:cubicBezTo>
                    <a:lnTo>
                      <a:pt x="40100" y="24765"/>
                    </a:lnTo>
                    <a:close/>
                  </a:path>
                </a:pathLst>
              </a:custGeom>
              <a:solidFill>
                <a:srgbClr val="231F20"/>
              </a:solidFill>
              <a:ln w="9525" cap="flat">
                <a:noFill/>
                <a:prstDash val="solid"/>
                <a:miter/>
              </a:ln>
            </p:spPr>
            <p:txBody>
              <a:bodyPr rtlCol="0" anchor="ctr"/>
              <a:lstStyle/>
              <a:p>
                <a:pPr marL="0" marR="0" lvl="0" indent="0" algn="l" defTabSz="913578" rtl="0" eaLnBrk="1" fontAlgn="auto" latinLnBrk="0" hangingPunct="1">
                  <a:lnSpc>
                    <a:spcPct val="100000"/>
                  </a:lnSpc>
                  <a:spcBef>
                    <a:spcPts val="0"/>
                  </a:spcBef>
                  <a:spcAft>
                    <a:spcPts val="0"/>
                  </a:spcAft>
                  <a:buClrTx/>
                  <a:buSzTx/>
                  <a:buFontTx/>
                  <a:buNone/>
                  <a:tabLst/>
                  <a:defRPr/>
                </a:pPr>
                <a:endParaRPr kumimoji="0" lang="en-US" sz="17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311" name="Freeform: Shape 136">
                <a:extLst>
                  <a:ext uri="{FF2B5EF4-FFF2-40B4-BE49-F238E27FC236}">
                    <a16:creationId xmlns:a16="http://schemas.microsoft.com/office/drawing/2014/main" id="{19DF3851-3B1C-5C04-B533-1BF449A59022}"/>
                  </a:ext>
                </a:extLst>
              </p:cNvPr>
              <p:cNvSpPr/>
              <p:nvPr/>
            </p:nvSpPr>
            <p:spPr>
              <a:xfrm>
                <a:off x="7798784" y="3939063"/>
                <a:ext cx="35242" cy="61722"/>
              </a:xfrm>
              <a:custGeom>
                <a:avLst/>
                <a:gdLst>
                  <a:gd name="connsiteX0" fmla="*/ 381 w 35242"/>
                  <a:gd name="connsiteY0" fmla="*/ 15526 h 61722"/>
                  <a:gd name="connsiteX1" fmla="*/ 285 w 35242"/>
                  <a:gd name="connsiteY1" fmla="*/ 7144 h 61722"/>
                  <a:gd name="connsiteX2" fmla="*/ 0 w 35242"/>
                  <a:gd name="connsiteY2" fmla="*/ 1334 h 61722"/>
                  <a:gd name="connsiteX3" fmla="*/ 14954 w 35242"/>
                  <a:gd name="connsiteY3" fmla="*/ 1334 h 61722"/>
                  <a:gd name="connsiteX4" fmla="*/ 15430 w 35242"/>
                  <a:gd name="connsiteY4" fmla="*/ 6096 h 61722"/>
                  <a:gd name="connsiteX5" fmla="*/ 15716 w 35242"/>
                  <a:gd name="connsiteY5" fmla="*/ 11811 h 61722"/>
                  <a:gd name="connsiteX6" fmla="*/ 15907 w 35242"/>
                  <a:gd name="connsiteY6" fmla="*/ 11811 h 61722"/>
                  <a:gd name="connsiteX7" fmla="*/ 19335 w 35242"/>
                  <a:gd name="connsiteY7" fmla="*/ 5144 h 61722"/>
                  <a:gd name="connsiteX8" fmla="*/ 23526 w 35242"/>
                  <a:gd name="connsiteY8" fmla="*/ 1334 h 61722"/>
                  <a:gd name="connsiteX9" fmla="*/ 30194 w 35242"/>
                  <a:gd name="connsiteY9" fmla="*/ 0 h 61722"/>
                  <a:gd name="connsiteX10" fmla="*/ 33147 w 35242"/>
                  <a:gd name="connsiteY10" fmla="*/ 286 h 61722"/>
                  <a:gd name="connsiteX11" fmla="*/ 35242 w 35242"/>
                  <a:gd name="connsiteY11" fmla="*/ 953 h 61722"/>
                  <a:gd name="connsiteX12" fmla="*/ 34766 w 35242"/>
                  <a:gd name="connsiteY12" fmla="*/ 14478 h 61722"/>
                  <a:gd name="connsiteX13" fmla="*/ 33623 w 35242"/>
                  <a:gd name="connsiteY13" fmla="*/ 14288 h 61722"/>
                  <a:gd name="connsiteX14" fmla="*/ 28480 w 35242"/>
                  <a:gd name="connsiteY14" fmla="*/ 13716 h 61722"/>
                  <a:gd name="connsiteX15" fmla="*/ 19431 w 35242"/>
                  <a:gd name="connsiteY15" fmla="*/ 18479 h 61722"/>
                  <a:gd name="connsiteX16" fmla="*/ 16192 w 35242"/>
                  <a:gd name="connsiteY16" fmla="*/ 32099 h 61722"/>
                  <a:gd name="connsiteX17" fmla="*/ 16192 w 35242"/>
                  <a:gd name="connsiteY17" fmla="*/ 61722 h 61722"/>
                  <a:gd name="connsiteX18" fmla="*/ 476 w 35242"/>
                  <a:gd name="connsiteY18" fmla="*/ 61722 h 61722"/>
                  <a:gd name="connsiteX19" fmla="*/ 476 w 35242"/>
                  <a:gd name="connsiteY19" fmla="*/ 15526 h 61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5242" h="61722">
                    <a:moveTo>
                      <a:pt x="381" y="15526"/>
                    </a:moveTo>
                    <a:cubicBezTo>
                      <a:pt x="381" y="12954"/>
                      <a:pt x="381" y="10096"/>
                      <a:pt x="285" y="7144"/>
                    </a:cubicBezTo>
                    <a:cubicBezTo>
                      <a:pt x="190" y="4191"/>
                      <a:pt x="95" y="2286"/>
                      <a:pt x="0" y="1334"/>
                    </a:cubicBezTo>
                    <a:lnTo>
                      <a:pt x="14954" y="1334"/>
                    </a:lnTo>
                    <a:cubicBezTo>
                      <a:pt x="15144" y="2000"/>
                      <a:pt x="15240" y="3620"/>
                      <a:pt x="15430" y="6096"/>
                    </a:cubicBezTo>
                    <a:cubicBezTo>
                      <a:pt x="15621" y="8573"/>
                      <a:pt x="15716" y="10478"/>
                      <a:pt x="15716" y="11811"/>
                    </a:cubicBezTo>
                    <a:lnTo>
                      <a:pt x="15907" y="11811"/>
                    </a:lnTo>
                    <a:cubicBezTo>
                      <a:pt x="17050" y="8954"/>
                      <a:pt x="18192" y="6763"/>
                      <a:pt x="19335" y="5144"/>
                    </a:cubicBezTo>
                    <a:cubicBezTo>
                      <a:pt x="20478" y="3524"/>
                      <a:pt x="21812" y="2286"/>
                      <a:pt x="23526" y="1334"/>
                    </a:cubicBezTo>
                    <a:cubicBezTo>
                      <a:pt x="25241" y="381"/>
                      <a:pt x="27432" y="0"/>
                      <a:pt x="30194" y="0"/>
                    </a:cubicBezTo>
                    <a:cubicBezTo>
                      <a:pt x="31242" y="0"/>
                      <a:pt x="32195" y="0"/>
                      <a:pt x="33147" y="286"/>
                    </a:cubicBezTo>
                    <a:cubicBezTo>
                      <a:pt x="34099" y="571"/>
                      <a:pt x="34766" y="667"/>
                      <a:pt x="35242" y="953"/>
                    </a:cubicBezTo>
                    <a:lnTo>
                      <a:pt x="34766" y="14478"/>
                    </a:lnTo>
                    <a:cubicBezTo>
                      <a:pt x="34290" y="14478"/>
                      <a:pt x="33814" y="14288"/>
                      <a:pt x="33623" y="14288"/>
                    </a:cubicBezTo>
                    <a:cubicBezTo>
                      <a:pt x="31623" y="13907"/>
                      <a:pt x="29908" y="13716"/>
                      <a:pt x="28480" y="13716"/>
                    </a:cubicBezTo>
                    <a:cubicBezTo>
                      <a:pt x="24574" y="13716"/>
                      <a:pt x="21621" y="15335"/>
                      <a:pt x="19431" y="18479"/>
                    </a:cubicBezTo>
                    <a:cubicBezTo>
                      <a:pt x="17240" y="21622"/>
                      <a:pt x="16192" y="26194"/>
                      <a:pt x="16192" y="32099"/>
                    </a:cubicBezTo>
                    <a:lnTo>
                      <a:pt x="16192" y="61722"/>
                    </a:lnTo>
                    <a:lnTo>
                      <a:pt x="476" y="61722"/>
                    </a:lnTo>
                    <a:lnTo>
                      <a:pt x="476" y="15526"/>
                    </a:lnTo>
                    <a:close/>
                  </a:path>
                </a:pathLst>
              </a:custGeom>
              <a:solidFill>
                <a:srgbClr val="231F20"/>
              </a:solidFill>
              <a:ln w="9525" cap="flat">
                <a:noFill/>
                <a:prstDash val="solid"/>
                <a:miter/>
              </a:ln>
            </p:spPr>
            <p:txBody>
              <a:bodyPr rtlCol="0" anchor="ctr"/>
              <a:lstStyle/>
              <a:p>
                <a:pPr marL="0" marR="0" lvl="0" indent="0" algn="l" defTabSz="913578" rtl="0" eaLnBrk="1" fontAlgn="auto" latinLnBrk="0" hangingPunct="1">
                  <a:lnSpc>
                    <a:spcPct val="100000"/>
                  </a:lnSpc>
                  <a:spcBef>
                    <a:spcPts val="0"/>
                  </a:spcBef>
                  <a:spcAft>
                    <a:spcPts val="0"/>
                  </a:spcAft>
                  <a:buClrTx/>
                  <a:buSzTx/>
                  <a:buFontTx/>
                  <a:buNone/>
                  <a:tabLst/>
                  <a:defRPr/>
                </a:pPr>
                <a:endParaRPr kumimoji="0" lang="en-US" sz="17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312" name="Freeform: Shape 137">
                <a:extLst>
                  <a:ext uri="{FF2B5EF4-FFF2-40B4-BE49-F238E27FC236}">
                    <a16:creationId xmlns:a16="http://schemas.microsoft.com/office/drawing/2014/main" id="{FDF64D03-F078-7B6A-CB5B-73CEFA72121E}"/>
                  </a:ext>
                </a:extLst>
              </p:cNvPr>
              <p:cNvSpPr/>
              <p:nvPr/>
            </p:nvSpPr>
            <p:spPr>
              <a:xfrm>
                <a:off x="7258336" y="4076223"/>
                <a:ext cx="35242" cy="61721"/>
              </a:xfrm>
              <a:custGeom>
                <a:avLst/>
                <a:gdLst>
                  <a:gd name="connsiteX0" fmla="*/ 381 w 35242"/>
                  <a:gd name="connsiteY0" fmla="*/ 15526 h 61721"/>
                  <a:gd name="connsiteX1" fmla="*/ 285 w 35242"/>
                  <a:gd name="connsiteY1" fmla="*/ 7144 h 61721"/>
                  <a:gd name="connsiteX2" fmla="*/ 0 w 35242"/>
                  <a:gd name="connsiteY2" fmla="*/ 1333 h 61721"/>
                  <a:gd name="connsiteX3" fmla="*/ 14954 w 35242"/>
                  <a:gd name="connsiteY3" fmla="*/ 1333 h 61721"/>
                  <a:gd name="connsiteX4" fmla="*/ 15430 w 35242"/>
                  <a:gd name="connsiteY4" fmla="*/ 6096 h 61721"/>
                  <a:gd name="connsiteX5" fmla="*/ 15716 w 35242"/>
                  <a:gd name="connsiteY5" fmla="*/ 11811 h 61721"/>
                  <a:gd name="connsiteX6" fmla="*/ 15907 w 35242"/>
                  <a:gd name="connsiteY6" fmla="*/ 11811 h 61721"/>
                  <a:gd name="connsiteX7" fmla="*/ 19335 w 35242"/>
                  <a:gd name="connsiteY7" fmla="*/ 5143 h 61721"/>
                  <a:gd name="connsiteX8" fmla="*/ 23526 w 35242"/>
                  <a:gd name="connsiteY8" fmla="*/ 1333 h 61721"/>
                  <a:gd name="connsiteX9" fmla="*/ 30194 w 35242"/>
                  <a:gd name="connsiteY9" fmla="*/ 0 h 61721"/>
                  <a:gd name="connsiteX10" fmla="*/ 33147 w 35242"/>
                  <a:gd name="connsiteY10" fmla="*/ 286 h 61721"/>
                  <a:gd name="connsiteX11" fmla="*/ 35242 w 35242"/>
                  <a:gd name="connsiteY11" fmla="*/ 952 h 61721"/>
                  <a:gd name="connsiteX12" fmla="*/ 34766 w 35242"/>
                  <a:gd name="connsiteY12" fmla="*/ 14478 h 61721"/>
                  <a:gd name="connsiteX13" fmla="*/ 33623 w 35242"/>
                  <a:gd name="connsiteY13" fmla="*/ 14288 h 61721"/>
                  <a:gd name="connsiteX14" fmla="*/ 28480 w 35242"/>
                  <a:gd name="connsiteY14" fmla="*/ 13716 h 61721"/>
                  <a:gd name="connsiteX15" fmla="*/ 19431 w 35242"/>
                  <a:gd name="connsiteY15" fmla="*/ 18479 h 61721"/>
                  <a:gd name="connsiteX16" fmla="*/ 16192 w 35242"/>
                  <a:gd name="connsiteY16" fmla="*/ 32099 h 61721"/>
                  <a:gd name="connsiteX17" fmla="*/ 16192 w 35242"/>
                  <a:gd name="connsiteY17" fmla="*/ 61722 h 61721"/>
                  <a:gd name="connsiteX18" fmla="*/ 476 w 35242"/>
                  <a:gd name="connsiteY18" fmla="*/ 61722 h 61721"/>
                  <a:gd name="connsiteX19" fmla="*/ 476 w 35242"/>
                  <a:gd name="connsiteY19" fmla="*/ 15526 h 617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5242" h="61721">
                    <a:moveTo>
                      <a:pt x="381" y="15526"/>
                    </a:moveTo>
                    <a:cubicBezTo>
                      <a:pt x="381" y="12954"/>
                      <a:pt x="381" y="10096"/>
                      <a:pt x="285" y="7144"/>
                    </a:cubicBezTo>
                    <a:cubicBezTo>
                      <a:pt x="190" y="4191"/>
                      <a:pt x="95" y="2286"/>
                      <a:pt x="0" y="1333"/>
                    </a:cubicBezTo>
                    <a:lnTo>
                      <a:pt x="14954" y="1333"/>
                    </a:lnTo>
                    <a:cubicBezTo>
                      <a:pt x="15144" y="2000"/>
                      <a:pt x="15240" y="3619"/>
                      <a:pt x="15430" y="6096"/>
                    </a:cubicBezTo>
                    <a:cubicBezTo>
                      <a:pt x="15621" y="8572"/>
                      <a:pt x="15716" y="10477"/>
                      <a:pt x="15716" y="11811"/>
                    </a:cubicBezTo>
                    <a:lnTo>
                      <a:pt x="15907" y="11811"/>
                    </a:lnTo>
                    <a:cubicBezTo>
                      <a:pt x="17050" y="8954"/>
                      <a:pt x="18192" y="6763"/>
                      <a:pt x="19335" y="5143"/>
                    </a:cubicBezTo>
                    <a:cubicBezTo>
                      <a:pt x="20478" y="3524"/>
                      <a:pt x="21812" y="2286"/>
                      <a:pt x="23526" y="1333"/>
                    </a:cubicBezTo>
                    <a:cubicBezTo>
                      <a:pt x="25241" y="381"/>
                      <a:pt x="27431" y="0"/>
                      <a:pt x="30194" y="0"/>
                    </a:cubicBezTo>
                    <a:cubicBezTo>
                      <a:pt x="31242" y="0"/>
                      <a:pt x="32194" y="0"/>
                      <a:pt x="33147" y="286"/>
                    </a:cubicBezTo>
                    <a:cubicBezTo>
                      <a:pt x="34099" y="571"/>
                      <a:pt x="34766" y="667"/>
                      <a:pt x="35242" y="952"/>
                    </a:cubicBezTo>
                    <a:lnTo>
                      <a:pt x="34766" y="14478"/>
                    </a:lnTo>
                    <a:cubicBezTo>
                      <a:pt x="34290" y="14478"/>
                      <a:pt x="33814" y="14288"/>
                      <a:pt x="33623" y="14288"/>
                    </a:cubicBezTo>
                    <a:cubicBezTo>
                      <a:pt x="31622" y="13906"/>
                      <a:pt x="29908" y="13716"/>
                      <a:pt x="28480" y="13716"/>
                    </a:cubicBezTo>
                    <a:cubicBezTo>
                      <a:pt x="24574" y="13716"/>
                      <a:pt x="21621" y="15335"/>
                      <a:pt x="19431" y="18479"/>
                    </a:cubicBezTo>
                    <a:cubicBezTo>
                      <a:pt x="17240" y="21622"/>
                      <a:pt x="16192" y="26194"/>
                      <a:pt x="16192" y="32099"/>
                    </a:cubicBezTo>
                    <a:lnTo>
                      <a:pt x="16192" y="61722"/>
                    </a:lnTo>
                    <a:lnTo>
                      <a:pt x="476" y="61722"/>
                    </a:lnTo>
                    <a:lnTo>
                      <a:pt x="476" y="15526"/>
                    </a:lnTo>
                    <a:close/>
                  </a:path>
                </a:pathLst>
              </a:custGeom>
              <a:solidFill>
                <a:srgbClr val="231F20"/>
              </a:solidFill>
              <a:ln w="9525" cap="flat">
                <a:noFill/>
                <a:prstDash val="solid"/>
                <a:miter/>
              </a:ln>
            </p:spPr>
            <p:txBody>
              <a:bodyPr rtlCol="0" anchor="ctr"/>
              <a:lstStyle/>
              <a:p>
                <a:pPr marL="0" marR="0" lvl="0" indent="0" algn="l" defTabSz="913578" rtl="0" eaLnBrk="1" fontAlgn="auto" latinLnBrk="0" hangingPunct="1">
                  <a:lnSpc>
                    <a:spcPct val="100000"/>
                  </a:lnSpc>
                  <a:spcBef>
                    <a:spcPts val="0"/>
                  </a:spcBef>
                  <a:spcAft>
                    <a:spcPts val="0"/>
                  </a:spcAft>
                  <a:buClrTx/>
                  <a:buSzTx/>
                  <a:buFontTx/>
                  <a:buNone/>
                  <a:tabLst/>
                  <a:defRPr/>
                </a:pPr>
                <a:endParaRPr kumimoji="0" lang="en-US" sz="17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313" name="Freeform: Shape 138">
                <a:extLst>
                  <a:ext uri="{FF2B5EF4-FFF2-40B4-BE49-F238E27FC236}">
                    <a16:creationId xmlns:a16="http://schemas.microsoft.com/office/drawing/2014/main" id="{98CB47D4-765F-A0C0-9C8B-520CA2D3A822}"/>
                  </a:ext>
                </a:extLst>
              </p:cNvPr>
              <p:cNvSpPr/>
              <p:nvPr/>
            </p:nvSpPr>
            <p:spPr>
              <a:xfrm>
                <a:off x="7298531" y="4076414"/>
                <a:ext cx="55244" cy="62769"/>
              </a:xfrm>
              <a:custGeom>
                <a:avLst/>
                <a:gdLst>
                  <a:gd name="connsiteX0" fmla="*/ 7715 w 55244"/>
                  <a:gd name="connsiteY0" fmla="*/ 54769 h 62769"/>
                  <a:gd name="connsiteX1" fmla="*/ 0 w 55244"/>
                  <a:gd name="connsiteY1" fmla="*/ 31242 h 62769"/>
                  <a:gd name="connsiteX2" fmla="*/ 3810 w 55244"/>
                  <a:gd name="connsiteY2" fmla="*/ 13716 h 62769"/>
                  <a:gd name="connsiteX3" fmla="*/ 14097 w 55244"/>
                  <a:gd name="connsiteY3" fmla="*/ 3334 h 62769"/>
                  <a:gd name="connsiteX4" fmla="*/ 28480 w 55244"/>
                  <a:gd name="connsiteY4" fmla="*/ 0 h 62769"/>
                  <a:gd name="connsiteX5" fmla="*/ 43720 w 55244"/>
                  <a:gd name="connsiteY5" fmla="*/ 4001 h 62769"/>
                  <a:gd name="connsiteX6" fmla="*/ 52483 w 55244"/>
                  <a:gd name="connsiteY6" fmla="*/ 14478 h 62769"/>
                  <a:gd name="connsiteX7" fmla="*/ 55245 w 55244"/>
                  <a:gd name="connsiteY7" fmla="*/ 29146 h 62769"/>
                  <a:gd name="connsiteX8" fmla="*/ 54864 w 55244"/>
                  <a:gd name="connsiteY8" fmla="*/ 35433 h 62769"/>
                  <a:gd name="connsiteX9" fmla="*/ 16478 w 55244"/>
                  <a:gd name="connsiteY9" fmla="*/ 35433 h 62769"/>
                  <a:gd name="connsiteX10" fmla="*/ 19812 w 55244"/>
                  <a:gd name="connsiteY10" fmla="*/ 46577 h 62769"/>
                  <a:gd name="connsiteX11" fmla="*/ 30194 w 55244"/>
                  <a:gd name="connsiteY11" fmla="*/ 50673 h 62769"/>
                  <a:gd name="connsiteX12" fmla="*/ 35909 w 55244"/>
                  <a:gd name="connsiteY12" fmla="*/ 50006 h 62769"/>
                  <a:gd name="connsiteX13" fmla="*/ 40957 w 55244"/>
                  <a:gd name="connsiteY13" fmla="*/ 48006 h 62769"/>
                  <a:gd name="connsiteX14" fmla="*/ 46958 w 55244"/>
                  <a:gd name="connsiteY14" fmla="*/ 44196 h 62769"/>
                  <a:gd name="connsiteX15" fmla="*/ 53340 w 55244"/>
                  <a:gd name="connsiteY15" fmla="*/ 54388 h 62769"/>
                  <a:gd name="connsiteX16" fmla="*/ 42672 w 55244"/>
                  <a:gd name="connsiteY16" fmla="*/ 60579 h 62769"/>
                  <a:gd name="connsiteX17" fmla="*/ 29433 w 55244"/>
                  <a:gd name="connsiteY17" fmla="*/ 62770 h 62769"/>
                  <a:gd name="connsiteX18" fmla="*/ 7811 w 55244"/>
                  <a:gd name="connsiteY18" fmla="*/ 54864 h 62769"/>
                  <a:gd name="connsiteX19" fmla="*/ 40005 w 55244"/>
                  <a:gd name="connsiteY19" fmla="*/ 24765 h 62769"/>
                  <a:gd name="connsiteX20" fmla="*/ 36862 w 55244"/>
                  <a:gd name="connsiteY20" fmla="*/ 14764 h 62769"/>
                  <a:gd name="connsiteX21" fmla="*/ 28384 w 55244"/>
                  <a:gd name="connsiteY21" fmla="*/ 11525 h 62769"/>
                  <a:gd name="connsiteX22" fmla="*/ 20002 w 55244"/>
                  <a:gd name="connsiteY22" fmla="*/ 14764 h 62769"/>
                  <a:gd name="connsiteX23" fmla="*/ 16669 w 55244"/>
                  <a:gd name="connsiteY23" fmla="*/ 24765 h 62769"/>
                  <a:gd name="connsiteX24" fmla="*/ 40100 w 55244"/>
                  <a:gd name="connsiteY24" fmla="*/ 24765 h 62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55244" h="62769">
                    <a:moveTo>
                      <a:pt x="7715" y="54769"/>
                    </a:moveTo>
                    <a:cubicBezTo>
                      <a:pt x="2572" y="49530"/>
                      <a:pt x="0" y="41624"/>
                      <a:pt x="0" y="31242"/>
                    </a:cubicBezTo>
                    <a:cubicBezTo>
                      <a:pt x="0" y="24289"/>
                      <a:pt x="1238" y="18383"/>
                      <a:pt x="3810" y="13716"/>
                    </a:cubicBezTo>
                    <a:cubicBezTo>
                      <a:pt x="6382" y="9049"/>
                      <a:pt x="9811" y="5620"/>
                      <a:pt x="14097" y="3334"/>
                    </a:cubicBezTo>
                    <a:cubicBezTo>
                      <a:pt x="18383" y="1048"/>
                      <a:pt x="23146" y="0"/>
                      <a:pt x="28480" y="0"/>
                    </a:cubicBezTo>
                    <a:cubicBezTo>
                      <a:pt x="34576" y="0"/>
                      <a:pt x="39719" y="1333"/>
                      <a:pt x="43720" y="4001"/>
                    </a:cubicBezTo>
                    <a:cubicBezTo>
                      <a:pt x="47720" y="6668"/>
                      <a:pt x="50673" y="10192"/>
                      <a:pt x="52483" y="14478"/>
                    </a:cubicBezTo>
                    <a:cubicBezTo>
                      <a:pt x="54293" y="18764"/>
                      <a:pt x="55245" y="23717"/>
                      <a:pt x="55245" y="29146"/>
                    </a:cubicBezTo>
                    <a:cubicBezTo>
                      <a:pt x="55245" y="31242"/>
                      <a:pt x="55150" y="33338"/>
                      <a:pt x="54864" y="35433"/>
                    </a:cubicBezTo>
                    <a:lnTo>
                      <a:pt x="16478" y="35433"/>
                    </a:lnTo>
                    <a:cubicBezTo>
                      <a:pt x="16478" y="40100"/>
                      <a:pt x="17621" y="43815"/>
                      <a:pt x="19812" y="46577"/>
                    </a:cubicBezTo>
                    <a:cubicBezTo>
                      <a:pt x="22003" y="49339"/>
                      <a:pt x="25527" y="50673"/>
                      <a:pt x="30194" y="50673"/>
                    </a:cubicBezTo>
                    <a:cubicBezTo>
                      <a:pt x="32290" y="50673"/>
                      <a:pt x="34195" y="50482"/>
                      <a:pt x="35909" y="50006"/>
                    </a:cubicBezTo>
                    <a:cubicBezTo>
                      <a:pt x="37624" y="49530"/>
                      <a:pt x="39338" y="48863"/>
                      <a:pt x="40957" y="48006"/>
                    </a:cubicBezTo>
                    <a:cubicBezTo>
                      <a:pt x="42576" y="47149"/>
                      <a:pt x="44577" y="45815"/>
                      <a:pt x="46958" y="44196"/>
                    </a:cubicBezTo>
                    <a:lnTo>
                      <a:pt x="53340" y="54388"/>
                    </a:lnTo>
                    <a:cubicBezTo>
                      <a:pt x="49816" y="57055"/>
                      <a:pt x="46196" y="59150"/>
                      <a:pt x="42672" y="60579"/>
                    </a:cubicBezTo>
                    <a:cubicBezTo>
                      <a:pt x="39148" y="62008"/>
                      <a:pt x="34671" y="62770"/>
                      <a:pt x="29433" y="62770"/>
                    </a:cubicBezTo>
                    <a:cubicBezTo>
                      <a:pt x="20193" y="62770"/>
                      <a:pt x="12954" y="60103"/>
                      <a:pt x="7811" y="54864"/>
                    </a:cubicBezTo>
                    <a:close/>
                    <a:moveTo>
                      <a:pt x="40005" y="24765"/>
                    </a:moveTo>
                    <a:cubicBezTo>
                      <a:pt x="39814" y="20193"/>
                      <a:pt x="38767" y="16859"/>
                      <a:pt x="36862" y="14764"/>
                    </a:cubicBezTo>
                    <a:cubicBezTo>
                      <a:pt x="34957" y="12668"/>
                      <a:pt x="32099" y="11525"/>
                      <a:pt x="28384" y="11525"/>
                    </a:cubicBezTo>
                    <a:cubicBezTo>
                      <a:pt x="24670" y="11525"/>
                      <a:pt x="22098" y="12573"/>
                      <a:pt x="20002" y="14764"/>
                    </a:cubicBezTo>
                    <a:cubicBezTo>
                      <a:pt x="17907" y="16954"/>
                      <a:pt x="16764" y="20288"/>
                      <a:pt x="16669" y="24765"/>
                    </a:cubicBezTo>
                    <a:lnTo>
                      <a:pt x="40100" y="24765"/>
                    </a:lnTo>
                    <a:close/>
                  </a:path>
                </a:pathLst>
              </a:custGeom>
              <a:solidFill>
                <a:srgbClr val="231F20"/>
              </a:solidFill>
              <a:ln w="9525" cap="flat">
                <a:noFill/>
                <a:prstDash val="solid"/>
                <a:miter/>
              </a:ln>
            </p:spPr>
            <p:txBody>
              <a:bodyPr rtlCol="0" anchor="ctr"/>
              <a:lstStyle/>
              <a:p>
                <a:pPr marL="0" marR="0" lvl="0" indent="0" algn="l" defTabSz="913578" rtl="0" eaLnBrk="1" fontAlgn="auto" latinLnBrk="0" hangingPunct="1">
                  <a:lnSpc>
                    <a:spcPct val="100000"/>
                  </a:lnSpc>
                  <a:spcBef>
                    <a:spcPts val="0"/>
                  </a:spcBef>
                  <a:spcAft>
                    <a:spcPts val="0"/>
                  </a:spcAft>
                  <a:buClrTx/>
                  <a:buSzTx/>
                  <a:buFontTx/>
                  <a:buNone/>
                  <a:tabLst/>
                  <a:defRPr/>
                </a:pPr>
                <a:endParaRPr kumimoji="0" lang="en-US" sz="17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314" name="Freeform: Shape 139">
                <a:extLst>
                  <a:ext uri="{FF2B5EF4-FFF2-40B4-BE49-F238E27FC236}">
                    <a16:creationId xmlns:a16="http://schemas.microsoft.com/office/drawing/2014/main" id="{3C08444F-128F-0B43-9D20-8C721EA67C23}"/>
                  </a:ext>
                </a:extLst>
              </p:cNvPr>
              <p:cNvSpPr/>
              <p:nvPr/>
            </p:nvSpPr>
            <p:spPr>
              <a:xfrm>
                <a:off x="7365015" y="4054983"/>
                <a:ext cx="24383" cy="83629"/>
              </a:xfrm>
              <a:custGeom>
                <a:avLst/>
                <a:gdLst>
                  <a:gd name="connsiteX0" fmla="*/ 4001 w 24383"/>
                  <a:gd name="connsiteY0" fmla="*/ 79534 h 83629"/>
                  <a:gd name="connsiteX1" fmla="*/ 0 w 24383"/>
                  <a:gd name="connsiteY1" fmla="*/ 68294 h 83629"/>
                  <a:gd name="connsiteX2" fmla="*/ 0 w 24383"/>
                  <a:gd name="connsiteY2" fmla="*/ 0 h 83629"/>
                  <a:gd name="connsiteX3" fmla="*/ 15716 w 24383"/>
                  <a:gd name="connsiteY3" fmla="*/ 0 h 83629"/>
                  <a:gd name="connsiteX4" fmla="*/ 15716 w 24383"/>
                  <a:gd name="connsiteY4" fmla="*/ 64389 h 83629"/>
                  <a:gd name="connsiteX5" fmla="*/ 16097 w 24383"/>
                  <a:gd name="connsiteY5" fmla="*/ 68389 h 83629"/>
                  <a:gd name="connsiteX6" fmla="*/ 17622 w 24383"/>
                  <a:gd name="connsiteY6" fmla="*/ 70485 h 83629"/>
                  <a:gd name="connsiteX7" fmla="*/ 20955 w 24383"/>
                  <a:gd name="connsiteY7" fmla="*/ 71152 h 83629"/>
                  <a:gd name="connsiteX8" fmla="*/ 23813 w 24383"/>
                  <a:gd name="connsiteY8" fmla="*/ 70771 h 83629"/>
                  <a:gd name="connsiteX9" fmla="*/ 24384 w 24383"/>
                  <a:gd name="connsiteY9" fmla="*/ 82868 h 83629"/>
                  <a:gd name="connsiteX10" fmla="*/ 16097 w 24383"/>
                  <a:gd name="connsiteY10" fmla="*/ 83629 h 83629"/>
                  <a:gd name="connsiteX11" fmla="*/ 3906 w 24383"/>
                  <a:gd name="connsiteY11" fmla="*/ 79438 h 836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383" h="83629">
                    <a:moveTo>
                      <a:pt x="4001" y="79534"/>
                    </a:moveTo>
                    <a:cubicBezTo>
                      <a:pt x="1334" y="76771"/>
                      <a:pt x="0" y="72962"/>
                      <a:pt x="0" y="68294"/>
                    </a:cubicBezTo>
                    <a:lnTo>
                      <a:pt x="0" y="0"/>
                    </a:lnTo>
                    <a:lnTo>
                      <a:pt x="15716" y="0"/>
                    </a:lnTo>
                    <a:lnTo>
                      <a:pt x="15716" y="64389"/>
                    </a:lnTo>
                    <a:cubicBezTo>
                      <a:pt x="15716" y="66104"/>
                      <a:pt x="15812" y="67532"/>
                      <a:pt x="16097" y="68389"/>
                    </a:cubicBezTo>
                    <a:cubicBezTo>
                      <a:pt x="16383" y="69247"/>
                      <a:pt x="16859" y="70009"/>
                      <a:pt x="17622" y="70485"/>
                    </a:cubicBezTo>
                    <a:cubicBezTo>
                      <a:pt x="18383" y="70961"/>
                      <a:pt x="19527" y="71152"/>
                      <a:pt x="20955" y="71152"/>
                    </a:cubicBezTo>
                    <a:cubicBezTo>
                      <a:pt x="21813" y="71152"/>
                      <a:pt x="22765" y="71056"/>
                      <a:pt x="23813" y="70771"/>
                    </a:cubicBezTo>
                    <a:lnTo>
                      <a:pt x="24384" y="82868"/>
                    </a:lnTo>
                    <a:cubicBezTo>
                      <a:pt x="21717" y="83344"/>
                      <a:pt x="18955" y="83629"/>
                      <a:pt x="16097" y="83629"/>
                    </a:cubicBezTo>
                    <a:cubicBezTo>
                      <a:pt x="10668" y="83629"/>
                      <a:pt x="6572" y="82201"/>
                      <a:pt x="3906" y="79438"/>
                    </a:cubicBezTo>
                    <a:close/>
                  </a:path>
                </a:pathLst>
              </a:custGeom>
              <a:solidFill>
                <a:srgbClr val="231F20"/>
              </a:solidFill>
              <a:ln w="9525" cap="flat">
                <a:noFill/>
                <a:prstDash val="solid"/>
                <a:miter/>
              </a:ln>
            </p:spPr>
            <p:txBody>
              <a:bodyPr rtlCol="0" anchor="ctr"/>
              <a:lstStyle/>
              <a:p>
                <a:pPr marL="0" marR="0" lvl="0" indent="0" algn="l" defTabSz="913578" rtl="0" eaLnBrk="1" fontAlgn="auto" latinLnBrk="0" hangingPunct="1">
                  <a:lnSpc>
                    <a:spcPct val="100000"/>
                  </a:lnSpc>
                  <a:spcBef>
                    <a:spcPts val="0"/>
                  </a:spcBef>
                  <a:spcAft>
                    <a:spcPts val="0"/>
                  </a:spcAft>
                  <a:buClrTx/>
                  <a:buSzTx/>
                  <a:buFontTx/>
                  <a:buNone/>
                  <a:tabLst/>
                  <a:defRPr/>
                </a:pPr>
                <a:endParaRPr kumimoji="0" lang="en-US" sz="17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315" name="Freeform: Shape 140">
                <a:extLst>
                  <a:ext uri="{FF2B5EF4-FFF2-40B4-BE49-F238E27FC236}">
                    <a16:creationId xmlns:a16="http://schemas.microsoft.com/office/drawing/2014/main" id="{0FDC01CC-2978-E0F9-261D-9AA432D3DCE7}"/>
                  </a:ext>
                </a:extLst>
              </p:cNvPr>
              <p:cNvSpPr/>
              <p:nvPr/>
            </p:nvSpPr>
            <p:spPr>
              <a:xfrm>
                <a:off x="7395971" y="4076509"/>
                <a:ext cx="53149" cy="62674"/>
              </a:xfrm>
              <a:custGeom>
                <a:avLst/>
                <a:gdLst>
                  <a:gd name="connsiteX0" fmla="*/ 8954 w 53149"/>
                  <a:gd name="connsiteY0" fmla="*/ 60388 h 62674"/>
                  <a:gd name="connsiteX1" fmla="*/ 2381 w 53149"/>
                  <a:gd name="connsiteY1" fmla="*/ 54197 h 62674"/>
                  <a:gd name="connsiteX2" fmla="*/ 0 w 53149"/>
                  <a:gd name="connsiteY2" fmla="*/ 44387 h 62674"/>
                  <a:gd name="connsiteX3" fmla="*/ 6477 w 53149"/>
                  <a:gd name="connsiteY3" fmla="*/ 29813 h 62674"/>
                  <a:gd name="connsiteX4" fmla="*/ 23908 w 53149"/>
                  <a:gd name="connsiteY4" fmla="*/ 25051 h 62674"/>
                  <a:gd name="connsiteX5" fmla="*/ 36957 w 53149"/>
                  <a:gd name="connsiteY5" fmla="*/ 24860 h 62674"/>
                  <a:gd name="connsiteX6" fmla="*/ 36957 w 53149"/>
                  <a:gd name="connsiteY6" fmla="*/ 22003 h 62674"/>
                  <a:gd name="connsiteX7" fmla="*/ 34290 w 53149"/>
                  <a:gd name="connsiteY7" fmla="*/ 14288 h 62674"/>
                  <a:gd name="connsiteX8" fmla="*/ 27051 w 53149"/>
                  <a:gd name="connsiteY8" fmla="*/ 12097 h 62674"/>
                  <a:gd name="connsiteX9" fmla="*/ 10763 w 53149"/>
                  <a:gd name="connsiteY9" fmla="*/ 19431 h 62674"/>
                  <a:gd name="connsiteX10" fmla="*/ 3334 w 53149"/>
                  <a:gd name="connsiteY10" fmla="*/ 9620 h 62674"/>
                  <a:gd name="connsiteX11" fmla="*/ 27908 w 53149"/>
                  <a:gd name="connsiteY11" fmla="*/ 0 h 62674"/>
                  <a:gd name="connsiteX12" fmla="*/ 46197 w 53149"/>
                  <a:gd name="connsiteY12" fmla="*/ 5620 h 62674"/>
                  <a:gd name="connsiteX13" fmla="*/ 52674 w 53149"/>
                  <a:gd name="connsiteY13" fmla="*/ 21622 h 62674"/>
                  <a:gd name="connsiteX14" fmla="*/ 52674 w 53149"/>
                  <a:gd name="connsiteY14" fmla="*/ 43720 h 62674"/>
                  <a:gd name="connsiteX15" fmla="*/ 53150 w 53149"/>
                  <a:gd name="connsiteY15" fmla="*/ 61531 h 62674"/>
                  <a:gd name="connsiteX16" fmla="*/ 38291 w 53149"/>
                  <a:gd name="connsiteY16" fmla="*/ 61531 h 62674"/>
                  <a:gd name="connsiteX17" fmla="*/ 37910 w 53149"/>
                  <a:gd name="connsiteY17" fmla="*/ 53054 h 62674"/>
                  <a:gd name="connsiteX18" fmla="*/ 37529 w 53149"/>
                  <a:gd name="connsiteY18" fmla="*/ 53054 h 62674"/>
                  <a:gd name="connsiteX19" fmla="*/ 29813 w 53149"/>
                  <a:gd name="connsiteY19" fmla="*/ 60198 h 62674"/>
                  <a:gd name="connsiteX20" fmla="*/ 18765 w 53149"/>
                  <a:gd name="connsiteY20" fmla="*/ 62674 h 62674"/>
                  <a:gd name="connsiteX21" fmla="*/ 8954 w 53149"/>
                  <a:gd name="connsiteY21" fmla="*/ 60579 h 62674"/>
                  <a:gd name="connsiteX22" fmla="*/ 30575 w 53149"/>
                  <a:gd name="connsiteY22" fmla="*/ 48768 h 62674"/>
                  <a:gd name="connsiteX23" fmla="*/ 35338 w 53149"/>
                  <a:gd name="connsiteY23" fmla="*/ 43910 h 62674"/>
                  <a:gd name="connsiteX24" fmla="*/ 37052 w 53149"/>
                  <a:gd name="connsiteY24" fmla="*/ 37529 h 62674"/>
                  <a:gd name="connsiteX25" fmla="*/ 37052 w 53149"/>
                  <a:gd name="connsiteY25" fmla="*/ 34480 h 62674"/>
                  <a:gd name="connsiteX26" fmla="*/ 28956 w 53149"/>
                  <a:gd name="connsiteY26" fmla="*/ 34480 h 62674"/>
                  <a:gd name="connsiteX27" fmla="*/ 22289 w 53149"/>
                  <a:gd name="connsiteY27" fmla="*/ 35433 h 62674"/>
                  <a:gd name="connsiteX28" fmla="*/ 18098 w 53149"/>
                  <a:gd name="connsiteY28" fmla="*/ 37814 h 62674"/>
                  <a:gd name="connsiteX29" fmla="*/ 16479 w 53149"/>
                  <a:gd name="connsiteY29" fmla="*/ 43053 h 62674"/>
                  <a:gd name="connsiteX30" fmla="*/ 18479 w 53149"/>
                  <a:gd name="connsiteY30" fmla="*/ 48673 h 62674"/>
                  <a:gd name="connsiteX31" fmla="*/ 23813 w 53149"/>
                  <a:gd name="connsiteY31" fmla="*/ 50578 h 62674"/>
                  <a:gd name="connsiteX32" fmla="*/ 30671 w 53149"/>
                  <a:gd name="connsiteY32" fmla="*/ 48768 h 626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53149" h="62674">
                    <a:moveTo>
                      <a:pt x="8954" y="60388"/>
                    </a:moveTo>
                    <a:cubicBezTo>
                      <a:pt x="6191" y="58960"/>
                      <a:pt x="4001" y="56864"/>
                      <a:pt x="2381" y="54197"/>
                    </a:cubicBezTo>
                    <a:cubicBezTo>
                      <a:pt x="762" y="51530"/>
                      <a:pt x="0" y="48196"/>
                      <a:pt x="0" y="44387"/>
                    </a:cubicBezTo>
                    <a:cubicBezTo>
                      <a:pt x="0" y="37719"/>
                      <a:pt x="2191" y="32861"/>
                      <a:pt x="6477" y="29813"/>
                    </a:cubicBezTo>
                    <a:cubicBezTo>
                      <a:pt x="10763" y="26765"/>
                      <a:pt x="16573" y="25241"/>
                      <a:pt x="23908" y="25051"/>
                    </a:cubicBezTo>
                    <a:lnTo>
                      <a:pt x="36957" y="24860"/>
                    </a:lnTo>
                    <a:lnTo>
                      <a:pt x="36957" y="22003"/>
                    </a:lnTo>
                    <a:cubicBezTo>
                      <a:pt x="36957" y="18288"/>
                      <a:pt x="36100" y="15716"/>
                      <a:pt x="34290" y="14288"/>
                    </a:cubicBezTo>
                    <a:cubicBezTo>
                      <a:pt x="32481" y="12859"/>
                      <a:pt x="30099" y="12097"/>
                      <a:pt x="27051" y="12097"/>
                    </a:cubicBezTo>
                    <a:cubicBezTo>
                      <a:pt x="21717" y="12097"/>
                      <a:pt x="16288" y="14573"/>
                      <a:pt x="10763" y="19431"/>
                    </a:cubicBezTo>
                    <a:lnTo>
                      <a:pt x="3334" y="9620"/>
                    </a:lnTo>
                    <a:cubicBezTo>
                      <a:pt x="10573" y="3238"/>
                      <a:pt x="18765" y="0"/>
                      <a:pt x="27908" y="0"/>
                    </a:cubicBezTo>
                    <a:cubicBezTo>
                      <a:pt x="35719" y="0"/>
                      <a:pt x="41815" y="1905"/>
                      <a:pt x="46197" y="5620"/>
                    </a:cubicBezTo>
                    <a:cubicBezTo>
                      <a:pt x="50578" y="9334"/>
                      <a:pt x="52674" y="14668"/>
                      <a:pt x="52674" y="21622"/>
                    </a:cubicBezTo>
                    <a:lnTo>
                      <a:pt x="52674" y="43720"/>
                    </a:lnTo>
                    <a:cubicBezTo>
                      <a:pt x="52674" y="50387"/>
                      <a:pt x="52864" y="56293"/>
                      <a:pt x="53150" y="61531"/>
                    </a:cubicBezTo>
                    <a:lnTo>
                      <a:pt x="38291" y="61531"/>
                    </a:lnTo>
                    <a:cubicBezTo>
                      <a:pt x="38005" y="58864"/>
                      <a:pt x="37910" y="56102"/>
                      <a:pt x="37910" y="53054"/>
                    </a:cubicBezTo>
                    <a:lnTo>
                      <a:pt x="37529" y="53054"/>
                    </a:lnTo>
                    <a:cubicBezTo>
                      <a:pt x="35529" y="56102"/>
                      <a:pt x="32957" y="58483"/>
                      <a:pt x="29813" y="60198"/>
                    </a:cubicBezTo>
                    <a:cubicBezTo>
                      <a:pt x="26670" y="61913"/>
                      <a:pt x="22956" y="62674"/>
                      <a:pt x="18765" y="62674"/>
                    </a:cubicBezTo>
                    <a:cubicBezTo>
                      <a:pt x="15050" y="62674"/>
                      <a:pt x="11811" y="62008"/>
                      <a:pt x="8954" y="60579"/>
                    </a:cubicBezTo>
                    <a:close/>
                    <a:moveTo>
                      <a:pt x="30575" y="48768"/>
                    </a:moveTo>
                    <a:cubicBezTo>
                      <a:pt x="32576" y="47530"/>
                      <a:pt x="34195" y="45910"/>
                      <a:pt x="35338" y="43910"/>
                    </a:cubicBezTo>
                    <a:cubicBezTo>
                      <a:pt x="36481" y="41910"/>
                      <a:pt x="37052" y="39814"/>
                      <a:pt x="37052" y="37529"/>
                    </a:cubicBezTo>
                    <a:lnTo>
                      <a:pt x="37052" y="34480"/>
                    </a:lnTo>
                    <a:lnTo>
                      <a:pt x="28956" y="34480"/>
                    </a:lnTo>
                    <a:cubicBezTo>
                      <a:pt x="26194" y="34766"/>
                      <a:pt x="24003" y="35052"/>
                      <a:pt x="22289" y="35433"/>
                    </a:cubicBezTo>
                    <a:cubicBezTo>
                      <a:pt x="20574" y="35814"/>
                      <a:pt x="19145" y="36576"/>
                      <a:pt x="18098" y="37814"/>
                    </a:cubicBezTo>
                    <a:cubicBezTo>
                      <a:pt x="17050" y="39052"/>
                      <a:pt x="16479" y="40767"/>
                      <a:pt x="16479" y="43053"/>
                    </a:cubicBezTo>
                    <a:cubicBezTo>
                      <a:pt x="16479" y="45339"/>
                      <a:pt x="17145" y="47339"/>
                      <a:pt x="18479" y="48673"/>
                    </a:cubicBezTo>
                    <a:cubicBezTo>
                      <a:pt x="19812" y="50006"/>
                      <a:pt x="21622" y="50578"/>
                      <a:pt x="23813" y="50578"/>
                    </a:cubicBezTo>
                    <a:cubicBezTo>
                      <a:pt x="26384" y="50578"/>
                      <a:pt x="28670" y="50006"/>
                      <a:pt x="30671" y="48768"/>
                    </a:cubicBezTo>
                    <a:close/>
                  </a:path>
                </a:pathLst>
              </a:custGeom>
              <a:solidFill>
                <a:srgbClr val="231F20"/>
              </a:solidFill>
              <a:ln w="9525" cap="flat">
                <a:noFill/>
                <a:prstDash val="solid"/>
                <a:miter/>
              </a:ln>
            </p:spPr>
            <p:txBody>
              <a:bodyPr rtlCol="0" anchor="ctr"/>
              <a:lstStyle/>
              <a:p>
                <a:pPr marL="0" marR="0" lvl="0" indent="0" algn="l" defTabSz="913578" rtl="0" eaLnBrk="1" fontAlgn="auto" latinLnBrk="0" hangingPunct="1">
                  <a:lnSpc>
                    <a:spcPct val="100000"/>
                  </a:lnSpc>
                  <a:spcBef>
                    <a:spcPts val="0"/>
                  </a:spcBef>
                  <a:spcAft>
                    <a:spcPts val="0"/>
                  </a:spcAft>
                  <a:buClrTx/>
                  <a:buSzTx/>
                  <a:buFontTx/>
                  <a:buNone/>
                  <a:tabLst/>
                  <a:defRPr/>
                </a:pPr>
                <a:endParaRPr kumimoji="0" lang="en-US" sz="17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316" name="Freeform: Shape 141">
                <a:extLst>
                  <a:ext uri="{FF2B5EF4-FFF2-40B4-BE49-F238E27FC236}">
                    <a16:creationId xmlns:a16="http://schemas.microsoft.com/office/drawing/2014/main" id="{48419D02-27E6-A960-4518-A10AD9707215}"/>
                  </a:ext>
                </a:extLst>
              </p:cNvPr>
              <p:cNvSpPr/>
              <p:nvPr/>
            </p:nvSpPr>
            <p:spPr>
              <a:xfrm>
                <a:off x="7457312" y="4062888"/>
                <a:ext cx="35814" cy="76104"/>
              </a:xfrm>
              <a:custGeom>
                <a:avLst/>
                <a:gdLst>
                  <a:gd name="connsiteX0" fmla="*/ 11621 w 35814"/>
                  <a:gd name="connsiteY0" fmla="*/ 71914 h 76104"/>
                  <a:gd name="connsiteX1" fmla="*/ 7620 w 35814"/>
                  <a:gd name="connsiteY1" fmla="*/ 59722 h 76104"/>
                  <a:gd name="connsiteX2" fmla="*/ 7620 w 35814"/>
                  <a:gd name="connsiteY2" fmla="*/ 26384 h 76104"/>
                  <a:gd name="connsiteX3" fmla="*/ 0 w 35814"/>
                  <a:gd name="connsiteY3" fmla="*/ 26384 h 76104"/>
                  <a:gd name="connsiteX4" fmla="*/ 0 w 35814"/>
                  <a:gd name="connsiteY4" fmla="*/ 14764 h 76104"/>
                  <a:gd name="connsiteX5" fmla="*/ 8382 w 35814"/>
                  <a:gd name="connsiteY5" fmla="*/ 14764 h 76104"/>
                  <a:gd name="connsiteX6" fmla="*/ 9144 w 35814"/>
                  <a:gd name="connsiteY6" fmla="*/ 1143 h 76104"/>
                  <a:gd name="connsiteX7" fmla="*/ 23051 w 35814"/>
                  <a:gd name="connsiteY7" fmla="*/ 0 h 76104"/>
                  <a:gd name="connsiteX8" fmla="*/ 23051 w 35814"/>
                  <a:gd name="connsiteY8" fmla="*/ 14764 h 76104"/>
                  <a:gd name="connsiteX9" fmla="*/ 35052 w 35814"/>
                  <a:gd name="connsiteY9" fmla="*/ 14764 h 76104"/>
                  <a:gd name="connsiteX10" fmla="*/ 35052 w 35814"/>
                  <a:gd name="connsiteY10" fmla="*/ 26384 h 76104"/>
                  <a:gd name="connsiteX11" fmla="*/ 23051 w 35814"/>
                  <a:gd name="connsiteY11" fmla="*/ 26384 h 76104"/>
                  <a:gd name="connsiteX12" fmla="*/ 23051 w 35814"/>
                  <a:gd name="connsiteY12" fmla="*/ 55531 h 76104"/>
                  <a:gd name="connsiteX13" fmla="*/ 24479 w 35814"/>
                  <a:gd name="connsiteY13" fmla="*/ 61246 h 76104"/>
                  <a:gd name="connsiteX14" fmla="*/ 28956 w 35814"/>
                  <a:gd name="connsiteY14" fmla="*/ 63056 h 76104"/>
                  <a:gd name="connsiteX15" fmla="*/ 34671 w 35814"/>
                  <a:gd name="connsiteY15" fmla="*/ 62389 h 76104"/>
                  <a:gd name="connsiteX16" fmla="*/ 35814 w 35814"/>
                  <a:gd name="connsiteY16" fmla="*/ 74295 h 76104"/>
                  <a:gd name="connsiteX17" fmla="*/ 23051 w 35814"/>
                  <a:gd name="connsiteY17" fmla="*/ 76105 h 76104"/>
                  <a:gd name="connsiteX18" fmla="*/ 11525 w 35814"/>
                  <a:gd name="connsiteY18" fmla="*/ 72009 h 76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5814" h="76104">
                    <a:moveTo>
                      <a:pt x="11621" y="71914"/>
                    </a:moveTo>
                    <a:cubicBezTo>
                      <a:pt x="8954" y="69152"/>
                      <a:pt x="7620" y="65151"/>
                      <a:pt x="7620" y="59722"/>
                    </a:cubicBezTo>
                    <a:lnTo>
                      <a:pt x="7620" y="26384"/>
                    </a:lnTo>
                    <a:lnTo>
                      <a:pt x="0" y="26384"/>
                    </a:lnTo>
                    <a:lnTo>
                      <a:pt x="0" y="14764"/>
                    </a:lnTo>
                    <a:lnTo>
                      <a:pt x="8382" y="14764"/>
                    </a:lnTo>
                    <a:lnTo>
                      <a:pt x="9144" y="1143"/>
                    </a:lnTo>
                    <a:lnTo>
                      <a:pt x="23051" y="0"/>
                    </a:lnTo>
                    <a:lnTo>
                      <a:pt x="23051" y="14764"/>
                    </a:lnTo>
                    <a:lnTo>
                      <a:pt x="35052" y="14764"/>
                    </a:lnTo>
                    <a:lnTo>
                      <a:pt x="35052" y="26384"/>
                    </a:lnTo>
                    <a:lnTo>
                      <a:pt x="23051" y="26384"/>
                    </a:lnTo>
                    <a:lnTo>
                      <a:pt x="23051" y="55531"/>
                    </a:lnTo>
                    <a:cubicBezTo>
                      <a:pt x="23051" y="58103"/>
                      <a:pt x="23527" y="60008"/>
                      <a:pt x="24479" y="61246"/>
                    </a:cubicBezTo>
                    <a:cubicBezTo>
                      <a:pt x="25432" y="62484"/>
                      <a:pt x="26861" y="63056"/>
                      <a:pt x="28956" y="63056"/>
                    </a:cubicBezTo>
                    <a:cubicBezTo>
                      <a:pt x="30575" y="63056"/>
                      <a:pt x="32481" y="62865"/>
                      <a:pt x="34671" y="62389"/>
                    </a:cubicBezTo>
                    <a:lnTo>
                      <a:pt x="35814" y="74295"/>
                    </a:lnTo>
                    <a:cubicBezTo>
                      <a:pt x="31528" y="75438"/>
                      <a:pt x="27337" y="76105"/>
                      <a:pt x="23051" y="76105"/>
                    </a:cubicBezTo>
                    <a:cubicBezTo>
                      <a:pt x="18002" y="76105"/>
                      <a:pt x="14192" y="74771"/>
                      <a:pt x="11525" y="72009"/>
                    </a:cubicBezTo>
                    <a:close/>
                  </a:path>
                </a:pathLst>
              </a:custGeom>
              <a:solidFill>
                <a:srgbClr val="231F20"/>
              </a:solidFill>
              <a:ln w="9525" cap="flat">
                <a:noFill/>
                <a:prstDash val="solid"/>
                <a:miter/>
              </a:ln>
            </p:spPr>
            <p:txBody>
              <a:bodyPr rtlCol="0" anchor="ctr"/>
              <a:lstStyle/>
              <a:p>
                <a:pPr marL="0" marR="0" lvl="0" indent="0" algn="l" defTabSz="913578" rtl="0" eaLnBrk="1" fontAlgn="auto" latinLnBrk="0" hangingPunct="1">
                  <a:lnSpc>
                    <a:spcPct val="100000"/>
                  </a:lnSpc>
                  <a:spcBef>
                    <a:spcPts val="0"/>
                  </a:spcBef>
                  <a:spcAft>
                    <a:spcPts val="0"/>
                  </a:spcAft>
                  <a:buClrTx/>
                  <a:buSzTx/>
                  <a:buFontTx/>
                  <a:buNone/>
                  <a:tabLst/>
                  <a:defRPr/>
                </a:pPr>
                <a:endParaRPr kumimoji="0" lang="en-US" sz="17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317" name="Freeform: Shape 142">
                <a:extLst>
                  <a:ext uri="{FF2B5EF4-FFF2-40B4-BE49-F238E27FC236}">
                    <a16:creationId xmlns:a16="http://schemas.microsoft.com/office/drawing/2014/main" id="{98DE84F4-3BDE-11B1-B00F-F622941C1784}"/>
                  </a:ext>
                </a:extLst>
              </p:cNvPr>
              <p:cNvSpPr/>
              <p:nvPr/>
            </p:nvSpPr>
            <p:spPr>
              <a:xfrm>
                <a:off x="7501604" y="4051934"/>
                <a:ext cx="17525" cy="85915"/>
              </a:xfrm>
              <a:custGeom>
                <a:avLst/>
                <a:gdLst>
                  <a:gd name="connsiteX0" fmla="*/ 2381 w 17525"/>
                  <a:gd name="connsiteY0" fmla="*/ 15240 h 85915"/>
                  <a:gd name="connsiteX1" fmla="*/ 0 w 17525"/>
                  <a:gd name="connsiteY1" fmla="*/ 8858 h 85915"/>
                  <a:gd name="connsiteX2" fmla="*/ 2381 w 17525"/>
                  <a:gd name="connsiteY2" fmla="*/ 2381 h 85915"/>
                  <a:gd name="connsiteX3" fmla="*/ 8858 w 17525"/>
                  <a:gd name="connsiteY3" fmla="*/ 0 h 85915"/>
                  <a:gd name="connsiteX4" fmla="*/ 15144 w 17525"/>
                  <a:gd name="connsiteY4" fmla="*/ 2381 h 85915"/>
                  <a:gd name="connsiteX5" fmla="*/ 17526 w 17525"/>
                  <a:gd name="connsiteY5" fmla="*/ 8858 h 85915"/>
                  <a:gd name="connsiteX6" fmla="*/ 15144 w 17525"/>
                  <a:gd name="connsiteY6" fmla="*/ 15240 h 85915"/>
                  <a:gd name="connsiteX7" fmla="*/ 8858 w 17525"/>
                  <a:gd name="connsiteY7" fmla="*/ 17621 h 85915"/>
                  <a:gd name="connsiteX8" fmla="*/ 2381 w 17525"/>
                  <a:gd name="connsiteY8" fmla="*/ 15240 h 85915"/>
                  <a:gd name="connsiteX9" fmla="*/ 952 w 17525"/>
                  <a:gd name="connsiteY9" fmla="*/ 25622 h 85915"/>
                  <a:gd name="connsiteX10" fmla="*/ 16669 w 17525"/>
                  <a:gd name="connsiteY10" fmla="*/ 25622 h 85915"/>
                  <a:gd name="connsiteX11" fmla="*/ 16669 w 17525"/>
                  <a:gd name="connsiteY11" fmla="*/ 85916 h 85915"/>
                  <a:gd name="connsiteX12" fmla="*/ 952 w 17525"/>
                  <a:gd name="connsiteY12" fmla="*/ 85916 h 85915"/>
                  <a:gd name="connsiteX13" fmla="*/ 952 w 17525"/>
                  <a:gd name="connsiteY13" fmla="*/ 25622 h 85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7525" h="85915">
                    <a:moveTo>
                      <a:pt x="2381" y="15240"/>
                    </a:moveTo>
                    <a:cubicBezTo>
                      <a:pt x="857" y="13621"/>
                      <a:pt x="0" y="11525"/>
                      <a:pt x="0" y="8858"/>
                    </a:cubicBezTo>
                    <a:cubicBezTo>
                      <a:pt x="0" y="6191"/>
                      <a:pt x="762" y="4001"/>
                      <a:pt x="2381" y="2381"/>
                    </a:cubicBezTo>
                    <a:cubicBezTo>
                      <a:pt x="4000" y="762"/>
                      <a:pt x="6096" y="0"/>
                      <a:pt x="8858" y="0"/>
                    </a:cubicBezTo>
                    <a:cubicBezTo>
                      <a:pt x="11620" y="0"/>
                      <a:pt x="13621" y="762"/>
                      <a:pt x="15144" y="2381"/>
                    </a:cubicBezTo>
                    <a:cubicBezTo>
                      <a:pt x="16669" y="4001"/>
                      <a:pt x="17526" y="6096"/>
                      <a:pt x="17526" y="8858"/>
                    </a:cubicBezTo>
                    <a:cubicBezTo>
                      <a:pt x="17526" y="11621"/>
                      <a:pt x="16764" y="13621"/>
                      <a:pt x="15144" y="15240"/>
                    </a:cubicBezTo>
                    <a:cubicBezTo>
                      <a:pt x="13525" y="16859"/>
                      <a:pt x="11430" y="17621"/>
                      <a:pt x="8858" y="17621"/>
                    </a:cubicBezTo>
                    <a:cubicBezTo>
                      <a:pt x="6096" y="17621"/>
                      <a:pt x="3905" y="16859"/>
                      <a:pt x="2381" y="15240"/>
                    </a:cubicBezTo>
                    <a:close/>
                    <a:moveTo>
                      <a:pt x="952" y="25622"/>
                    </a:moveTo>
                    <a:lnTo>
                      <a:pt x="16669" y="25622"/>
                    </a:lnTo>
                    <a:lnTo>
                      <a:pt x="16669" y="85916"/>
                    </a:lnTo>
                    <a:lnTo>
                      <a:pt x="952" y="85916"/>
                    </a:lnTo>
                    <a:lnTo>
                      <a:pt x="952" y="25622"/>
                    </a:lnTo>
                    <a:close/>
                  </a:path>
                </a:pathLst>
              </a:custGeom>
              <a:solidFill>
                <a:srgbClr val="231F20"/>
              </a:solidFill>
              <a:ln w="9525" cap="flat">
                <a:noFill/>
                <a:prstDash val="solid"/>
                <a:miter/>
              </a:ln>
            </p:spPr>
            <p:txBody>
              <a:bodyPr rtlCol="0" anchor="ctr"/>
              <a:lstStyle/>
              <a:p>
                <a:pPr marL="0" marR="0" lvl="0" indent="0" algn="l" defTabSz="913578" rtl="0" eaLnBrk="1" fontAlgn="auto" latinLnBrk="0" hangingPunct="1">
                  <a:lnSpc>
                    <a:spcPct val="100000"/>
                  </a:lnSpc>
                  <a:spcBef>
                    <a:spcPts val="0"/>
                  </a:spcBef>
                  <a:spcAft>
                    <a:spcPts val="0"/>
                  </a:spcAft>
                  <a:buClrTx/>
                  <a:buSzTx/>
                  <a:buFontTx/>
                  <a:buNone/>
                  <a:tabLst/>
                  <a:defRPr/>
                </a:pPr>
                <a:endParaRPr kumimoji="0" lang="en-US" sz="17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318" name="Freeform: Shape 143">
                <a:extLst>
                  <a:ext uri="{FF2B5EF4-FFF2-40B4-BE49-F238E27FC236}">
                    <a16:creationId xmlns:a16="http://schemas.microsoft.com/office/drawing/2014/main" id="{89A503C4-701E-6E4A-D6AD-8DA1621E52ED}"/>
                  </a:ext>
                </a:extLst>
              </p:cNvPr>
              <p:cNvSpPr/>
              <p:nvPr/>
            </p:nvSpPr>
            <p:spPr>
              <a:xfrm>
                <a:off x="7530750" y="4076509"/>
                <a:ext cx="60864" cy="62674"/>
              </a:xfrm>
              <a:custGeom>
                <a:avLst/>
                <a:gdLst>
                  <a:gd name="connsiteX0" fmla="*/ 13907 w 60864"/>
                  <a:gd name="connsiteY0" fmla="*/ 58388 h 62674"/>
                  <a:gd name="connsiteX1" fmla="*/ 3524 w 60864"/>
                  <a:gd name="connsiteY1" fmla="*/ 47149 h 62674"/>
                  <a:gd name="connsiteX2" fmla="*/ 0 w 60864"/>
                  <a:gd name="connsiteY2" fmla="*/ 31147 h 62674"/>
                  <a:gd name="connsiteX3" fmla="*/ 3429 w 60864"/>
                  <a:gd name="connsiteY3" fmla="*/ 15430 h 62674"/>
                  <a:gd name="connsiteX4" fmla="*/ 13716 w 60864"/>
                  <a:gd name="connsiteY4" fmla="*/ 4191 h 62674"/>
                  <a:gd name="connsiteX5" fmla="*/ 30480 w 60864"/>
                  <a:gd name="connsiteY5" fmla="*/ 0 h 62674"/>
                  <a:gd name="connsiteX6" fmla="*/ 47720 w 60864"/>
                  <a:gd name="connsiteY6" fmla="*/ 4191 h 62674"/>
                  <a:gd name="connsiteX7" fmla="*/ 57721 w 60864"/>
                  <a:gd name="connsiteY7" fmla="*/ 15335 h 62674"/>
                  <a:gd name="connsiteX8" fmla="*/ 60865 w 60864"/>
                  <a:gd name="connsiteY8" fmla="*/ 31242 h 62674"/>
                  <a:gd name="connsiteX9" fmla="*/ 57341 w 60864"/>
                  <a:gd name="connsiteY9" fmla="*/ 47244 h 62674"/>
                  <a:gd name="connsiteX10" fmla="*/ 46958 w 60864"/>
                  <a:gd name="connsiteY10" fmla="*/ 58483 h 62674"/>
                  <a:gd name="connsiteX11" fmla="*/ 30194 w 60864"/>
                  <a:gd name="connsiteY11" fmla="*/ 62674 h 62674"/>
                  <a:gd name="connsiteX12" fmla="*/ 13907 w 60864"/>
                  <a:gd name="connsiteY12" fmla="*/ 58579 h 62674"/>
                  <a:gd name="connsiteX13" fmla="*/ 40767 w 60864"/>
                  <a:gd name="connsiteY13" fmla="*/ 45148 h 62674"/>
                  <a:gd name="connsiteX14" fmla="*/ 44482 w 60864"/>
                  <a:gd name="connsiteY14" fmla="*/ 31051 h 62674"/>
                  <a:gd name="connsiteX15" fmla="*/ 40957 w 60864"/>
                  <a:gd name="connsiteY15" fmla="*/ 17145 h 62674"/>
                  <a:gd name="connsiteX16" fmla="*/ 30766 w 60864"/>
                  <a:gd name="connsiteY16" fmla="*/ 12287 h 62674"/>
                  <a:gd name="connsiteX17" fmla="*/ 20193 w 60864"/>
                  <a:gd name="connsiteY17" fmla="*/ 17145 h 62674"/>
                  <a:gd name="connsiteX18" fmla="*/ 16478 w 60864"/>
                  <a:gd name="connsiteY18" fmla="*/ 31051 h 62674"/>
                  <a:gd name="connsiteX19" fmla="*/ 18192 w 60864"/>
                  <a:gd name="connsiteY19" fmla="*/ 41338 h 62674"/>
                  <a:gd name="connsiteX20" fmla="*/ 22955 w 60864"/>
                  <a:gd name="connsiteY20" fmla="*/ 47815 h 62674"/>
                  <a:gd name="connsiteX21" fmla="*/ 30099 w 60864"/>
                  <a:gd name="connsiteY21" fmla="*/ 50006 h 62674"/>
                  <a:gd name="connsiteX22" fmla="*/ 40767 w 60864"/>
                  <a:gd name="connsiteY22" fmla="*/ 45053 h 626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60864" h="62674">
                    <a:moveTo>
                      <a:pt x="13907" y="58388"/>
                    </a:moveTo>
                    <a:cubicBezTo>
                      <a:pt x="9334" y="55626"/>
                      <a:pt x="5905" y="51911"/>
                      <a:pt x="3524" y="47149"/>
                    </a:cubicBezTo>
                    <a:cubicBezTo>
                      <a:pt x="1143" y="42386"/>
                      <a:pt x="0" y="37052"/>
                      <a:pt x="0" y="31147"/>
                    </a:cubicBezTo>
                    <a:cubicBezTo>
                      <a:pt x="0" y="25241"/>
                      <a:pt x="1143" y="20098"/>
                      <a:pt x="3429" y="15430"/>
                    </a:cubicBezTo>
                    <a:cubicBezTo>
                      <a:pt x="5715" y="10763"/>
                      <a:pt x="9144" y="6953"/>
                      <a:pt x="13716" y="4191"/>
                    </a:cubicBezTo>
                    <a:cubicBezTo>
                      <a:pt x="18288" y="1429"/>
                      <a:pt x="23908" y="0"/>
                      <a:pt x="30480" y="0"/>
                    </a:cubicBezTo>
                    <a:cubicBezTo>
                      <a:pt x="37433" y="0"/>
                      <a:pt x="43148" y="1429"/>
                      <a:pt x="47720" y="4191"/>
                    </a:cubicBezTo>
                    <a:cubicBezTo>
                      <a:pt x="52292" y="6953"/>
                      <a:pt x="55531" y="10668"/>
                      <a:pt x="57721" y="15335"/>
                    </a:cubicBezTo>
                    <a:cubicBezTo>
                      <a:pt x="59912" y="20002"/>
                      <a:pt x="60865" y="25337"/>
                      <a:pt x="60865" y="31242"/>
                    </a:cubicBezTo>
                    <a:cubicBezTo>
                      <a:pt x="60865" y="37147"/>
                      <a:pt x="59722" y="42481"/>
                      <a:pt x="57341" y="47244"/>
                    </a:cubicBezTo>
                    <a:cubicBezTo>
                      <a:pt x="54959" y="52006"/>
                      <a:pt x="51530" y="55721"/>
                      <a:pt x="46958" y="58483"/>
                    </a:cubicBezTo>
                    <a:cubicBezTo>
                      <a:pt x="42386" y="61246"/>
                      <a:pt x="36766" y="62674"/>
                      <a:pt x="30194" y="62674"/>
                    </a:cubicBezTo>
                    <a:cubicBezTo>
                      <a:pt x="23622" y="62674"/>
                      <a:pt x="18383" y="61341"/>
                      <a:pt x="13907" y="58579"/>
                    </a:cubicBezTo>
                    <a:close/>
                    <a:moveTo>
                      <a:pt x="40767" y="45148"/>
                    </a:moveTo>
                    <a:cubicBezTo>
                      <a:pt x="43243" y="41910"/>
                      <a:pt x="44482" y="37147"/>
                      <a:pt x="44482" y="31051"/>
                    </a:cubicBezTo>
                    <a:cubicBezTo>
                      <a:pt x="44482" y="24955"/>
                      <a:pt x="43339" y="20383"/>
                      <a:pt x="40957" y="17145"/>
                    </a:cubicBezTo>
                    <a:cubicBezTo>
                      <a:pt x="38576" y="13906"/>
                      <a:pt x="35243" y="12287"/>
                      <a:pt x="30766" y="12287"/>
                    </a:cubicBezTo>
                    <a:cubicBezTo>
                      <a:pt x="26289" y="12287"/>
                      <a:pt x="22574" y="13906"/>
                      <a:pt x="20193" y="17145"/>
                    </a:cubicBezTo>
                    <a:cubicBezTo>
                      <a:pt x="17812" y="20383"/>
                      <a:pt x="16478" y="25051"/>
                      <a:pt x="16478" y="31051"/>
                    </a:cubicBezTo>
                    <a:cubicBezTo>
                      <a:pt x="16478" y="35052"/>
                      <a:pt x="17050" y="38481"/>
                      <a:pt x="18192" y="41338"/>
                    </a:cubicBezTo>
                    <a:cubicBezTo>
                      <a:pt x="19335" y="44196"/>
                      <a:pt x="20955" y="46387"/>
                      <a:pt x="22955" y="47815"/>
                    </a:cubicBezTo>
                    <a:cubicBezTo>
                      <a:pt x="24955" y="49244"/>
                      <a:pt x="27337" y="50006"/>
                      <a:pt x="30099" y="50006"/>
                    </a:cubicBezTo>
                    <a:cubicBezTo>
                      <a:pt x="34766" y="50006"/>
                      <a:pt x="38291" y="48387"/>
                      <a:pt x="40767" y="45053"/>
                    </a:cubicBezTo>
                    <a:close/>
                  </a:path>
                </a:pathLst>
              </a:custGeom>
              <a:solidFill>
                <a:srgbClr val="231F20"/>
              </a:solidFill>
              <a:ln w="9525" cap="flat">
                <a:noFill/>
                <a:prstDash val="solid"/>
                <a:miter/>
              </a:ln>
            </p:spPr>
            <p:txBody>
              <a:bodyPr rtlCol="0" anchor="ctr"/>
              <a:lstStyle/>
              <a:p>
                <a:pPr marL="0" marR="0" lvl="0" indent="0" algn="l" defTabSz="913578" rtl="0" eaLnBrk="1" fontAlgn="auto" latinLnBrk="0" hangingPunct="1">
                  <a:lnSpc>
                    <a:spcPct val="100000"/>
                  </a:lnSpc>
                  <a:spcBef>
                    <a:spcPts val="0"/>
                  </a:spcBef>
                  <a:spcAft>
                    <a:spcPts val="0"/>
                  </a:spcAft>
                  <a:buClrTx/>
                  <a:buSzTx/>
                  <a:buFontTx/>
                  <a:buNone/>
                  <a:tabLst/>
                  <a:defRPr/>
                </a:pPr>
                <a:endParaRPr kumimoji="0" lang="en-US" sz="17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319" name="Freeform: Shape 144">
                <a:extLst>
                  <a:ext uri="{FF2B5EF4-FFF2-40B4-BE49-F238E27FC236}">
                    <a16:creationId xmlns:a16="http://schemas.microsoft.com/office/drawing/2014/main" id="{734A5D6A-9D50-9EDA-1778-E5A15CE91C6C}"/>
                  </a:ext>
                </a:extLst>
              </p:cNvPr>
              <p:cNvSpPr/>
              <p:nvPr/>
            </p:nvSpPr>
            <p:spPr>
              <a:xfrm>
                <a:off x="7603712" y="4076414"/>
                <a:ext cx="55150" cy="61722"/>
              </a:xfrm>
              <a:custGeom>
                <a:avLst/>
                <a:gdLst>
                  <a:gd name="connsiteX0" fmla="*/ 381 w 55150"/>
                  <a:gd name="connsiteY0" fmla="*/ 14669 h 61722"/>
                  <a:gd name="connsiteX1" fmla="*/ 286 w 55150"/>
                  <a:gd name="connsiteY1" fmla="*/ 6763 h 61722"/>
                  <a:gd name="connsiteX2" fmla="*/ 0 w 55150"/>
                  <a:gd name="connsiteY2" fmla="*/ 1238 h 61722"/>
                  <a:gd name="connsiteX3" fmla="*/ 14954 w 55150"/>
                  <a:gd name="connsiteY3" fmla="*/ 1238 h 61722"/>
                  <a:gd name="connsiteX4" fmla="*/ 15430 w 55150"/>
                  <a:gd name="connsiteY4" fmla="*/ 6191 h 61722"/>
                  <a:gd name="connsiteX5" fmla="*/ 15716 w 55150"/>
                  <a:gd name="connsiteY5" fmla="*/ 12097 h 61722"/>
                  <a:gd name="connsiteX6" fmla="*/ 15907 w 55150"/>
                  <a:gd name="connsiteY6" fmla="*/ 12097 h 61722"/>
                  <a:gd name="connsiteX7" fmla="*/ 23908 w 55150"/>
                  <a:gd name="connsiteY7" fmla="*/ 2953 h 61722"/>
                  <a:gd name="connsiteX8" fmla="*/ 35338 w 55150"/>
                  <a:gd name="connsiteY8" fmla="*/ 0 h 61722"/>
                  <a:gd name="connsiteX9" fmla="*/ 50388 w 55150"/>
                  <a:gd name="connsiteY9" fmla="*/ 6382 h 61722"/>
                  <a:gd name="connsiteX10" fmla="*/ 55150 w 55150"/>
                  <a:gd name="connsiteY10" fmla="*/ 23336 h 61722"/>
                  <a:gd name="connsiteX11" fmla="*/ 55150 w 55150"/>
                  <a:gd name="connsiteY11" fmla="*/ 61627 h 61722"/>
                  <a:gd name="connsiteX12" fmla="*/ 39529 w 55150"/>
                  <a:gd name="connsiteY12" fmla="*/ 61627 h 61722"/>
                  <a:gd name="connsiteX13" fmla="*/ 39529 w 55150"/>
                  <a:gd name="connsiteY13" fmla="*/ 27813 h 61722"/>
                  <a:gd name="connsiteX14" fmla="*/ 37243 w 55150"/>
                  <a:gd name="connsiteY14" fmla="*/ 17240 h 61722"/>
                  <a:gd name="connsiteX15" fmla="*/ 29337 w 55150"/>
                  <a:gd name="connsiteY15" fmla="*/ 13526 h 61722"/>
                  <a:gd name="connsiteX16" fmla="*/ 22574 w 55150"/>
                  <a:gd name="connsiteY16" fmla="*/ 15526 h 61722"/>
                  <a:gd name="connsiteX17" fmla="*/ 17812 w 55150"/>
                  <a:gd name="connsiteY17" fmla="*/ 21146 h 61722"/>
                  <a:gd name="connsiteX18" fmla="*/ 16097 w 55150"/>
                  <a:gd name="connsiteY18" fmla="*/ 29337 h 61722"/>
                  <a:gd name="connsiteX19" fmla="*/ 16097 w 55150"/>
                  <a:gd name="connsiteY19" fmla="*/ 61722 h 61722"/>
                  <a:gd name="connsiteX20" fmla="*/ 381 w 55150"/>
                  <a:gd name="connsiteY20" fmla="*/ 61722 h 61722"/>
                  <a:gd name="connsiteX21" fmla="*/ 381 w 55150"/>
                  <a:gd name="connsiteY21" fmla="*/ 14859 h 61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5150" h="61722">
                    <a:moveTo>
                      <a:pt x="381" y="14669"/>
                    </a:moveTo>
                    <a:cubicBezTo>
                      <a:pt x="381" y="12097"/>
                      <a:pt x="381" y="9430"/>
                      <a:pt x="286" y="6763"/>
                    </a:cubicBezTo>
                    <a:cubicBezTo>
                      <a:pt x="191" y="4096"/>
                      <a:pt x="95" y="2191"/>
                      <a:pt x="0" y="1238"/>
                    </a:cubicBezTo>
                    <a:lnTo>
                      <a:pt x="14954" y="1238"/>
                    </a:lnTo>
                    <a:cubicBezTo>
                      <a:pt x="15145" y="2096"/>
                      <a:pt x="15240" y="3715"/>
                      <a:pt x="15430" y="6191"/>
                    </a:cubicBezTo>
                    <a:cubicBezTo>
                      <a:pt x="15621" y="8668"/>
                      <a:pt x="15716" y="10668"/>
                      <a:pt x="15716" y="12097"/>
                    </a:cubicBezTo>
                    <a:lnTo>
                      <a:pt x="15907" y="12097"/>
                    </a:lnTo>
                    <a:cubicBezTo>
                      <a:pt x="18002" y="8001"/>
                      <a:pt x="20670" y="4953"/>
                      <a:pt x="23908" y="2953"/>
                    </a:cubicBezTo>
                    <a:cubicBezTo>
                      <a:pt x="27147" y="953"/>
                      <a:pt x="30956" y="0"/>
                      <a:pt x="35338" y="0"/>
                    </a:cubicBezTo>
                    <a:cubicBezTo>
                      <a:pt x="42196" y="0"/>
                      <a:pt x="47244" y="2096"/>
                      <a:pt x="50388" y="6382"/>
                    </a:cubicBezTo>
                    <a:cubicBezTo>
                      <a:pt x="53530" y="10668"/>
                      <a:pt x="55150" y="16288"/>
                      <a:pt x="55150" y="23336"/>
                    </a:cubicBezTo>
                    <a:lnTo>
                      <a:pt x="55150" y="61627"/>
                    </a:lnTo>
                    <a:lnTo>
                      <a:pt x="39529" y="61627"/>
                    </a:lnTo>
                    <a:lnTo>
                      <a:pt x="39529" y="27813"/>
                    </a:lnTo>
                    <a:cubicBezTo>
                      <a:pt x="39529" y="23241"/>
                      <a:pt x="38767" y="19717"/>
                      <a:pt x="37243" y="17240"/>
                    </a:cubicBezTo>
                    <a:cubicBezTo>
                      <a:pt x="35719" y="14764"/>
                      <a:pt x="33052" y="13526"/>
                      <a:pt x="29337" y="13526"/>
                    </a:cubicBezTo>
                    <a:cubicBezTo>
                      <a:pt x="26765" y="13526"/>
                      <a:pt x="24575" y="14192"/>
                      <a:pt x="22574" y="15526"/>
                    </a:cubicBezTo>
                    <a:cubicBezTo>
                      <a:pt x="20574" y="16859"/>
                      <a:pt x="18955" y="18669"/>
                      <a:pt x="17812" y="21146"/>
                    </a:cubicBezTo>
                    <a:cubicBezTo>
                      <a:pt x="16669" y="23622"/>
                      <a:pt x="16097" y="26289"/>
                      <a:pt x="16097" y="29337"/>
                    </a:cubicBezTo>
                    <a:lnTo>
                      <a:pt x="16097" y="61722"/>
                    </a:lnTo>
                    <a:lnTo>
                      <a:pt x="381" y="61722"/>
                    </a:lnTo>
                    <a:lnTo>
                      <a:pt x="381" y="14859"/>
                    </a:lnTo>
                    <a:close/>
                  </a:path>
                </a:pathLst>
              </a:custGeom>
              <a:solidFill>
                <a:srgbClr val="231F20"/>
              </a:solidFill>
              <a:ln w="9525" cap="flat">
                <a:noFill/>
                <a:prstDash val="solid"/>
                <a:miter/>
              </a:ln>
            </p:spPr>
            <p:txBody>
              <a:bodyPr rtlCol="0" anchor="ctr"/>
              <a:lstStyle/>
              <a:p>
                <a:pPr marL="0" marR="0" lvl="0" indent="0" algn="l" defTabSz="913578" rtl="0" eaLnBrk="1" fontAlgn="auto" latinLnBrk="0" hangingPunct="1">
                  <a:lnSpc>
                    <a:spcPct val="100000"/>
                  </a:lnSpc>
                  <a:spcBef>
                    <a:spcPts val="0"/>
                  </a:spcBef>
                  <a:spcAft>
                    <a:spcPts val="0"/>
                  </a:spcAft>
                  <a:buClrTx/>
                  <a:buSzTx/>
                  <a:buFontTx/>
                  <a:buNone/>
                  <a:tabLst/>
                  <a:defRPr/>
                </a:pPr>
                <a:endParaRPr kumimoji="0" lang="en-US" sz="17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320" name="Freeform: Shape 145">
                <a:extLst>
                  <a:ext uri="{FF2B5EF4-FFF2-40B4-BE49-F238E27FC236}">
                    <a16:creationId xmlns:a16="http://schemas.microsoft.com/office/drawing/2014/main" id="{0E906153-EED2-096C-0BD5-8A26962DD996}"/>
                  </a:ext>
                </a:extLst>
              </p:cNvPr>
              <p:cNvSpPr/>
              <p:nvPr/>
            </p:nvSpPr>
            <p:spPr>
              <a:xfrm>
                <a:off x="7668672" y="4076414"/>
                <a:ext cx="50768" cy="62769"/>
              </a:xfrm>
              <a:custGeom>
                <a:avLst/>
                <a:gdLst>
                  <a:gd name="connsiteX0" fmla="*/ 11716 w 50768"/>
                  <a:gd name="connsiteY0" fmla="*/ 60579 h 62769"/>
                  <a:gd name="connsiteX1" fmla="*/ 0 w 50768"/>
                  <a:gd name="connsiteY1" fmla="*/ 54007 h 62769"/>
                  <a:gd name="connsiteX2" fmla="*/ 7048 w 50768"/>
                  <a:gd name="connsiteY2" fmla="*/ 43244 h 62769"/>
                  <a:gd name="connsiteX3" fmla="*/ 16383 w 50768"/>
                  <a:gd name="connsiteY3" fmla="*/ 49054 h 62769"/>
                  <a:gd name="connsiteX4" fmla="*/ 25622 w 50768"/>
                  <a:gd name="connsiteY4" fmla="*/ 50959 h 62769"/>
                  <a:gd name="connsiteX5" fmla="*/ 33338 w 50768"/>
                  <a:gd name="connsiteY5" fmla="*/ 49721 h 62769"/>
                  <a:gd name="connsiteX6" fmla="*/ 36100 w 50768"/>
                  <a:gd name="connsiteY6" fmla="*/ 45244 h 62769"/>
                  <a:gd name="connsiteX7" fmla="*/ 34671 w 50768"/>
                  <a:gd name="connsiteY7" fmla="*/ 41529 h 62769"/>
                  <a:gd name="connsiteX8" fmla="*/ 30956 w 50768"/>
                  <a:gd name="connsiteY8" fmla="*/ 39338 h 62769"/>
                  <a:gd name="connsiteX9" fmla="*/ 24575 w 50768"/>
                  <a:gd name="connsiteY9" fmla="*/ 37624 h 62769"/>
                  <a:gd name="connsiteX10" fmla="*/ 21622 w 50768"/>
                  <a:gd name="connsiteY10" fmla="*/ 36862 h 62769"/>
                  <a:gd name="connsiteX11" fmla="*/ 11525 w 50768"/>
                  <a:gd name="connsiteY11" fmla="*/ 33338 h 62769"/>
                  <a:gd name="connsiteX12" fmla="*/ 4953 w 50768"/>
                  <a:gd name="connsiteY12" fmla="*/ 27813 h 62769"/>
                  <a:gd name="connsiteX13" fmla="*/ 2381 w 50768"/>
                  <a:gd name="connsiteY13" fmla="*/ 18288 h 62769"/>
                  <a:gd name="connsiteX14" fmla="*/ 5144 w 50768"/>
                  <a:gd name="connsiteY14" fmla="*/ 8477 h 62769"/>
                  <a:gd name="connsiteX15" fmla="*/ 13145 w 50768"/>
                  <a:gd name="connsiteY15" fmla="*/ 2191 h 62769"/>
                  <a:gd name="connsiteX16" fmla="*/ 25908 w 50768"/>
                  <a:gd name="connsiteY16" fmla="*/ 0 h 62769"/>
                  <a:gd name="connsiteX17" fmla="*/ 38958 w 50768"/>
                  <a:gd name="connsiteY17" fmla="*/ 2191 h 62769"/>
                  <a:gd name="connsiteX18" fmla="*/ 49054 w 50768"/>
                  <a:gd name="connsiteY18" fmla="*/ 8763 h 62769"/>
                  <a:gd name="connsiteX19" fmla="*/ 41053 w 50768"/>
                  <a:gd name="connsiteY19" fmla="*/ 18002 h 62769"/>
                  <a:gd name="connsiteX20" fmla="*/ 26098 w 50768"/>
                  <a:gd name="connsiteY20" fmla="*/ 11716 h 62769"/>
                  <a:gd name="connsiteX21" fmla="*/ 16859 w 50768"/>
                  <a:gd name="connsiteY21" fmla="*/ 17050 h 62769"/>
                  <a:gd name="connsiteX22" fmla="*/ 18098 w 50768"/>
                  <a:gd name="connsiteY22" fmla="*/ 20288 h 62769"/>
                  <a:gd name="connsiteX23" fmla="*/ 21241 w 50768"/>
                  <a:gd name="connsiteY23" fmla="*/ 22193 h 62769"/>
                  <a:gd name="connsiteX24" fmla="*/ 26861 w 50768"/>
                  <a:gd name="connsiteY24" fmla="*/ 23717 h 62769"/>
                  <a:gd name="connsiteX25" fmla="*/ 29718 w 50768"/>
                  <a:gd name="connsiteY25" fmla="*/ 24384 h 62769"/>
                  <a:gd name="connsiteX26" fmla="*/ 40767 w 50768"/>
                  <a:gd name="connsiteY26" fmla="*/ 28004 h 62769"/>
                  <a:gd name="connsiteX27" fmla="*/ 47911 w 50768"/>
                  <a:gd name="connsiteY27" fmla="*/ 33814 h 62769"/>
                  <a:gd name="connsiteX28" fmla="*/ 50768 w 50768"/>
                  <a:gd name="connsiteY28" fmla="*/ 44005 h 62769"/>
                  <a:gd name="connsiteX29" fmla="*/ 47816 w 50768"/>
                  <a:gd name="connsiteY29" fmla="*/ 54007 h 62769"/>
                  <a:gd name="connsiteX30" fmla="*/ 39243 w 50768"/>
                  <a:gd name="connsiteY30" fmla="*/ 60484 h 62769"/>
                  <a:gd name="connsiteX31" fmla="*/ 25813 w 50768"/>
                  <a:gd name="connsiteY31" fmla="*/ 62770 h 62769"/>
                  <a:gd name="connsiteX32" fmla="*/ 11906 w 50768"/>
                  <a:gd name="connsiteY32" fmla="*/ 60674 h 62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50768" h="62769">
                    <a:moveTo>
                      <a:pt x="11716" y="60579"/>
                    </a:moveTo>
                    <a:cubicBezTo>
                      <a:pt x="7620" y="59246"/>
                      <a:pt x="3715" y="56960"/>
                      <a:pt x="0" y="54007"/>
                    </a:cubicBezTo>
                    <a:lnTo>
                      <a:pt x="7048" y="43244"/>
                    </a:lnTo>
                    <a:cubicBezTo>
                      <a:pt x="10383" y="45815"/>
                      <a:pt x="13526" y="47720"/>
                      <a:pt x="16383" y="49054"/>
                    </a:cubicBezTo>
                    <a:cubicBezTo>
                      <a:pt x="19241" y="50387"/>
                      <a:pt x="22289" y="50959"/>
                      <a:pt x="25622" y="50959"/>
                    </a:cubicBezTo>
                    <a:cubicBezTo>
                      <a:pt x="28956" y="50959"/>
                      <a:pt x="31528" y="50578"/>
                      <a:pt x="33338" y="49721"/>
                    </a:cubicBezTo>
                    <a:cubicBezTo>
                      <a:pt x="35147" y="48863"/>
                      <a:pt x="36100" y="47339"/>
                      <a:pt x="36100" y="45244"/>
                    </a:cubicBezTo>
                    <a:cubicBezTo>
                      <a:pt x="36100" y="43720"/>
                      <a:pt x="35623" y="42481"/>
                      <a:pt x="34671" y="41529"/>
                    </a:cubicBezTo>
                    <a:cubicBezTo>
                      <a:pt x="33719" y="40577"/>
                      <a:pt x="32481" y="39910"/>
                      <a:pt x="30956" y="39338"/>
                    </a:cubicBezTo>
                    <a:cubicBezTo>
                      <a:pt x="29433" y="38767"/>
                      <a:pt x="27337" y="38290"/>
                      <a:pt x="24575" y="37624"/>
                    </a:cubicBezTo>
                    <a:lnTo>
                      <a:pt x="21622" y="36862"/>
                    </a:lnTo>
                    <a:cubicBezTo>
                      <a:pt x="17526" y="35814"/>
                      <a:pt x="14192" y="34671"/>
                      <a:pt x="11525" y="33338"/>
                    </a:cubicBezTo>
                    <a:cubicBezTo>
                      <a:pt x="8858" y="32004"/>
                      <a:pt x="6668" y="30194"/>
                      <a:pt x="4953" y="27813"/>
                    </a:cubicBezTo>
                    <a:cubicBezTo>
                      <a:pt x="3239" y="25432"/>
                      <a:pt x="2381" y="22193"/>
                      <a:pt x="2381" y="18288"/>
                    </a:cubicBezTo>
                    <a:cubicBezTo>
                      <a:pt x="2381" y="14383"/>
                      <a:pt x="3334" y="11239"/>
                      <a:pt x="5144" y="8477"/>
                    </a:cubicBezTo>
                    <a:cubicBezTo>
                      <a:pt x="6954" y="5715"/>
                      <a:pt x="9620" y="3620"/>
                      <a:pt x="13145" y="2191"/>
                    </a:cubicBezTo>
                    <a:cubicBezTo>
                      <a:pt x="16669" y="762"/>
                      <a:pt x="20955" y="0"/>
                      <a:pt x="25908" y="0"/>
                    </a:cubicBezTo>
                    <a:cubicBezTo>
                      <a:pt x="30861" y="0"/>
                      <a:pt x="35052" y="762"/>
                      <a:pt x="38958" y="2191"/>
                    </a:cubicBezTo>
                    <a:cubicBezTo>
                      <a:pt x="42863" y="3620"/>
                      <a:pt x="46197" y="5810"/>
                      <a:pt x="49054" y="8763"/>
                    </a:cubicBezTo>
                    <a:lnTo>
                      <a:pt x="41053" y="18002"/>
                    </a:lnTo>
                    <a:cubicBezTo>
                      <a:pt x="36766" y="13811"/>
                      <a:pt x="31814" y="11716"/>
                      <a:pt x="26098" y="11716"/>
                    </a:cubicBezTo>
                    <a:cubicBezTo>
                      <a:pt x="19908" y="11716"/>
                      <a:pt x="16859" y="13526"/>
                      <a:pt x="16859" y="17050"/>
                    </a:cubicBezTo>
                    <a:cubicBezTo>
                      <a:pt x="16859" y="18383"/>
                      <a:pt x="17240" y="19526"/>
                      <a:pt x="18098" y="20288"/>
                    </a:cubicBezTo>
                    <a:cubicBezTo>
                      <a:pt x="18955" y="21050"/>
                      <a:pt x="19908" y="21717"/>
                      <a:pt x="21241" y="22193"/>
                    </a:cubicBezTo>
                    <a:cubicBezTo>
                      <a:pt x="22574" y="22670"/>
                      <a:pt x="24384" y="23146"/>
                      <a:pt x="26861" y="23717"/>
                    </a:cubicBezTo>
                    <a:lnTo>
                      <a:pt x="29718" y="24384"/>
                    </a:lnTo>
                    <a:cubicBezTo>
                      <a:pt x="34195" y="25527"/>
                      <a:pt x="37815" y="26670"/>
                      <a:pt x="40767" y="28004"/>
                    </a:cubicBezTo>
                    <a:cubicBezTo>
                      <a:pt x="43720" y="29337"/>
                      <a:pt x="46006" y="31242"/>
                      <a:pt x="47911" y="33814"/>
                    </a:cubicBezTo>
                    <a:cubicBezTo>
                      <a:pt x="49816" y="36386"/>
                      <a:pt x="50768" y="39814"/>
                      <a:pt x="50768" y="44005"/>
                    </a:cubicBezTo>
                    <a:cubicBezTo>
                      <a:pt x="50768" y="47815"/>
                      <a:pt x="49816" y="51149"/>
                      <a:pt x="47816" y="54007"/>
                    </a:cubicBezTo>
                    <a:cubicBezTo>
                      <a:pt x="45815" y="56864"/>
                      <a:pt x="43053" y="58960"/>
                      <a:pt x="39243" y="60484"/>
                    </a:cubicBezTo>
                    <a:cubicBezTo>
                      <a:pt x="35433" y="62008"/>
                      <a:pt x="31052" y="62770"/>
                      <a:pt x="25813" y="62770"/>
                    </a:cubicBezTo>
                    <a:cubicBezTo>
                      <a:pt x="20574" y="62770"/>
                      <a:pt x="16002" y="62103"/>
                      <a:pt x="11906" y="60674"/>
                    </a:cubicBezTo>
                    <a:close/>
                  </a:path>
                </a:pathLst>
              </a:custGeom>
              <a:solidFill>
                <a:srgbClr val="231F20"/>
              </a:solidFill>
              <a:ln w="9525" cap="flat">
                <a:noFill/>
                <a:prstDash val="solid"/>
                <a:miter/>
              </a:ln>
            </p:spPr>
            <p:txBody>
              <a:bodyPr rtlCol="0" anchor="ctr"/>
              <a:lstStyle/>
              <a:p>
                <a:pPr marL="0" marR="0" lvl="0" indent="0" algn="l" defTabSz="913578" rtl="0" eaLnBrk="1" fontAlgn="auto" latinLnBrk="0" hangingPunct="1">
                  <a:lnSpc>
                    <a:spcPct val="100000"/>
                  </a:lnSpc>
                  <a:spcBef>
                    <a:spcPts val="0"/>
                  </a:spcBef>
                  <a:spcAft>
                    <a:spcPts val="0"/>
                  </a:spcAft>
                  <a:buClrTx/>
                  <a:buSzTx/>
                  <a:buFontTx/>
                  <a:buNone/>
                  <a:tabLst/>
                  <a:defRPr/>
                </a:pPr>
                <a:endParaRPr kumimoji="0" lang="en-US" sz="17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321" name="Freeform: Shape 146">
                <a:extLst>
                  <a:ext uri="{FF2B5EF4-FFF2-40B4-BE49-F238E27FC236}">
                    <a16:creationId xmlns:a16="http://schemas.microsoft.com/office/drawing/2014/main" id="{208F5CC9-F934-8F5B-2ACE-2F4FBA24DF83}"/>
                  </a:ext>
                </a:extLst>
              </p:cNvPr>
              <p:cNvSpPr/>
              <p:nvPr/>
            </p:nvSpPr>
            <p:spPr>
              <a:xfrm>
                <a:off x="7730585" y="4055078"/>
                <a:ext cx="54768" cy="82867"/>
              </a:xfrm>
              <a:custGeom>
                <a:avLst/>
                <a:gdLst>
                  <a:gd name="connsiteX0" fmla="*/ 95 w 54768"/>
                  <a:gd name="connsiteY0" fmla="*/ 0 h 82867"/>
                  <a:gd name="connsiteX1" fmla="*/ 15812 w 54768"/>
                  <a:gd name="connsiteY1" fmla="*/ 0 h 82867"/>
                  <a:gd name="connsiteX2" fmla="*/ 15812 w 54768"/>
                  <a:gd name="connsiteY2" fmla="*/ 22669 h 82867"/>
                  <a:gd name="connsiteX3" fmla="*/ 15335 w 54768"/>
                  <a:gd name="connsiteY3" fmla="*/ 33338 h 82867"/>
                  <a:gd name="connsiteX4" fmla="*/ 15526 w 54768"/>
                  <a:gd name="connsiteY4" fmla="*/ 33338 h 82867"/>
                  <a:gd name="connsiteX5" fmla="*/ 23432 w 54768"/>
                  <a:gd name="connsiteY5" fmla="*/ 24193 h 82867"/>
                  <a:gd name="connsiteX6" fmla="*/ 34957 w 54768"/>
                  <a:gd name="connsiteY6" fmla="*/ 21336 h 82867"/>
                  <a:gd name="connsiteX7" fmla="*/ 50006 w 54768"/>
                  <a:gd name="connsiteY7" fmla="*/ 27622 h 82867"/>
                  <a:gd name="connsiteX8" fmla="*/ 54769 w 54768"/>
                  <a:gd name="connsiteY8" fmla="*/ 44577 h 82867"/>
                  <a:gd name="connsiteX9" fmla="*/ 54769 w 54768"/>
                  <a:gd name="connsiteY9" fmla="*/ 82867 h 82867"/>
                  <a:gd name="connsiteX10" fmla="*/ 39148 w 54768"/>
                  <a:gd name="connsiteY10" fmla="*/ 82867 h 82867"/>
                  <a:gd name="connsiteX11" fmla="*/ 39148 w 54768"/>
                  <a:gd name="connsiteY11" fmla="*/ 49054 h 82867"/>
                  <a:gd name="connsiteX12" fmla="*/ 36862 w 54768"/>
                  <a:gd name="connsiteY12" fmla="*/ 38576 h 82867"/>
                  <a:gd name="connsiteX13" fmla="*/ 28956 w 54768"/>
                  <a:gd name="connsiteY13" fmla="*/ 34862 h 82867"/>
                  <a:gd name="connsiteX14" fmla="*/ 22193 w 54768"/>
                  <a:gd name="connsiteY14" fmla="*/ 36862 h 82867"/>
                  <a:gd name="connsiteX15" fmla="*/ 17431 w 54768"/>
                  <a:gd name="connsiteY15" fmla="*/ 42386 h 82867"/>
                  <a:gd name="connsiteX16" fmla="*/ 15716 w 54768"/>
                  <a:gd name="connsiteY16" fmla="*/ 50482 h 82867"/>
                  <a:gd name="connsiteX17" fmla="*/ 15716 w 54768"/>
                  <a:gd name="connsiteY17" fmla="*/ 82867 h 82867"/>
                  <a:gd name="connsiteX18" fmla="*/ 0 w 54768"/>
                  <a:gd name="connsiteY18" fmla="*/ 82867 h 82867"/>
                  <a:gd name="connsiteX19" fmla="*/ 0 w 54768"/>
                  <a:gd name="connsiteY19" fmla="*/ 0 h 82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4768" h="82867">
                    <a:moveTo>
                      <a:pt x="95" y="0"/>
                    </a:moveTo>
                    <a:lnTo>
                      <a:pt x="15812" y="0"/>
                    </a:lnTo>
                    <a:lnTo>
                      <a:pt x="15812" y="22669"/>
                    </a:lnTo>
                    <a:cubicBezTo>
                      <a:pt x="15812" y="25241"/>
                      <a:pt x="15621" y="28765"/>
                      <a:pt x="15335" y="33338"/>
                    </a:cubicBezTo>
                    <a:lnTo>
                      <a:pt x="15526" y="33338"/>
                    </a:lnTo>
                    <a:cubicBezTo>
                      <a:pt x="17622" y="29242"/>
                      <a:pt x="20288" y="26194"/>
                      <a:pt x="23432" y="24193"/>
                    </a:cubicBezTo>
                    <a:cubicBezTo>
                      <a:pt x="26575" y="22193"/>
                      <a:pt x="30480" y="21336"/>
                      <a:pt x="34957" y="21336"/>
                    </a:cubicBezTo>
                    <a:cubicBezTo>
                      <a:pt x="41815" y="21336"/>
                      <a:pt x="46863" y="23431"/>
                      <a:pt x="50006" y="27622"/>
                    </a:cubicBezTo>
                    <a:cubicBezTo>
                      <a:pt x="53150" y="31813"/>
                      <a:pt x="54769" y="37433"/>
                      <a:pt x="54769" y="44577"/>
                    </a:cubicBezTo>
                    <a:lnTo>
                      <a:pt x="54769" y="82867"/>
                    </a:lnTo>
                    <a:lnTo>
                      <a:pt x="39148" y="82867"/>
                    </a:lnTo>
                    <a:lnTo>
                      <a:pt x="39148" y="49054"/>
                    </a:lnTo>
                    <a:cubicBezTo>
                      <a:pt x="39148" y="44482"/>
                      <a:pt x="38386" y="41053"/>
                      <a:pt x="36862" y="38576"/>
                    </a:cubicBezTo>
                    <a:cubicBezTo>
                      <a:pt x="35338" y="36100"/>
                      <a:pt x="32671" y="34862"/>
                      <a:pt x="28956" y="34862"/>
                    </a:cubicBezTo>
                    <a:cubicBezTo>
                      <a:pt x="26480" y="34862"/>
                      <a:pt x="24194" y="35528"/>
                      <a:pt x="22193" y="36862"/>
                    </a:cubicBezTo>
                    <a:cubicBezTo>
                      <a:pt x="20193" y="38195"/>
                      <a:pt x="18574" y="40005"/>
                      <a:pt x="17431" y="42386"/>
                    </a:cubicBezTo>
                    <a:cubicBezTo>
                      <a:pt x="16288" y="44767"/>
                      <a:pt x="15716" y="47434"/>
                      <a:pt x="15716" y="50482"/>
                    </a:cubicBezTo>
                    <a:lnTo>
                      <a:pt x="15716" y="82867"/>
                    </a:lnTo>
                    <a:lnTo>
                      <a:pt x="0" y="82867"/>
                    </a:lnTo>
                    <a:lnTo>
                      <a:pt x="0" y="0"/>
                    </a:lnTo>
                    <a:close/>
                  </a:path>
                </a:pathLst>
              </a:custGeom>
              <a:solidFill>
                <a:srgbClr val="231F20"/>
              </a:solidFill>
              <a:ln w="9525" cap="flat">
                <a:noFill/>
                <a:prstDash val="solid"/>
                <a:miter/>
              </a:ln>
            </p:spPr>
            <p:txBody>
              <a:bodyPr rtlCol="0" anchor="ctr"/>
              <a:lstStyle/>
              <a:p>
                <a:pPr marL="0" marR="0" lvl="0" indent="0" algn="l" defTabSz="913578" rtl="0" eaLnBrk="1" fontAlgn="auto" latinLnBrk="0" hangingPunct="1">
                  <a:lnSpc>
                    <a:spcPct val="100000"/>
                  </a:lnSpc>
                  <a:spcBef>
                    <a:spcPts val="0"/>
                  </a:spcBef>
                  <a:spcAft>
                    <a:spcPts val="0"/>
                  </a:spcAft>
                  <a:buClrTx/>
                  <a:buSzTx/>
                  <a:buFontTx/>
                  <a:buNone/>
                  <a:tabLst/>
                  <a:defRPr/>
                </a:pPr>
                <a:endParaRPr kumimoji="0" lang="en-US" sz="17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322" name="Freeform: Shape 147">
                <a:extLst>
                  <a:ext uri="{FF2B5EF4-FFF2-40B4-BE49-F238E27FC236}">
                    <a16:creationId xmlns:a16="http://schemas.microsoft.com/office/drawing/2014/main" id="{C0E9CAA5-8A73-F7D2-112C-6E9FD5CC310A}"/>
                  </a:ext>
                </a:extLst>
              </p:cNvPr>
              <p:cNvSpPr/>
              <p:nvPr/>
            </p:nvSpPr>
            <p:spPr>
              <a:xfrm>
                <a:off x="7799641" y="4051934"/>
                <a:ext cx="17526" cy="85915"/>
              </a:xfrm>
              <a:custGeom>
                <a:avLst/>
                <a:gdLst>
                  <a:gd name="connsiteX0" fmla="*/ 2381 w 17526"/>
                  <a:gd name="connsiteY0" fmla="*/ 15240 h 85915"/>
                  <a:gd name="connsiteX1" fmla="*/ 0 w 17526"/>
                  <a:gd name="connsiteY1" fmla="*/ 8858 h 85915"/>
                  <a:gd name="connsiteX2" fmla="*/ 2381 w 17526"/>
                  <a:gd name="connsiteY2" fmla="*/ 2381 h 85915"/>
                  <a:gd name="connsiteX3" fmla="*/ 8858 w 17526"/>
                  <a:gd name="connsiteY3" fmla="*/ 0 h 85915"/>
                  <a:gd name="connsiteX4" fmla="*/ 15145 w 17526"/>
                  <a:gd name="connsiteY4" fmla="*/ 2381 h 85915"/>
                  <a:gd name="connsiteX5" fmla="*/ 17526 w 17526"/>
                  <a:gd name="connsiteY5" fmla="*/ 8858 h 85915"/>
                  <a:gd name="connsiteX6" fmla="*/ 15145 w 17526"/>
                  <a:gd name="connsiteY6" fmla="*/ 15240 h 85915"/>
                  <a:gd name="connsiteX7" fmla="*/ 8858 w 17526"/>
                  <a:gd name="connsiteY7" fmla="*/ 17621 h 85915"/>
                  <a:gd name="connsiteX8" fmla="*/ 2381 w 17526"/>
                  <a:gd name="connsiteY8" fmla="*/ 15240 h 85915"/>
                  <a:gd name="connsiteX9" fmla="*/ 953 w 17526"/>
                  <a:gd name="connsiteY9" fmla="*/ 25622 h 85915"/>
                  <a:gd name="connsiteX10" fmla="*/ 16669 w 17526"/>
                  <a:gd name="connsiteY10" fmla="*/ 25622 h 85915"/>
                  <a:gd name="connsiteX11" fmla="*/ 16669 w 17526"/>
                  <a:gd name="connsiteY11" fmla="*/ 85916 h 85915"/>
                  <a:gd name="connsiteX12" fmla="*/ 953 w 17526"/>
                  <a:gd name="connsiteY12" fmla="*/ 85916 h 85915"/>
                  <a:gd name="connsiteX13" fmla="*/ 953 w 17526"/>
                  <a:gd name="connsiteY13" fmla="*/ 25622 h 85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7526" h="85915">
                    <a:moveTo>
                      <a:pt x="2381" y="15240"/>
                    </a:moveTo>
                    <a:cubicBezTo>
                      <a:pt x="858" y="13621"/>
                      <a:pt x="0" y="11525"/>
                      <a:pt x="0" y="8858"/>
                    </a:cubicBezTo>
                    <a:cubicBezTo>
                      <a:pt x="0" y="6191"/>
                      <a:pt x="762" y="4001"/>
                      <a:pt x="2381" y="2381"/>
                    </a:cubicBezTo>
                    <a:cubicBezTo>
                      <a:pt x="4001" y="762"/>
                      <a:pt x="6096" y="0"/>
                      <a:pt x="8858" y="0"/>
                    </a:cubicBezTo>
                    <a:cubicBezTo>
                      <a:pt x="11621" y="0"/>
                      <a:pt x="13621" y="762"/>
                      <a:pt x="15145" y="2381"/>
                    </a:cubicBezTo>
                    <a:cubicBezTo>
                      <a:pt x="16669" y="4001"/>
                      <a:pt x="17526" y="6096"/>
                      <a:pt x="17526" y="8858"/>
                    </a:cubicBezTo>
                    <a:cubicBezTo>
                      <a:pt x="17526" y="11621"/>
                      <a:pt x="16764" y="13621"/>
                      <a:pt x="15145" y="15240"/>
                    </a:cubicBezTo>
                    <a:cubicBezTo>
                      <a:pt x="13526" y="16859"/>
                      <a:pt x="11430" y="17621"/>
                      <a:pt x="8858" y="17621"/>
                    </a:cubicBezTo>
                    <a:cubicBezTo>
                      <a:pt x="6096" y="17621"/>
                      <a:pt x="3906" y="16859"/>
                      <a:pt x="2381" y="15240"/>
                    </a:cubicBezTo>
                    <a:close/>
                    <a:moveTo>
                      <a:pt x="953" y="25622"/>
                    </a:moveTo>
                    <a:lnTo>
                      <a:pt x="16669" y="25622"/>
                    </a:lnTo>
                    <a:lnTo>
                      <a:pt x="16669" y="85916"/>
                    </a:lnTo>
                    <a:lnTo>
                      <a:pt x="953" y="85916"/>
                    </a:lnTo>
                    <a:lnTo>
                      <a:pt x="953" y="25622"/>
                    </a:lnTo>
                    <a:close/>
                  </a:path>
                </a:pathLst>
              </a:custGeom>
              <a:solidFill>
                <a:srgbClr val="231F20"/>
              </a:solidFill>
              <a:ln w="9525" cap="flat">
                <a:noFill/>
                <a:prstDash val="solid"/>
                <a:miter/>
              </a:ln>
            </p:spPr>
            <p:txBody>
              <a:bodyPr rtlCol="0" anchor="ctr"/>
              <a:lstStyle/>
              <a:p>
                <a:pPr marL="0" marR="0" lvl="0" indent="0" algn="l" defTabSz="913578" rtl="0" eaLnBrk="1" fontAlgn="auto" latinLnBrk="0" hangingPunct="1">
                  <a:lnSpc>
                    <a:spcPct val="100000"/>
                  </a:lnSpc>
                  <a:spcBef>
                    <a:spcPts val="0"/>
                  </a:spcBef>
                  <a:spcAft>
                    <a:spcPts val="0"/>
                  </a:spcAft>
                  <a:buClrTx/>
                  <a:buSzTx/>
                  <a:buFontTx/>
                  <a:buNone/>
                  <a:tabLst/>
                  <a:defRPr/>
                </a:pPr>
                <a:endParaRPr kumimoji="0" lang="en-US" sz="17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323" name="Freeform: Shape 148">
                <a:extLst>
                  <a:ext uri="{FF2B5EF4-FFF2-40B4-BE49-F238E27FC236}">
                    <a16:creationId xmlns:a16="http://schemas.microsoft.com/office/drawing/2014/main" id="{C6AEDBA2-E076-6BE3-3A72-4CB357291575}"/>
                  </a:ext>
                </a:extLst>
              </p:cNvPr>
              <p:cNvSpPr/>
              <p:nvPr/>
            </p:nvSpPr>
            <p:spPr>
              <a:xfrm>
                <a:off x="7831835" y="4076318"/>
                <a:ext cx="58292" cy="85344"/>
              </a:xfrm>
              <a:custGeom>
                <a:avLst/>
                <a:gdLst>
                  <a:gd name="connsiteX0" fmla="*/ 476 w 58292"/>
                  <a:gd name="connsiteY0" fmla="*/ 15050 h 85344"/>
                  <a:gd name="connsiteX1" fmla="*/ 0 w 58292"/>
                  <a:gd name="connsiteY1" fmla="*/ 1238 h 85344"/>
                  <a:gd name="connsiteX2" fmla="*/ 15240 w 58292"/>
                  <a:gd name="connsiteY2" fmla="*/ 1238 h 85344"/>
                  <a:gd name="connsiteX3" fmla="*/ 15716 w 58292"/>
                  <a:gd name="connsiteY3" fmla="*/ 4763 h 85344"/>
                  <a:gd name="connsiteX4" fmla="*/ 15907 w 58292"/>
                  <a:gd name="connsiteY4" fmla="*/ 9906 h 85344"/>
                  <a:gd name="connsiteX5" fmla="*/ 16097 w 58292"/>
                  <a:gd name="connsiteY5" fmla="*/ 9906 h 85344"/>
                  <a:gd name="connsiteX6" fmla="*/ 35338 w 58292"/>
                  <a:gd name="connsiteY6" fmla="*/ 0 h 85344"/>
                  <a:gd name="connsiteX7" fmla="*/ 47816 w 58292"/>
                  <a:gd name="connsiteY7" fmla="*/ 4001 h 85344"/>
                  <a:gd name="connsiteX8" fmla="*/ 55626 w 58292"/>
                  <a:gd name="connsiteY8" fmla="*/ 14954 h 85344"/>
                  <a:gd name="connsiteX9" fmla="*/ 58293 w 58292"/>
                  <a:gd name="connsiteY9" fmla="*/ 31052 h 85344"/>
                  <a:gd name="connsiteX10" fmla="*/ 55436 w 58292"/>
                  <a:gd name="connsiteY10" fmla="*/ 47530 h 85344"/>
                  <a:gd name="connsiteX11" fmla="*/ 47054 w 58292"/>
                  <a:gd name="connsiteY11" fmla="*/ 58674 h 85344"/>
                  <a:gd name="connsiteX12" fmla="*/ 34004 w 58292"/>
                  <a:gd name="connsiteY12" fmla="*/ 62675 h 85344"/>
                  <a:gd name="connsiteX13" fmla="*/ 23622 w 58292"/>
                  <a:gd name="connsiteY13" fmla="*/ 60388 h 85344"/>
                  <a:gd name="connsiteX14" fmla="*/ 16193 w 58292"/>
                  <a:gd name="connsiteY14" fmla="*/ 53054 h 85344"/>
                  <a:gd name="connsiteX15" fmla="*/ 15812 w 58292"/>
                  <a:gd name="connsiteY15" fmla="*/ 53054 h 85344"/>
                  <a:gd name="connsiteX16" fmla="*/ 16002 w 58292"/>
                  <a:gd name="connsiteY16" fmla="*/ 56674 h 85344"/>
                  <a:gd name="connsiteX17" fmla="*/ 16097 w 58292"/>
                  <a:gd name="connsiteY17" fmla="*/ 62103 h 85344"/>
                  <a:gd name="connsiteX18" fmla="*/ 16097 w 58292"/>
                  <a:gd name="connsiteY18" fmla="*/ 85344 h 85344"/>
                  <a:gd name="connsiteX19" fmla="*/ 381 w 58292"/>
                  <a:gd name="connsiteY19" fmla="*/ 85344 h 85344"/>
                  <a:gd name="connsiteX20" fmla="*/ 381 w 58292"/>
                  <a:gd name="connsiteY20" fmla="*/ 15050 h 85344"/>
                  <a:gd name="connsiteX21" fmla="*/ 38481 w 58292"/>
                  <a:gd name="connsiteY21" fmla="*/ 45529 h 85344"/>
                  <a:gd name="connsiteX22" fmla="*/ 41910 w 58292"/>
                  <a:gd name="connsiteY22" fmla="*/ 31052 h 85344"/>
                  <a:gd name="connsiteX23" fmla="*/ 38576 w 58292"/>
                  <a:gd name="connsiteY23" fmla="*/ 17240 h 85344"/>
                  <a:gd name="connsiteX24" fmla="*/ 29433 w 58292"/>
                  <a:gd name="connsiteY24" fmla="*/ 12573 h 85344"/>
                  <a:gd name="connsiteX25" fmla="*/ 22860 w 58292"/>
                  <a:gd name="connsiteY25" fmla="*/ 14383 h 85344"/>
                  <a:gd name="connsiteX26" fmla="*/ 17907 w 58292"/>
                  <a:gd name="connsiteY26" fmla="*/ 20384 h 85344"/>
                  <a:gd name="connsiteX27" fmla="*/ 15907 w 58292"/>
                  <a:gd name="connsiteY27" fmla="*/ 31528 h 85344"/>
                  <a:gd name="connsiteX28" fmla="*/ 17812 w 58292"/>
                  <a:gd name="connsiteY28" fmla="*/ 42482 h 85344"/>
                  <a:gd name="connsiteX29" fmla="*/ 22765 w 58292"/>
                  <a:gd name="connsiteY29" fmla="*/ 48482 h 85344"/>
                  <a:gd name="connsiteX30" fmla="*/ 29242 w 58292"/>
                  <a:gd name="connsiteY30" fmla="*/ 50292 h 85344"/>
                  <a:gd name="connsiteX31" fmla="*/ 38386 w 58292"/>
                  <a:gd name="connsiteY31" fmla="*/ 45529 h 85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58292" h="85344">
                    <a:moveTo>
                      <a:pt x="476" y="15050"/>
                    </a:moveTo>
                    <a:cubicBezTo>
                      <a:pt x="476" y="9335"/>
                      <a:pt x="286" y="4763"/>
                      <a:pt x="0" y="1238"/>
                    </a:cubicBezTo>
                    <a:lnTo>
                      <a:pt x="15240" y="1238"/>
                    </a:lnTo>
                    <a:cubicBezTo>
                      <a:pt x="15240" y="1238"/>
                      <a:pt x="15526" y="2762"/>
                      <a:pt x="15716" y="4763"/>
                    </a:cubicBezTo>
                    <a:cubicBezTo>
                      <a:pt x="15907" y="6763"/>
                      <a:pt x="15907" y="8477"/>
                      <a:pt x="15907" y="9906"/>
                    </a:cubicBezTo>
                    <a:lnTo>
                      <a:pt x="16097" y="9906"/>
                    </a:lnTo>
                    <a:cubicBezTo>
                      <a:pt x="20098" y="3238"/>
                      <a:pt x="26480" y="0"/>
                      <a:pt x="35338" y="0"/>
                    </a:cubicBezTo>
                    <a:cubicBezTo>
                      <a:pt x="40196" y="0"/>
                      <a:pt x="44387" y="1334"/>
                      <a:pt x="47816" y="4001"/>
                    </a:cubicBezTo>
                    <a:cubicBezTo>
                      <a:pt x="51245" y="6668"/>
                      <a:pt x="53816" y="10287"/>
                      <a:pt x="55626" y="14954"/>
                    </a:cubicBezTo>
                    <a:cubicBezTo>
                      <a:pt x="57436" y="19621"/>
                      <a:pt x="58293" y="24955"/>
                      <a:pt x="58293" y="31052"/>
                    </a:cubicBezTo>
                    <a:cubicBezTo>
                      <a:pt x="58293" y="37147"/>
                      <a:pt x="57341" y="42672"/>
                      <a:pt x="55436" y="47530"/>
                    </a:cubicBezTo>
                    <a:cubicBezTo>
                      <a:pt x="53530" y="52388"/>
                      <a:pt x="50768" y="56007"/>
                      <a:pt x="47054" y="58674"/>
                    </a:cubicBezTo>
                    <a:cubicBezTo>
                      <a:pt x="43339" y="61341"/>
                      <a:pt x="39053" y="62675"/>
                      <a:pt x="34004" y="62675"/>
                    </a:cubicBezTo>
                    <a:cubicBezTo>
                      <a:pt x="30289" y="62675"/>
                      <a:pt x="26861" y="61913"/>
                      <a:pt x="23622" y="60388"/>
                    </a:cubicBezTo>
                    <a:cubicBezTo>
                      <a:pt x="20384" y="58865"/>
                      <a:pt x="18002" y="56388"/>
                      <a:pt x="16193" y="53054"/>
                    </a:cubicBezTo>
                    <a:lnTo>
                      <a:pt x="15812" y="53054"/>
                    </a:lnTo>
                    <a:cubicBezTo>
                      <a:pt x="15812" y="53054"/>
                      <a:pt x="16002" y="54674"/>
                      <a:pt x="16002" y="56674"/>
                    </a:cubicBezTo>
                    <a:cubicBezTo>
                      <a:pt x="16002" y="58674"/>
                      <a:pt x="16097" y="60484"/>
                      <a:pt x="16097" y="62103"/>
                    </a:cubicBezTo>
                    <a:lnTo>
                      <a:pt x="16097" y="85344"/>
                    </a:lnTo>
                    <a:lnTo>
                      <a:pt x="381" y="85344"/>
                    </a:lnTo>
                    <a:lnTo>
                      <a:pt x="381" y="15050"/>
                    </a:lnTo>
                    <a:close/>
                    <a:moveTo>
                      <a:pt x="38481" y="45529"/>
                    </a:moveTo>
                    <a:cubicBezTo>
                      <a:pt x="40767" y="42386"/>
                      <a:pt x="41910" y="37529"/>
                      <a:pt x="41910" y="31052"/>
                    </a:cubicBezTo>
                    <a:cubicBezTo>
                      <a:pt x="41910" y="24955"/>
                      <a:pt x="40767" y="20384"/>
                      <a:pt x="38576" y="17240"/>
                    </a:cubicBezTo>
                    <a:cubicBezTo>
                      <a:pt x="36386" y="14097"/>
                      <a:pt x="33338" y="12573"/>
                      <a:pt x="29433" y="12573"/>
                    </a:cubicBezTo>
                    <a:cubicBezTo>
                      <a:pt x="27051" y="12573"/>
                      <a:pt x="24860" y="13145"/>
                      <a:pt x="22860" y="14383"/>
                    </a:cubicBezTo>
                    <a:cubicBezTo>
                      <a:pt x="20860" y="15621"/>
                      <a:pt x="19145" y="17621"/>
                      <a:pt x="17907" y="20384"/>
                    </a:cubicBezTo>
                    <a:cubicBezTo>
                      <a:pt x="16669" y="23146"/>
                      <a:pt x="15907" y="26956"/>
                      <a:pt x="15907" y="31528"/>
                    </a:cubicBezTo>
                    <a:cubicBezTo>
                      <a:pt x="15907" y="36100"/>
                      <a:pt x="16573" y="39719"/>
                      <a:pt x="17812" y="42482"/>
                    </a:cubicBezTo>
                    <a:cubicBezTo>
                      <a:pt x="19050" y="45244"/>
                      <a:pt x="20764" y="47244"/>
                      <a:pt x="22765" y="48482"/>
                    </a:cubicBezTo>
                    <a:cubicBezTo>
                      <a:pt x="24765" y="49721"/>
                      <a:pt x="26956" y="50292"/>
                      <a:pt x="29242" y="50292"/>
                    </a:cubicBezTo>
                    <a:cubicBezTo>
                      <a:pt x="33052" y="50292"/>
                      <a:pt x="36100" y="48673"/>
                      <a:pt x="38386" y="45529"/>
                    </a:cubicBezTo>
                    <a:close/>
                  </a:path>
                </a:pathLst>
              </a:custGeom>
              <a:solidFill>
                <a:srgbClr val="231F20"/>
              </a:solidFill>
              <a:ln w="9525" cap="flat">
                <a:noFill/>
                <a:prstDash val="solid"/>
                <a:miter/>
              </a:ln>
            </p:spPr>
            <p:txBody>
              <a:bodyPr rtlCol="0" anchor="ctr"/>
              <a:lstStyle/>
              <a:p>
                <a:pPr marL="0" marR="0" lvl="0" indent="0" algn="l" defTabSz="913578" rtl="0" eaLnBrk="1" fontAlgn="auto" latinLnBrk="0" hangingPunct="1">
                  <a:lnSpc>
                    <a:spcPct val="100000"/>
                  </a:lnSpc>
                  <a:spcBef>
                    <a:spcPts val="0"/>
                  </a:spcBef>
                  <a:spcAft>
                    <a:spcPts val="0"/>
                  </a:spcAft>
                  <a:buClrTx/>
                  <a:buSzTx/>
                  <a:buFontTx/>
                  <a:buNone/>
                  <a:tabLst/>
                  <a:defRPr/>
                </a:pPr>
                <a:endParaRPr kumimoji="0" lang="en-US" sz="17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324" name="Freeform: Shape 149">
                <a:extLst>
                  <a:ext uri="{FF2B5EF4-FFF2-40B4-BE49-F238E27FC236}">
                    <a16:creationId xmlns:a16="http://schemas.microsoft.com/office/drawing/2014/main" id="{2F28D01A-C944-5D81-7935-6994F9297D5C}"/>
                  </a:ext>
                </a:extLst>
              </p:cNvPr>
              <p:cNvSpPr/>
              <p:nvPr/>
            </p:nvSpPr>
            <p:spPr>
              <a:xfrm>
                <a:off x="7230046" y="4213574"/>
                <a:ext cx="87058" cy="61722"/>
              </a:xfrm>
              <a:custGeom>
                <a:avLst/>
                <a:gdLst>
                  <a:gd name="connsiteX0" fmla="*/ 381 w 87058"/>
                  <a:gd name="connsiteY0" fmla="*/ 14669 h 61722"/>
                  <a:gd name="connsiteX1" fmla="*/ 286 w 87058"/>
                  <a:gd name="connsiteY1" fmla="*/ 6763 h 61722"/>
                  <a:gd name="connsiteX2" fmla="*/ 0 w 87058"/>
                  <a:gd name="connsiteY2" fmla="*/ 1238 h 61722"/>
                  <a:gd name="connsiteX3" fmla="*/ 14954 w 87058"/>
                  <a:gd name="connsiteY3" fmla="*/ 1238 h 61722"/>
                  <a:gd name="connsiteX4" fmla="*/ 15430 w 87058"/>
                  <a:gd name="connsiteY4" fmla="*/ 6191 h 61722"/>
                  <a:gd name="connsiteX5" fmla="*/ 15716 w 87058"/>
                  <a:gd name="connsiteY5" fmla="*/ 12097 h 61722"/>
                  <a:gd name="connsiteX6" fmla="*/ 15907 w 87058"/>
                  <a:gd name="connsiteY6" fmla="*/ 12097 h 61722"/>
                  <a:gd name="connsiteX7" fmla="*/ 23146 w 87058"/>
                  <a:gd name="connsiteY7" fmla="*/ 2953 h 61722"/>
                  <a:gd name="connsiteX8" fmla="*/ 33528 w 87058"/>
                  <a:gd name="connsiteY8" fmla="*/ 0 h 61722"/>
                  <a:gd name="connsiteX9" fmla="*/ 44577 w 87058"/>
                  <a:gd name="connsiteY9" fmla="*/ 3143 h 61722"/>
                  <a:gd name="connsiteX10" fmla="*/ 50292 w 87058"/>
                  <a:gd name="connsiteY10" fmla="*/ 12192 h 61722"/>
                  <a:gd name="connsiteX11" fmla="*/ 50673 w 87058"/>
                  <a:gd name="connsiteY11" fmla="*/ 12192 h 61722"/>
                  <a:gd name="connsiteX12" fmla="*/ 58102 w 87058"/>
                  <a:gd name="connsiteY12" fmla="*/ 2858 h 61722"/>
                  <a:gd name="connsiteX13" fmla="*/ 68961 w 87058"/>
                  <a:gd name="connsiteY13" fmla="*/ 95 h 61722"/>
                  <a:gd name="connsiteX14" fmla="*/ 82677 w 87058"/>
                  <a:gd name="connsiteY14" fmla="*/ 6477 h 61722"/>
                  <a:gd name="connsiteX15" fmla="*/ 87059 w 87058"/>
                  <a:gd name="connsiteY15" fmla="*/ 23431 h 61722"/>
                  <a:gd name="connsiteX16" fmla="*/ 87059 w 87058"/>
                  <a:gd name="connsiteY16" fmla="*/ 61722 h 61722"/>
                  <a:gd name="connsiteX17" fmla="*/ 71533 w 87058"/>
                  <a:gd name="connsiteY17" fmla="*/ 61722 h 61722"/>
                  <a:gd name="connsiteX18" fmla="*/ 71533 w 87058"/>
                  <a:gd name="connsiteY18" fmla="*/ 27908 h 61722"/>
                  <a:gd name="connsiteX19" fmla="*/ 69532 w 87058"/>
                  <a:gd name="connsiteY19" fmla="*/ 17431 h 61722"/>
                  <a:gd name="connsiteX20" fmla="*/ 62865 w 87058"/>
                  <a:gd name="connsiteY20" fmla="*/ 13716 h 61722"/>
                  <a:gd name="connsiteX21" fmla="*/ 57245 w 87058"/>
                  <a:gd name="connsiteY21" fmla="*/ 15621 h 61722"/>
                  <a:gd name="connsiteX22" fmla="*/ 53245 w 87058"/>
                  <a:gd name="connsiteY22" fmla="*/ 20860 h 61722"/>
                  <a:gd name="connsiteX23" fmla="*/ 51625 w 87058"/>
                  <a:gd name="connsiteY23" fmla="*/ 28575 h 61722"/>
                  <a:gd name="connsiteX24" fmla="*/ 51625 w 87058"/>
                  <a:gd name="connsiteY24" fmla="*/ 61722 h 61722"/>
                  <a:gd name="connsiteX25" fmla="*/ 36100 w 87058"/>
                  <a:gd name="connsiteY25" fmla="*/ 61722 h 61722"/>
                  <a:gd name="connsiteX26" fmla="*/ 36100 w 87058"/>
                  <a:gd name="connsiteY26" fmla="*/ 27908 h 61722"/>
                  <a:gd name="connsiteX27" fmla="*/ 34100 w 87058"/>
                  <a:gd name="connsiteY27" fmla="*/ 17431 h 61722"/>
                  <a:gd name="connsiteX28" fmla="*/ 27432 w 87058"/>
                  <a:gd name="connsiteY28" fmla="*/ 13716 h 61722"/>
                  <a:gd name="connsiteX29" fmla="*/ 21717 w 87058"/>
                  <a:gd name="connsiteY29" fmla="*/ 15716 h 61722"/>
                  <a:gd name="connsiteX30" fmla="*/ 17716 w 87058"/>
                  <a:gd name="connsiteY30" fmla="*/ 21241 h 61722"/>
                  <a:gd name="connsiteX31" fmla="*/ 16288 w 87058"/>
                  <a:gd name="connsiteY31" fmla="*/ 29337 h 61722"/>
                  <a:gd name="connsiteX32" fmla="*/ 16288 w 87058"/>
                  <a:gd name="connsiteY32" fmla="*/ 61722 h 61722"/>
                  <a:gd name="connsiteX33" fmla="*/ 571 w 87058"/>
                  <a:gd name="connsiteY33" fmla="*/ 61722 h 61722"/>
                  <a:gd name="connsiteX34" fmla="*/ 571 w 87058"/>
                  <a:gd name="connsiteY34" fmla="*/ 14859 h 61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87058" h="61722">
                    <a:moveTo>
                      <a:pt x="381" y="14669"/>
                    </a:moveTo>
                    <a:cubicBezTo>
                      <a:pt x="381" y="12097"/>
                      <a:pt x="381" y="9430"/>
                      <a:pt x="286" y="6763"/>
                    </a:cubicBezTo>
                    <a:cubicBezTo>
                      <a:pt x="191" y="4096"/>
                      <a:pt x="95" y="2191"/>
                      <a:pt x="0" y="1238"/>
                    </a:cubicBezTo>
                    <a:lnTo>
                      <a:pt x="14954" y="1238"/>
                    </a:lnTo>
                    <a:cubicBezTo>
                      <a:pt x="15145" y="2096"/>
                      <a:pt x="15240" y="3715"/>
                      <a:pt x="15430" y="6191"/>
                    </a:cubicBezTo>
                    <a:cubicBezTo>
                      <a:pt x="15621" y="8668"/>
                      <a:pt x="15716" y="10668"/>
                      <a:pt x="15716" y="12097"/>
                    </a:cubicBezTo>
                    <a:lnTo>
                      <a:pt x="15907" y="12097"/>
                    </a:lnTo>
                    <a:cubicBezTo>
                      <a:pt x="17812" y="8001"/>
                      <a:pt x="20193" y="4953"/>
                      <a:pt x="23146" y="2953"/>
                    </a:cubicBezTo>
                    <a:cubicBezTo>
                      <a:pt x="26098" y="953"/>
                      <a:pt x="29527" y="0"/>
                      <a:pt x="33528" y="0"/>
                    </a:cubicBezTo>
                    <a:cubicBezTo>
                      <a:pt x="38100" y="0"/>
                      <a:pt x="41720" y="1048"/>
                      <a:pt x="44577" y="3143"/>
                    </a:cubicBezTo>
                    <a:cubicBezTo>
                      <a:pt x="47434" y="5239"/>
                      <a:pt x="49339" y="8192"/>
                      <a:pt x="50292" y="12192"/>
                    </a:cubicBezTo>
                    <a:lnTo>
                      <a:pt x="50673" y="12192"/>
                    </a:lnTo>
                    <a:cubicBezTo>
                      <a:pt x="52674" y="7811"/>
                      <a:pt x="55245" y="4667"/>
                      <a:pt x="58102" y="2858"/>
                    </a:cubicBezTo>
                    <a:cubicBezTo>
                      <a:pt x="60960" y="1048"/>
                      <a:pt x="64675" y="95"/>
                      <a:pt x="68961" y="95"/>
                    </a:cubicBezTo>
                    <a:cubicBezTo>
                      <a:pt x="75248" y="95"/>
                      <a:pt x="79820" y="2191"/>
                      <a:pt x="82677" y="6477"/>
                    </a:cubicBezTo>
                    <a:cubicBezTo>
                      <a:pt x="85534" y="10763"/>
                      <a:pt x="87059" y="16383"/>
                      <a:pt x="87059" y="23431"/>
                    </a:cubicBezTo>
                    <a:lnTo>
                      <a:pt x="87059" y="61722"/>
                    </a:lnTo>
                    <a:lnTo>
                      <a:pt x="71533" y="61722"/>
                    </a:lnTo>
                    <a:lnTo>
                      <a:pt x="71533" y="27908"/>
                    </a:lnTo>
                    <a:cubicBezTo>
                      <a:pt x="71533" y="23336"/>
                      <a:pt x="70866" y="19907"/>
                      <a:pt x="69532" y="17431"/>
                    </a:cubicBezTo>
                    <a:cubicBezTo>
                      <a:pt x="68199" y="14954"/>
                      <a:pt x="66008" y="13716"/>
                      <a:pt x="62865" y="13716"/>
                    </a:cubicBezTo>
                    <a:cubicBezTo>
                      <a:pt x="60770" y="13716"/>
                      <a:pt x="58864" y="14383"/>
                      <a:pt x="57245" y="15621"/>
                    </a:cubicBezTo>
                    <a:cubicBezTo>
                      <a:pt x="55626" y="16859"/>
                      <a:pt x="54197" y="18574"/>
                      <a:pt x="53245" y="20860"/>
                    </a:cubicBezTo>
                    <a:cubicBezTo>
                      <a:pt x="52292" y="23146"/>
                      <a:pt x="51721" y="25718"/>
                      <a:pt x="51625" y="28575"/>
                    </a:cubicBezTo>
                    <a:lnTo>
                      <a:pt x="51625" y="61722"/>
                    </a:lnTo>
                    <a:lnTo>
                      <a:pt x="36100" y="61722"/>
                    </a:lnTo>
                    <a:lnTo>
                      <a:pt x="36100" y="27908"/>
                    </a:lnTo>
                    <a:cubicBezTo>
                      <a:pt x="36100" y="23336"/>
                      <a:pt x="35433" y="19907"/>
                      <a:pt x="34100" y="17431"/>
                    </a:cubicBezTo>
                    <a:cubicBezTo>
                      <a:pt x="32766" y="14954"/>
                      <a:pt x="30575" y="13716"/>
                      <a:pt x="27432" y="13716"/>
                    </a:cubicBezTo>
                    <a:cubicBezTo>
                      <a:pt x="25336" y="13716"/>
                      <a:pt x="23432" y="14383"/>
                      <a:pt x="21717" y="15716"/>
                    </a:cubicBezTo>
                    <a:cubicBezTo>
                      <a:pt x="20002" y="17050"/>
                      <a:pt x="18669" y="18860"/>
                      <a:pt x="17716" y="21241"/>
                    </a:cubicBezTo>
                    <a:cubicBezTo>
                      <a:pt x="16764" y="23622"/>
                      <a:pt x="16288" y="26289"/>
                      <a:pt x="16288" y="29337"/>
                    </a:cubicBezTo>
                    <a:lnTo>
                      <a:pt x="16288" y="61722"/>
                    </a:lnTo>
                    <a:lnTo>
                      <a:pt x="571" y="61722"/>
                    </a:lnTo>
                    <a:lnTo>
                      <a:pt x="571" y="14859"/>
                    </a:lnTo>
                    <a:close/>
                  </a:path>
                </a:pathLst>
              </a:custGeom>
              <a:solidFill>
                <a:srgbClr val="231F20"/>
              </a:solidFill>
              <a:ln w="9525" cap="flat">
                <a:noFill/>
                <a:prstDash val="solid"/>
                <a:miter/>
              </a:ln>
            </p:spPr>
            <p:txBody>
              <a:bodyPr rtlCol="0" anchor="ctr"/>
              <a:lstStyle/>
              <a:p>
                <a:pPr marL="0" marR="0" lvl="0" indent="0" algn="l" defTabSz="913578" rtl="0" eaLnBrk="1" fontAlgn="auto" latinLnBrk="0" hangingPunct="1">
                  <a:lnSpc>
                    <a:spcPct val="100000"/>
                  </a:lnSpc>
                  <a:spcBef>
                    <a:spcPts val="0"/>
                  </a:spcBef>
                  <a:spcAft>
                    <a:spcPts val="0"/>
                  </a:spcAft>
                  <a:buClrTx/>
                  <a:buSzTx/>
                  <a:buFontTx/>
                  <a:buNone/>
                  <a:tabLst/>
                  <a:defRPr/>
                </a:pPr>
                <a:endParaRPr kumimoji="0" lang="en-US" sz="17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325" name="Freeform: Shape 150">
                <a:extLst>
                  <a:ext uri="{FF2B5EF4-FFF2-40B4-BE49-F238E27FC236}">
                    <a16:creationId xmlns:a16="http://schemas.microsoft.com/office/drawing/2014/main" id="{C6F02231-8017-20C1-1CF7-E52671E8FC38}"/>
                  </a:ext>
                </a:extLst>
              </p:cNvPr>
              <p:cNvSpPr/>
              <p:nvPr/>
            </p:nvSpPr>
            <p:spPr>
              <a:xfrm>
                <a:off x="7327677" y="4213669"/>
                <a:ext cx="53149" cy="62674"/>
              </a:xfrm>
              <a:custGeom>
                <a:avLst/>
                <a:gdLst>
                  <a:gd name="connsiteX0" fmla="*/ 8954 w 53149"/>
                  <a:gd name="connsiteY0" fmla="*/ 60388 h 62674"/>
                  <a:gd name="connsiteX1" fmla="*/ 2381 w 53149"/>
                  <a:gd name="connsiteY1" fmla="*/ 54197 h 62674"/>
                  <a:gd name="connsiteX2" fmla="*/ 0 w 53149"/>
                  <a:gd name="connsiteY2" fmla="*/ 44387 h 62674"/>
                  <a:gd name="connsiteX3" fmla="*/ 6477 w 53149"/>
                  <a:gd name="connsiteY3" fmla="*/ 29813 h 62674"/>
                  <a:gd name="connsiteX4" fmla="*/ 23908 w 53149"/>
                  <a:gd name="connsiteY4" fmla="*/ 25051 h 62674"/>
                  <a:gd name="connsiteX5" fmla="*/ 36957 w 53149"/>
                  <a:gd name="connsiteY5" fmla="*/ 24860 h 62674"/>
                  <a:gd name="connsiteX6" fmla="*/ 36957 w 53149"/>
                  <a:gd name="connsiteY6" fmla="*/ 22003 h 62674"/>
                  <a:gd name="connsiteX7" fmla="*/ 34290 w 53149"/>
                  <a:gd name="connsiteY7" fmla="*/ 14288 h 62674"/>
                  <a:gd name="connsiteX8" fmla="*/ 27051 w 53149"/>
                  <a:gd name="connsiteY8" fmla="*/ 12097 h 62674"/>
                  <a:gd name="connsiteX9" fmla="*/ 10763 w 53149"/>
                  <a:gd name="connsiteY9" fmla="*/ 19431 h 62674"/>
                  <a:gd name="connsiteX10" fmla="*/ 3334 w 53149"/>
                  <a:gd name="connsiteY10" fmla="*/ 9620 h 62674"/>
                  <a:gd name="connsiteX11" fmla="*/ 27908 w 53149"/>
                  <a:gd name="connsiteY11" fmla="*/ 0 h 62674"/>
                  <a:gd name="connsiteX12" fmla="*/ 46196 w 53149"/>
                  <a:gd name="connsiteY12" fmla="*/ 5620 h 62674"/>
                  <a:gd name="connsiteX13" fmla="*/ 52674 w 53149"/>
                  <a:gd name="connsiteY13" fmla="*/ 21622 h 62674"/>
                  <a:gd name="connsiteX14" fmla="*/ 52674 w 53149"/>
                  <a:gd name="connsiteY14" fmla="*/ 43720 h 62674"/>
                  <a:gd name="connsiteX15" fmla="*/ 53150 w 53149"/>
                  <a:gd name="connsiteY15" fmla="*/ 61531 h 62674"/>
                  <a:gd name="connsiteX16" fmla="*/ 38291 w 53149"/>
                  <a:gd name="connsiteY16" fmla="*/ 61531 h 62674"/>
                  <a:gd name="connsiteX17" fmla="*/ 37909 w 53149"/>
                  <a:gd name="connsiteY17" fmla="*/ 53054 h 62674"/>
                  <a:gd name="connsiteX18" fmla="*/ 37529 w 53149"/>
                  <a:gd name="connsiteY18" fmla="*/ 53054 h 62674"/>
                  <a:gd name="connsiteX19" fmla="*/ 29813 w 53149"/>
                  <a:gd name="connsiteY19" fmla="*/ 60198 h 62674"/>
                  <a:gd name="connsiteX20" fmla="*/ 18765 w 53149"/>
                  <a:gd name="connsiteY20" fmla="*/ 62674 h 62674"/>
                  <a:gd name="connsiteX21" fmla="*/ 8954 w 53149"/>
                  <a:gd name="connsiteY21" fmla="*/ 60579 h 62674"/>
                  <a:gd name="connsiteX22" fmla="*/ 30575 w 53149"/>
                  <a:gd name="connsiteY22" fmla="*/ 48768 h 62674"/>
                  <a:gd name="connsiteX23" fmla="*/ 35338 w 53149"/>
                  <a:gd name="connsiteY23" fmla="*/ 43910 h 62674"/>
                  <a:gd name="connsiteX24" fmla="*/ 37052 w 53149"/>
                  <a:gd name="connsiteY24" fmla="*/ 37529 h 62674"/>
                  <a:gd name="connsiteX25" fmla="*/ 37052 w 53149"/>
                  <a:gd name="connsiteY25" fmla="*/ 34480 h 62674"/>
                  <a:gd name="connsiteX26" fmla="*/ 28956 w 53149"/>
                  <a:gd name="connsiteY26" fmla="*/ 34480 h 62674"/>
                  <a:gd name="connsiteX27" fmla="*/ 22289 w 53149"/>
                  <a:gd name="connsiteY27" fmla="*/ 35433 h 62674"/>
                  <a:gd name="connsiteX28" fmla="*/ 18098 w 53149"/>
                  <a:gd name="connsiteY28" fmla="*/ 37814 h 62674"/>
                  <a:gd name="connsiteX29" fmla="*/ 16478 w 53149"/>
                  <a:gd name="connsiteY29" fmla="*/ 43053 h 62674"/>
                  <a:gd name="connsiteX30" fmla="*/ 18479 w 53149"/>
                  <a:gd name="connsiteY30" fmla="*/ 48673 h 62674"/>
                  <a:gd name="connsiteX31" fmla="*/ 23813 w 53149"/>
                  <a:gd name="connsiteY31" fmla="*/ 50578 h 62674"/>
                  <a:gd name="connsiteX32" fmla="*/ 30671 w 53149"/>
                  <a:gd name="connsiteY32" fmla="*/ 48768 h 626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53149" h="62674">
                    <a:moveTo>
                      <a:pt x="8954" y="60388"/>
                    </a:moveTo>
                    <a:cubicBezTo>
                      <a:pt x="6191" y="58960"/>
                      <a:pt x="4000" y="56864"/>
                      <a:pt x="2381" y="54197"/>
                    </a:cubicBezTo>
                    <a:cubicBezTo>
                      <a:pt x="762" y="51530"/>
                      <a:pt x="0" y="48196"/>
                      <a:pt x="0" y="44387"/>
                    </a:cubicBezTo>
                    <a:cubicBezTo>
                      <a:pt x="0" y="37719"/>
                      <a:pt x="2191" y="32861"/>
                      <a:pt x="6477" y="29813"/>
                    </a:cubicBezTo>
                    <a:cubicBezTo>
                      <a:pt x="10763" y="26765"/>
                      <a:pt x="16573" y="25241"/>
                      <a:pt x="23908" y="25051"/>
                    </a:cubicBezTo>
                    <a:lnTo>
                      <a:pt x="36957" y="24860"/>
                    </a:lnTo>
                    <a:lnTo>
                      <a:pt x="36957" y="22003"/>
                    </a:lnTo>
                    <a:cubicBezTo>
                      <a:pt x="36957" y="18288"/>
                      <a:pt x="36100" y="15716"/>
                      <a:pt x="34290" y="14288"/>
                    </a:cubicBezTo>
                    <a:cubicBezTo>
                      <a:pt x="32480" y="12859"/>
                      <a:pt x="30099" y="12097"/>
                      <a:pt x="27051" y="12097"/>
                    </a:cubicBezTo>
                    <a:cubicBezTo>
                      <a:pt x="21717" y="12097"/>
                      <a:pt x="16288" y="14573"/>
                      <a:pt x="10763" y="19431"/>
                    </a:cubicBezTo>
                    <a:lnTo>
                      <a:pt x="3334" y="9620"/>
                    </a:lnTo>
                    <a:cubicBezTo>
                      <a:pt x="10573" y="3238"/>
                      <a:pt x="18765" y="0"/>
                      <a:pt x="27908" y="0"/>
                    </a:cubicBezTo>
                    <a:cubicBezTo>
                      <a:pt x="35719" y="0"/>
                      <a:pt x="41815" y="1905"/>
                      <a:pt x="46196" y="5620"/>
                    </a:cubicBezTo>
                    <a:cubicBezTo>
                      <a:pt x="50578" y="9334"/>
                      <a:pt x="52674" y="14669"/>
                      <a:pt x="52674" y="21622"/>
                    </a:cubicBezTo>
                    <a:lnTo>
                      <a:pt x="52674" y="43720"/>
                    </a:lnTo>
                    <a:cubicBezTo>
                      <a:pt x="52674" y="50387"/>
                      <a:pt x="52864" y="56293"/>
                      <a:pt x="53150" y="61531"/>
                    </a:cubicBezTo>
                    <a:lnTo>
                      <a:pt x="38291" y="61531"/>
                    </a:lnTo>
                    <a:cubicBezTo>
                      <a:pt x="38005" y="58864"/>
                      <a:pt x="37909" y="56102"/>
                      <a:pt x="37909" y="53054"/>
                    </a:cubicBezTo>
                    <a:lnTo>
                      <a:pt x="37529" y="53054"/>
                    </a:lnTo>
                    <a:cubicBezTo>
                      <a:pt x="35528" y="56102"/>
                      <a:pt x="32957" y="58483"/>
                      <a:pt x="29813" y="60198"/>
                    </a:cubicBezTo>
                    <a:cubicBezTo>
                      <a:pt x="26670" y="61913"/>
                      <a:pt x="22955" y="62674"/>
                      <a:pt x="18765" y="62674"/>
                    </a:cubicBezTo>
                    <a:cubicBezTo>
                      <a:pt x="15050" y="62674"/>
                      <a:pt x="11811" y="62008"/>
                      <a:pt x="8954" y="60579"/>
                    </a:cubicBezTo>
                    <a:close/>
                    <a:moveTo>
                      <a:pt x="30575" y="48768"/>
                    </a:moveTo>
                    <a:cubicBezTo>
                      <a:pt x="32575" y="47530"/>
                      <a:pt x="34195" y="45911"/>
                      <a:pt x="35338" y="43910"/>
                    </a:cubicBezTo>
                    <a:cubicBezTo>
                      <a:pt x="36481" y="41910"/>
                      <a:pt x="37052" y="39814"/>
                      <a:pt x="37052" y="37529"/>
                    </a:cubicBezTo>
                    <a:lnTo>
                      <a:pt x="37052" y="34480"/>
                    </a:lnTo>
                    <a:lnTo>
                      <a:pt x="28956" y="34480"/>
                    </a:lnTo>
                    <a:cubicBezTo>
                      <a:pt x="26194" y="34766"/>
                      <a:pt x="24003" y="35052"/>
                      <a:pt x="22289" y="35433"/>
                    </a:cubicBezTo>
                    <a:cubicBezTo>
                      <a:pt x="20574" y="35814"/>
                      <a:pt x="19145" y="36576"/>
                      <a:pt x="18098" y="37814"/>
                    </a:cubicBezTo>
                    <a:cubicBezTo>
                      <a:pt x="17050" y="39053"/>
                      <a:pt x="16478" y="40767"/>
                      <a:pt x="16478" y="43053"/>
                    </a:cubicBezTo>
                    <a:cubicBezTo>
                      <a:pt x="16478" y="45339"/>
                      <a:pt x="17145" y="47339"/>
                      <a:pt x="18479" y="48673"/>
                    </a:cubicBezTo>
                    <a:cubicBezTo>
                      <a:pt x="19812" y="50006"/>
                      <a:pt x="21622" y="50578"/>
                      <a:pt x="23813" y="50578"/>
                    </a:cubicBezTo>
                    <a:cubicBezTo>
                      <a:pt x="26384" y="50578"/>
                      <a:pt x="28670" y="50006"/>
                      <a:pt x="30671" y="48768"/>
                    </a:cubicBezTo>
                    <a:close/>
                  </a:path>
                </a:pathLst>
              </a:custGeom>
              <a:solidFill>
                <a:srgbClr val="231F20"/>
              </a:solidFill>
              <a:ln w="9525" cap="flat">
                <a:noFill/>
                <a:prstDash val="solid"/>
                <a:miter/>
              </a:ln>
            </p:spPr>
            <p:txBody>
              <a:bodyPr rtlCol="0" anchor="ctr"/>
              <a:lstStyle/>
              <a:p>
                <a:pPr marL="0" marR="0" lvl="0" indent="0" algn="l" defTabSz="913578" rtl="0" eaLnBrk="1" fontAlgn="auto" latinLnBrk="0" hangingPunct="1">
                  <a:lnSpc>
                    <a:spcPct val="100000"/>
                  </a:lnSpc>
                  <a:spcBef>
                    <a:spcPts val="0"/>
                  </a:spcBef>
                  <a:spcAft>
                    <a:spcPts val="0"/>
                  </a:spcAft>
                  <a:buClrTx/>
                  <a:buSzTx/>
                  <a:buFontTx/>
                  <a:buNone/>
                  <a:tabLst/>
                  <a:defRPr/>
                </a:pPr>
                <a:endParaRPr kumimoji="0" lang="en-US" sz="17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326" name="Freeform: Shape 151">
                <a:extLst>
                  <a:ext uri="{FF2B5EF4-FFF2-40B4-BE49-F238E27FC236}">
                    <a16:creationId xmlns:a16="http://schemas.microsoft.com/office/drawing/2014/main" id="{52DCF7B4-223C-B148-870B-E9EDE024409E}"/>
                  </a:ext>
                </a:extLst>
              </p:cNvPr>
              <p:cNvSpPr/>
              <p:nvPr/>
            </p:nvSpPr>
            <p:spPr>
              <a:xfrm>
                <a:off x="7395210" y="4213574"/>
                <a:ext cx="55149" cy="61722"/>
              </a:xfrm>
              <a:custGeom>
                <a:avLst/>
                <a:gdLst>
                  <a:gd name="connsiteX0" fmla="*/ 381 w 55149"/>
                  <a:gd name="connsiteY0" fmla="*/ 14669 h 61722"/>
                  <a:gd name="connsiteX1" fmla="*/ 285 w 55149"/>
                  <a:gd name="connsiteY1" fmla="*/ 6763 h 61722"/>
                  <a:gd name="connsiteX2" fmla="*/ 0 w 55149"/>
                  <a:gd name="connsiteY2" fmla="*/ 1238 h 61722"/>
                  <a:gd name="connsiteX3" fmla="*/ 14954 w 55149"/>
                  <a:gd name="connsiteY3" fmla="*/ 1238 h 61722"/>
                  <a:gd name="connsiteX4" fmla="*/ 15430 w 55149"/>
                  <a:gd name="connsiteY4" fmla="*/ 6191 h 61722"/>
                  <a:gd name="connsiteX5" fmla="*/ 15716 w 55149"/>
                  <a:gd name="connsiteY5" fmla="*/ 12097 h 61722"/>
                  <a:gd name="connsiteX6" fmla="*/ 15907 w 55149"/>
                  <a:gd name="connsiteY6" fmla="*/ 12097 h 61722"/>
                  <a:gd name="connsiteX7" fmla="*/ 23907 w 55149"/>
                  <a:gd name="connsiteY7" fmla="*/ 2953 h 61722"/>
                  <a:gd name="connsiteX8" fmla="*/ 35337 w 55149"/>
                  <a:gd name="connsiteY8" fmla="*/ 0 h 61722"/>
                  <a:gd name="connsiteX9" fmla="*/ 50387 w 55149"/>
                  <a:gd name="connsiteY9" fmla="*/ 6382 h 61722"/>
                  <a:gd name="connsiteX10" fmla="*/ 55150 w 55149"/>
                  <a:gd name="connsiteY10" fmla="*/ 23336 h 61722"/>
                  <a:gd name="connsiteX11" fmla="*/ 55150 w 55149"/>
                  <a:gd name="connsiteY11" fmla="*/ 61627 h 61722"/>
                  <a:gd name="connsiteX12" fmla="*/ 39528 w 55149"/>
                  <a:gd name="connsiteY12" fmla="*/ 61627 h 61722"/>
                  <a:gd name="connsiteX13" fmla="*/ 39528 w 55149"/>
                  <a:gd name="connsiteY13" fmla="*/ 27813 h 61722"/>
                  <a:gd name="connsiteX14" fmla="*/ 37242 w 55149"/>
                  <a:gd name="connsiteY14" fmla="*/ 17240 h 61722"/>
                  <a:gd name="connsiteX15" fmla="*/ 29337 w 55149"/>
                  <a:gd name="connsiteY15" fmla="*/ 13526 h 61722"/>
                  <a:gd name="connsiteX16" fmla="*/ 22574 w 55149"/>
                  <a:gd name="connsiteY16" fmla="*/ 15526 h 61722"/>
                  <a:gd name="connsiteX17" fmla="*/ 17812 w 55149"/>
                  <a:gd name="connsiteY17" fmla="*/ 21146 h 61722"/>
                  <a:gd name="connsiteX18" fmla="*/ 16097 w 55149"/>
                  <a:gd name="connsiteY18" fmla="*/ 29337 h 61722"/>
                  <a:gd name="connsiteX19" fmla="*/ 16097 w 55149"/>
                  <a:gd name="connsiteY19" fmla="*/ 61722 h 61722"/>
                  <a:gd name="connsiteX20" fmla="*/ 381 w 55149"/>
                  <a:gd name="connsiteY20" fmla="*/ 61722 h 61722"/>
                  <a:gd name="connsiteX21" fmla="*/ 381 w 55149"/>
                  <a:gd name="connsiteY21" fmla="*/ 14859 h 61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5149" h="61722">
                    <a:moveTo>
                      <a:pt x="381" y="14669"/>
                    </a:moveTo>
                    <a:cubicBezTo>
                      <a:pt x="381" y="12097"/>
                      <a:pt x="381" y="9430"/>
                      <a:pt x="285" y="6763"/>
                    </a:cubicBezTo>
                    <a:cubicBezTo>
                      <a:pt x="190" y="4096"/>
                      <a:pt x="95" y="2191"/>
                      <a:pt x="0" y="1238"/>
                    </a:cubicBezTo>
                    <a:lnTo>
                      <a:pt x="14954" y="1238"/>
                    </a:lnTo>
                    <a:cubicBezTo>
                      <a:pt x="15144" y="2096"/>
                      <a:pt x="15240" y="3715"/>
                      <a:pt x="15430" y="6191"/>
                    </a:cubicBezTo>
                    <a:cubicBezTo>
                      <a:pt x="15621" y="8668"/>
                      <a:pt x="15716" y="10668"/>
                      <a:pt x="15716" y="12097"/>
                    </a:cubicBezTo>
                    <a:lnTo>
                      <a:pt x="15907" y="12097"/>
                    </a:lnTo>
                    <a:cubicBezTo>
                      <a:pt x="18002" y="8001"/>
                      <a:pt x="20669" y="4953"/>
                      <a:pt x="23907" y="2953"/>
                    </a:cubicBezTo>
                    <a:cubicBezTo>
                      <a:pt x="27146" y="953"/>
                      <a:pt x="30956" y="0"/>
                      <a:pt x="35337" y="0"/>
                    </a:cubicBezTo>
                    <a:cubicBezTo>
                      <a:pt x="42196" y="0"/>
                      <a:pt x="47244" y="2096"/>
                      <a:pt x="50387" y="6382"/>
                    </a:cubicBezTo>
                    <a:cubicBezTo>
                      <a:pt x="53530" y="10668"/>
                      <a:pt x="55150" y="16288"/>
                      <a:pt x="55150" y="23336"/>
                    </a:cubicBezTo>
                    <a:lnTo>
                      <a:pt x="55150" y="61627"/>
                    </a:lnTo>
                    <a:lnTo>
                      <a:pt x="39528" y="61627"/>
                    </a:lnTo>
                    <a:lnTo>
                      <a:pt x="39528" y="27813"/>
                    </a:lnTo>
                    <a:cubicBezTo>
                      <a:pt x="39528" y="23241"/>
                      <a:pt x="38766" y="19717"/>
                      <a:pt x="37242" y="17240"/>
                    </a:cubicBezTo>
                    <a:cubicBezTo>
                      <a:pt x="35719" y="14764"/>
                      <a:pt x="33051" y="13526"/>
                      <a:pt x="29337" y="13526"/>
                    </a:cubicBezTo>
                    <a:cubicBezTo>
                      <a:pt x="26765" y="13526"/>
                      <a:pt x="24574" y="14192"/>
                      <a:pt x="22574" y="15526"/>
                    </a:cubicBezTo>
                    <a:cubicBezTo>
                      <a:pt x="20574" y="16859"/>
                      <a:pt x="18955" y="18669"/>
                      <a:pt x="17812" y="21146"/>
                    </a:cubicBezTo>
                    <a:cubicBezTo>
                      <a:pt x="16669" y="23622"/>
                      <a:pt x="16097" y="26289"/>
                      <a:pt x="16097" y="29337"/>
                    </a:cubicBezTo>
                    <a:lnTo>
                      <a:pt x="16097" y="61722"/>
                    </a:lnTo>
                    <a:lnTo>
                      <a:pt x="381" y="61722"/>
                    </a:lnTo>
                    <a:lnTo>
                      <a:pt x="381" y="14859"/>
                    </a:lnTo>
                    <a:close/>
                  </a:path>
                </a:pathLst>
              </a:custGeom>
              <a:solidFill>
                <a:srgbClr val="231F20"/>
              </a:solidFill>
              <a:ln w="9525" cap="flat">
                <a:noFill/>
                <a:prstDash val="solid"/>
                <a:miter/>
              </a:ln>
            </p:spPr>
            <p:txBody>
              <a:bodyPr rtlCol="0" anchor="ctr"/>
              <a:lstStyle/>
              <a:p>
                <a:pPr marL="0" marR="0" lvl="0" indent="0" algn="l" defTabSz="913578" rtl="0" eaLnBrk="1" fontAlgn="auto" latinLnBrk="0" hangingPunct="1">
                  <a:lnSpc>
                    <a:spcPct val="100000"/>
                  </a:lnSpc>
                  <a:spcBef>
                    <a:spcPts val="0"/>
                  </a:spcBef>
                  <a:spcAft>
                    <a:spcPts val="0"/>
                  </a:spcAft>
                  <a:buClrTx/>
                  <a:buSzTx/>
                  <a:buFontTx/>
                  <a:buNone/>
                  <a:tabLst/>
                  <a:defRPr/>
                </a:pPr>
                <a:endParaRPr kumimoji="0" lang="en-US" sz="17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327" name="Freeform: Shape 152">
                <a:extLst>
                  <a:ext uri="{FF2B5EF4-FFF2-40B4-BE49-F238E27FC236}">
                    <a16:creationId xmlns:a16="http://schemas.microsoft.com/office/drawing/2014/main" id="{8D4B4B99-EF89-4CBA-4B4C-022783318E1C}"/>
                  </a:ext>
                </a:extLst>
              </p:cNvPr>
              <p:cNvSpPr/>
              <p:nvPr/>
            </p:nvSpPr>
            <p:spPr>
              <a:xfrm>
                <a:off x="7461027" y="4213669"/>
                <a:ext cx="53149" cy="62674"/>
              </a:xfrm>
              <a:custGeom>
                <a:avLst/>
                <a:gdLst>
                  <a:gd name="connsiteX0" fmla="*/ 8954 w 53149"/>
                  <a:gd name="connsiteY0" fmla="*/ 60388 h 62674"/>
                  <a:gd name="connsiteX1" fmla="*/ 2381 w 53149"/>
                  <a:gd name="connsiteY1" fmla="*/ 54197 h 62674"/>
                  <a:gd name="connsiteX2" fmla="*/ 0 w 53149"/>
                  <a:gd name="connsiteY2" fmla="*/ 44387 h 62674"/>
                  <a:gd name="connsiteX3" fmla="*/ 6477 w 53149"/>
                  <a:gd name="connsiteY3" fmla="*/ 29813 h 62674"/>
                  <a:gd name="connsiteX4" fmla="*/ 23908 w 53149"/>
                  <a:gd name="connsiteY4" fmla="*/ 25051 h 62674"/>
                  <a:gd name="connsiteX5" fmla="*/ 36957 w 53149"/>
                  <a:gd name="connsiteY5" fmla="*/ 24860 h 62674"/>
                  <a:gd name="connsiteX6" fmla="*/ 36957 w 53149"/>
                  <a:gd name="connsiteY6" fmla="*/ 22003 h 62674"/>
                  <a:gd name="connsiteX7" fmla="*/ 34290 w 53149"/>
                  <a:gd name="connsiteY7" fmla="*/ 14288 h 62674"/>
                  <a:gd name="connsiteX8" fmla="*/ 27051 w 53149"/>
                  <a:gd name="connsiteY8" fmla="*/ 12097 h 62674"/>
                  <a:gd name="connsiteX9" fmla="*/ 10763 w 53149"/>
                  <a:gd name="connsiteY9" fmla="*/ 19431 h 62674"/>
                  <a:gd name="connsiteX10" fmla="*/ 3334 w 53149"/>
                  <a:gd name="connsiteY10" fmla="*/ 9620 h 62674"/>
                  <a:gd name="connsiteX11" fmla="*/ 27908 w 53149"/>
                  <a:gd name="connsiteY11" fmla="*/ 0 h 62674"/>
                  <a:gd name="connsiteX12" fmla="*/ 46196 w 53149"/>
                  <a:gd name="connsiteY12" fmla="*/ 5620 h 62674"/>
                  <a:gd name="connsiteX13" fmla="*/ 52674 w 53149"/>
                  <a:gd name="connsiteY13" fmla="*/ 21622 h 62674"/>
                  <a:gd name="connsiteX14" fmla="*/ 52674 w 53149"/>
                  <a:gd name="connsiteY14" fmla="*/ 43720 h 62674"/>
                  <a:gd name="connsiteX15" fmla="*/ 53150 w 53149"/>
                  <a:gd name="connsiteY15" fmla="*/ 61531 h 62674"/>
                  <a:gd name="connsiteX16" fmla="*/ 38291 w 53149"/>
                  <a:gd name="connsiteY16" fmla="*/ 61531 h 62674"/>
                  <a:gd name="connsiteX17" fmla="*/ 37909 w 53149"/>
                  <a:gd name="connsiteY17" fmla="*/ 53054 h 62674"/>
                  <a:gd name="connsiteX18" fmla="*/ 37529 w 53149"/>
                  <a:gd name="connsiteY18" fmla="*/ 53054 h 62674"/>
                  <a:gd name="connsiteX19" fmla="*/ 29813 w 53149"/>
                  <a:gd name="connsiteY19" fmla="*/ 60198 h 62674"/>
                  <a:gd name="connsiteX20" fmla="*/ 18765 w 53149"/>
                  <a:gd name="connsiteY20" fmla="*/ 62674 h 62674"/>
                  <a:gd name="connsiteX21" fmla="*/ 8954 w 53149"/>
                  <a:gd name="connsiteY21" fmla="*/ 60579 h 62674"/>
                  <a:gd name="connsiteX22" fmla="*/ 30575 w 53149"/>
                  <a:gd name="connsiteY22" fmla="*/ 48768 h 62674"/>
                  <a:gd name="connsiteX23" fmla="*/ 35338 w 53149"/>
                  <a:gd name="connsiteY23" fmla="*/ 43910 h 62674"/>
                  <a:gd name="connsiteX24" fmla="*/ 37052 w 53149"/>
                  <a:gd name="connsiteY24" fmla="*/ 37529 h 62674"/>
                  <a:gd name="connsiteX25" fmla="*/ 37052 w 53149"/>
                  <a:gd name="connsiteY25" fmla="*/ 34480 h 62674"/>
                  <a:gd name="connsiteX26" fmla="*/ 28956 w 53149"/>
                  <a:gd name="connsiteY26" fmla="*/ 34480 h 62674"/>
                  <a:gd name="connsiteX27" fmla="*/ 22289 w 53149"/>
                  <a:gd name="connsiteY27" fmla="*/ 35433 h 62674"/>
                  <a:gd name="connsiteX28" fmla="*/ 18098 w 53149"/>
                  <a:gd name="connsiteY28" fmla="*/ 37814 h 62674"/>
                  <a:gd name="connsiteX29" fmla="*/ 16478 w 53149"/>
                  <a:gd name="connsiteY29" fmla="*/ 43053 h 62674"/>
                  <a:gd name="connsiteX30" fmla="*/ 18479 w 53149"/>
                  <a:gd name="connsiteY30" fmla="*/ 48673 h 62674"/>
                  <a:gd name="connsiteX31" fmla="*/ 23813 w 53149"/>
                  <a:gd name="connsiteY31" fmla="*/ 50578 h 62674"/>
                  <a:gd name="connsiteX32" fmla="*/ 30671 w 53149"/>
                  <a:gd name="connsiteY32" fmla="*/ 48768 h 626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53149" h="62674">
                    <a:moveTo>
                      <a:pt x="8954" y="60388"/>
                    </a:moveTo>
                    <a:cubicBezTo>
                      <a:pt x="6191" y="58960"/>
                      <a:pt x="4000" y="56864"/>
                      <a:pt x="2381" y="54197"/>
                    </a:cubicBezTo>
                    <a:cubicBezTo>
                      <a:pt x="762" y="51530"/>
                      <a:pt x="0" y="48196"/>
                      <a:pt x="0" y="44387"/>
                    </a:cubicBezTo>
                    <a:cubicBezTo>
                      <a:pt x="0" y="37719"/>
                      <a:pt x="2191" y="32861"/>
                      <a:pt x="6477" y="29813"/>
                    </a:cubicBezTo>
                    <a:cubicBezTo>
                      <a:pt x="10763" y="26765"/>
                      <a:pt x="16573" y="25241"/>
                      <a:pt x="23908" y="25051"/>
                    </a:cubicBezTo>
                    <a:lnTo>
                      <a:pt x="36957" y="24860"/>
                    </a:lnTo>
                    <a:lnTo>
                      <a:pt x="36957" y="22003"/>
                    </a:lnTo>
                    <a:cubicBezTo>
                      <a:pt x="36957" y="18288"/>
                      <a:pt x="36100" y="15716"/>
                      <a:pt x="34290" y="14288"/>
                    </a:cubicBezTo>
                    <a:cubicBezTo>
                      <a:pt x="32480" y="12859"/>
                      <a:pt x="30099" y="12097"/>
                      <a:pt x="27051" y="12097"/>
                    </a:cubicBezTo>
                    <a:cubicBezTo>
                      <a:pt x="21717" y="12097"/>
                      <a:pt x="16288" y="14573"/>
                      <a:pt x="10763" y="19431"/>
                    </a:cubicBezTo>
                    <a:lnTo>
                      <a:pt x="3334" y="9620"/>
                    </a:lnTo>
                    <a:cubicBezTo>
                      <a:pt x="10573" y="3238"/>
                      <a:pt x="18765" y="0"/>
                      <a:pt x="27908" y="0"/>
                    </a:cubicBezTo>
                    <a:cubicBezTo>
                      <a:pt x="35719" y="0"/>
                      <a:pt x="41815" y="1905"/>
                      <a:pt x="46196" y="5620"/>
                    </a:cubicBezTo>
                    <a:cubicBezTo>
                      <a:pt x="50578" y="9334"/>
                      <a:pt x="52674" y="14669"/>
                      <a:pt x="52674" y="21622"/>
                    </a:cubicBezTo>
                    <a:lnTo>
                      <a:pt x="52674" y="43720"/>
                    </a:lnTo>
                    <a:cubicBezTo>
                      <a:pt x="52674" y="50387"/>
                      <a:pt x="52864" y="56293"/>
                      <a:pt x="53150" y="61531"/>
                    </a:cubicBezTo>
                    <a:lnTo>
                      <a:pt x="38291" y="61531"/>
                    </a:lnTo>
                    <a:cubicBezTo>
                      <a:pt x="38005" y="58864"/>
                      <a:pt x="37909" y="56102"/>
                      <a:pt x="37909" y="53054"/>
                    </a:cubicBezTo>
                    <a:lnTo>
                      <a:pt x="37529" y="53054"/>
                    </a:lnTo>
                    <a:cubicBezTo>
                      <a:pt x="35528" y="56102"/>
                      <a:pt x="32957" y="58483"/>
                      <a:pt x="29813" y="60198"/>
                    </a:cubicBezTo>
                    <a:cubicBezTo>
                      <a:pt x="26670" y="61913"/>
                      <a:pt x="22955" y="62674"/>
                      <a:pt x="18765" y="62674"/>
                    </a:cubicBezTo>
                    <a:cubicBezTo>
                      <a:pt x="15050" y="62674"/>
                      <a:pt x="11811" y="62008"/>
                      <a:pt x="8954" y="60579"/>
                    </a:cubicBezTo>
                    <a:close/>
                    <a:moveTo>
                      <a:pt x="30575" y="48768"/>
                    </a:moveTo>
                    <a:cubicBezTo>
                      <a:pt x="32575" y="47530"/>
                      <a:pt x="34195" y="45911"/>
                      <a:pt x="35338" y="43910"/>
                    </a:cubicBezTo>
                    <a:cubicBezTo>
                      <a:pt x="36481" y="41910"/>
                      <a:pt x="37052" y="39814"/>
                      <a:pt x="37052" y="37529"/>
                    </a:cubicBezTo>
                    <a:lnTo>
                      <a:pt x="37052" y="34480"/>
                    </a:lnTo>
                    <a:lnTo>
                      <a:pt x="28956" y="34480"/>
                    </a:lnTo>
                    <a:cubicBezTo>
                      <a:pt x="26194" y="34766"/>
                      <a:pt x="24003" y="35052"/>
                      <a:pt x="22289" y="35433"/>
                    </a:cubicBezTo>
                    <a:cubicBezTo>
                      <a:pt x="20574" y="35814"/>
                      <a:pt x="19145" y="36576"/>
                      <a:pt x="18098" y="37814"/>
                    </a:cubicBezTo>
                    <a:cubicBezTo>
                      <a:pt x="17050" y="39053"/>
                      <a:pt x="16478" y="40767"/>
                      <a:pt x="16478" y="43053"/>
                    </a:cubicBezTo>
                    <a:cubicBezTo>
                      <a:pt x="16478" y="45339"/>
                      <a:pt x="17145" y="47339"/>
                      <a:pt x="18479" y="48673"/>
                    </a:cubicBezTo>
                    <a:cubicBezTo>
                      <a:pt x="19812" y="50006"/>
                      <a:pt x="21622" y="50578"/>
                      <a:pt x="23813" y="50578"/>
                    </a:cubicBezTo>
                    <a:cubicBezTo>
                      <a:pt x="26384" y="50578"/>
                      <a:pt x="28670" y="50006"/>
                      <a:pt x="30671" y="48768"/>
                    </a:cubicBezTo>
                    <a:close/>
                  </a:path>
                </a:pathLst>
              </a:custGeom>
              <a:solidFill>
                <a:srgbClr val="231F20"/>
              </a:solidFill>
              <a:ln w="9525" cap="flat">
                <a:noFill/>
                <a:prstDash val="solid"/>
                <a:miter/>
              </a:ln>
            </p:spPr>
            <p:txBody>
              <a:bodyPr rtlCol="0" anchor="ctr"/>
              <a:lstStyle/>
              <a:p>
                <a:pPr marL="0" marR="0" lvl="0" indent="0" algn="l" defTabSz="913578" rtl="0" eaLnBrk="1" fontAlgn="auto" latinLnBrk="0" hangingPunct="1">
                  <a:lnSpc>
                    <a:spcPct val="100000"/>
                  </a:lnSpc>
                  <a:spcBef>
                    <a:spcPts val="0"/>
                  </a:spcBef>
                  <a:spcAft>
                    <a:spcPts val="0"/>
                  </a:spcAft>
                  <a:buClrTx/>
                  <a:buSzTx/>
                  <a:buFontTx/>
                  <a:buNone/>
                  <a:tabLst/>
                  <a:defRPr/>
                </a:pPr>
                <a:endParaRPr kumimoji="0" lang="en-US" sz="17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328" name="Freeform: Shape 153">
                <a:extLst>
                  <a:ext uri="{FF2B5EF4-FFF2-40B4-BE49-F238E27FC236}">
                    <a16:creationId xmlns:a16="http://schemas.microsoft.com/office/drawing/2014/main" id="{ABE12ABE-DA3D-C9CC-7910-33441B40F889}"/>
                  </a:ext>
                </a:extLst>
              </p:cNvPr>
              <p:cNvSpPr/>
              <p:nvPr/>
            </p:nvSpPr>
            <p:spPr>
              <a:xfrm>
                <a:off x="7524559" y="4209097"/>
                <a:ext cx="60769" cy="89725"/>
              </a:xfrm>
              <a:custGeom>
                <a:avLst/>
                <a:gdLst>
                  <a:gd name="connsiteX0" fmla="*/ 48196 w 60769"/>
                  <a:gd name="connsiteY0" fmla="*/ 54293 h 89725"/>
                  <a:gd name="connsiteX1" fmla="*/ 57245 w 60769"/>
                  <a:gd name="connsiteY1" fmla="*/ 59246 h 89725"/>
                  <a:gd name="connsiteX2" fmla="*/ 60770 w 60769"/>
                  <a:gd name="connsiteY2" fmla="*/ 70866 h 89725"/>
                  <a:gd name="connsiteX3" fmla="*/ 53150 w 60769"/>
                  <a:gd name="connsiteY3" fmla="*/ 85058 h 89725"/>
                  <a:gd name="connsiteX4" fmla="*/ 28956 w 60769"/>
                  <a:gd name="connsiteY4" fmla="*/ 89726 h 89725"/>
                  <a:gd name="connsiteX5" fmla="*/ 12192 w 60769"/>
                  <a:gd name="connsiteY5" fmla="*/ 88297 h 89725"/>
                  <a:gd name="connsiteX6" fmla="*/ 2953 w 60769"/>
                  <a:gd name="connsiteY6" fmla="*/ 83629 h 89725"/>
                  <a:gd name="connsiteX7" fmla="*/ 0 w 60769"/>
                  <a:gd name="connsiteY7" fmla="*/ 74867 h 89725"/>
                  <a:gd name="connsiteX8" fmla="*/ 2000 w 60769"/>
                  <a:gd name="connsiteY8" fmla="*/ 68009 h 89725"/>
                  <a:gd name="connsiteX9" fmla="*/ 8001 w 60769"/>
                  <a:gd name="connsiteY9" fmla="*/ 62198 h 89725"/>
                  <a:gd name="connsiteX10" fmla="*/ 4286 w 60769"/>
                  <a:gd name="connsiteY10" fmla="*/ 53626 h 89725"/>
                  <a:gd name="connsiteX11" fmla="*/ 6191 w 60769"/>
                  <a:gd name="connsiteY11" fmla="*/ 46768 h 89725"/>
                  <a:gd name="connsiteX12" fmla="*/ 11621 w 60769"/>
                  <a:gd name="connsiteY12" fmla="*/ 40958 h 89725"/>
                  <a:gd name="connsiteX13" fmla="*/ 5144 w 60769"/>
                  <a:gd name="connsiteY13" fmla="*/ 34290 h 89725"/>
                  <a:gd name="connsiteX14" fmla="*/ 2953 w 60769"/>
                  <a:gd name="connsiteY14" fmla="*/ 24860 h 89725"/>
                  <a:gd name="connsiteX15" fmla="*/ 5525 w 60769"/>
                  <a:gd name="connsiteY15" fmla="*/ 14478 h 89725"/>
                  <a:gd name="connsiteX16" fmla="*/ 13811 w 60769"/>
                  <a:gd name="connsiteY16" fmla="*/ 7239 h 89725"/>
                  <a:gd name="connsiteX17" fmla="*/ 28290 w 60769"/>
                  <a:gd name="connsiteY17" fmla="*/ 4572 h 89725"/>
                  <a:gd name="connsiteX18" fmla="*/ 43720 w 60769"/>
                  <a:gd name="connsiteY18" fmla="*/ 7906 h 89725"/>
                  <a:gd name="connsiteX19" fmla="*/ 50102 w 60769"/>
                  <a:gd name="connsiteY19" fmla="*/ 2000 h 89725"/>
                  <a:gd name="connsiteX20" fmla="*/ 58388 w 60769"/>
                  <a:gd name="connsiteY20" fmla="*/ 0 h 89725"/>
                  <a:gd name="connsiteX21" fmla="*/ 58579 w 60769"/>
                  <a:gd name="connsiteY21" fmla="*/ 0 h 89725"/>
                  <a:gd name="connsiteX22" fmla="*/ 59150 w 60769"/>
                  <a:gd name="connsiteY22" fmla="*/ 12763 h 89725"/>
                  <a:gd name="connsiteX23" fmla="*/ 58960 w 60769"/>
                  <a:gd name="connsiteY23" fmla="*/ 12763 h 89725"/>
                  <a:gd name="connsiteX24" fmla="*/ 50578 w 60769"/>
                  <a:gd name="connsiteY24" fmla="*/ 14002 h 89725"/>
                  <a:gd name="connsiteX25" fmla="*/ 53530 w 60769"/>
                  <a:gd name="connsiteY25" fmla="*/ 24860 h 89725"/>
                  <a:gd name="connsiteX26" fmla="*/ 50864 w 60769"/>
                  <a:gd name="connsiteY26" fmla="*/ 35052 h 89725"/>
                  <a:gd name="connsiteX27" fmla="*/ 42482 w 60769"/>
                  <a:gd name="connsiteY27" fmla="*/ 42196 h 89725"/>
                  <a:gd name="connsiteX28" fmla="*/ 28099 w 60769"/>
                  <a:gd name="connsiteY28" fmla="*/ 44863 h 89725"/>
                  <a:gd name="connsiteX29" fmla="*/ 20479 w 60769"/>
                  <a:gd name="connsiteY29" fmla="*/ 44196 h 89725"/>
                  <a:gd name="connsiteX30" fmla="*/ 18765 w 60769"/>
                  <a:gd name="connsiteY30" fmla="*/ 46292 h 89725"/>
                  <a:gd name="connsiteX31" fmla="*/ 18193 w 60769"/>
                  <a:gd name="connsiteY31" fmla="*/ 48387 h 89725"/>
                  <a:gd name="connsiteX32" fmla="*/ 19336 w 60769"/>
                  <a:gd name="connsiteY32" fmla="*/ 50673 h 89725"/>
                  <a:gd name="connsiteX33" fmla="*/ 22670 w 60769"/>
                  <a:gd name="connsiteY33" fmla="*/ 51721 h 89725"/>
                  <a:gd name="connsiteX34" fmla="*/ 29623 w 60769"/>
                  <a:gd name="connsiteY34" fmla="*/ 52292 h 89725"/>
                  <a:gd name="connsiteX35" fmla="*/ 32385 w 60769"/>
                  <a:gd name="connsiteY35" fmla="*/ 52483 h 89725"/>
                  <a:gd name="connsiteX36" fmla="*/ 48387 w 60769"/>
                  <a:gd name="connsiteY36" fmla="*/ 54293 h 89725"/>
                  <a:gd name="connsiteX37" fmla="*/ 41815 w 60769"/>
                  <a:gd name="connsiteY37" fmla="*/ 77248 h 89725"/>
                  <a:gd name="connsiteX38" fmla="*/ 45815 w 60769"/>
                  <a:gd name="connsiteY38" fmla="*/ 72771 h 89725"/>
                  <a:gd name="connsiteX39" fmla="*/ 44196 w 60769"/>
                  <a:gd name="connsiteY39" fmla="*/ 69437 h 89725"/>
                  <a:gd name="connsiteX40" fmla="*/ 39434 w 60769"/>
                  <a:gd name="connsiteY40" fmla="*/ 67913 h 89725"/>
                  <a:gd name="connsiteX41" fmla="*/ 29433 w 60769"/>
                  <a:gd name="connsiteY41" fmla="*/ 66961 h 89725"/>
                  <a:gd name="connsiteX42" fmla="*/ 27242 w 60769"/>
                  <a:gd name="connsiteY42" fmla="*/ 66770 h 89725"/>
                  <a:gd name="connsiteX43" fmla="*/ 23146 w 60769"/>
                  <a:gd name="connsiteY43" fmla="*/ 66485 h 89725"/>
                  <a:gd name="connsiteX44" fmla="*/ 16764 w 60769"/>
                  <a:gd name="connsiteY44" fmla="*/ 65722 h 89725"/>
                  <a:gd name="connsiteX45" fmla="*/ 14764 w 60769"/>
                  <a:gd name="connsiteY45" fmla="*/ 69056 h 89725"/>
                  <a:gd name="connsiteX46" fmla="*/ 14097 w 60769"/>
                  <a:gd name="connsiteY46" fmla="*/ 72676 h 89725"/>
                  <a:gd name="connsiteX47" fmla="*/ 15716 w 60769"/>
                  <a:gd name="connsiteY47" fmla="*/ 76486 h 89725"/>
                  <a:gd name="connsiteX48" fmla="*/ 20479 w 60769"/>
                  <a:gd name="connsiteY48" fmla="*/ 78200 h 89725"/>
                  <a:gd name="connsiteX49" fmla="*/ 29433 w 60769"/>
                  <a:gd name="connsiteY49" fmla="*/ 78581 h 89725"/>
                  <a:gd name="connsiteX50" fmla="*/ 41815 w 60769"/>
                  <a:gd name="connsiteY50" fmla="*/ 77343 h 89725"/>
                  <a:gd name="connsiteX51" fmla="*/ 20288 w 60769"/>
                  <a:gd name="connsiteY51" fmla="*/ 17717 h 89725"/>
                  <a:gd name="connsiteX52" fmla="*/ 17717 w 60769"/>
                  <a:gd name="connsiteY52" fmla="*/ 24860 h 89725"/>
                  <a:gd name="connsiteX53" fmla="*/ 20288 w 60769"/>
                  <a:gd name="connsiteY53" fmla="*/ 31813 h 89725"/>
                  <a:gd name="connsiteX54" fmla="*/ 27718 w 60769"/>
                  <a:gd name="connsiteY54" fmla="*/ 34290 h 89725"/>
                  <a:gd name="connsiteX55" fmla="*/ 36005 w 60769"/>
                  <a:gd name="connsiteY55" fmla="*/ 31813 h 89725"/>
                  <a:gd name="connsiteX56" fmla="*/ 38481 w 60769"/>
                  <a:gd name="connsiteY56" fmla="*/ 24860 h 89725"/>
                  <a:gd name="connsiteX57" fmla="*/ 35909 w 60769"/>
                  <a:gd name="connsiteY57" fmla="*/ 17717 h 89725"/>
                  <a:gd name="connsiteX58" fmla="*/ 28004 w 60769"/>
                  <a:gd name="connsiteY58" fmla="*/ 15145 h 89725"/>
                  <a:gd name="connsiteX59" fmla="*/ 20193 w 60769"/>
                  <a:gd name="connsiteY59" fmla="*/ 17717 h 89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60769" h="89725">
                    <a:moveTo>
                      <a:pt x="48196" y="54293"/>
                    </a:moveTo>
                    <a:cubicBezTo>
                      <a:pt x="51816" y="55054"/>
                      <a:pt x="54864" y="56674"/>
                      <a:pt x="57245" y="59246"/>
                    </a:cubicBezTo>
                    <a:cubicBezTo>
                      <a:pt x="59627" y="61817"/>
                      <a:pt x="60770" y="65627"/>
                      <a:pt x="60770" y="70866"/>
                    </a:cubicBezTo>
                    <a:cubicBezTo>
                      <a:pt x="60770" y="77248"/>
                      <a:pt x="58198" y="82010"/>
                      <a:pt x="53150" y="85058"/>
                    </a:cubicBezTo>
                    <a:cubicBezTo>
                      <a:pt x="48102" y="88106"/>
                      <a:pt x="40005" y="89726"/>
                      <a:pt x="28956" y="89726"/>
                    </a:cubicBezTo>
                    <a:cubicBezTo>
                      <a:pt x="22003" y="89726"/>
                      <a:pt x="16383" y="89249"/>
                      <a:pt x="12192" y="88297"/>
                    </a:cubicBezTo>
                    <a:cubicBezTo>
                      <a:pt x="8001" y="87344"/>
                      <a:pt x="4953" y="85820"/>
                      <a:pt x="2953" y="83629"/>
                    </a:cubicBezTo>
                    <a:cubicBezTo>
                      <a:pt x="953" y="81439"/>
                      <a:pt x="0" y="78581"/>
                      <a:pt x="0" y="74867"/>
                    </a:cubicBezTo>
                    <a:cubicBezTo>
                      <a:pt x="0" y="72295"/>
                      <a:pt x="667" y="70009"/>
                      <a:pt x="2000" y="68009"/>
                    </a:cubicBezTo>
                    <a:cubicBezTo>
                      <a:pt x="3334" y="66008"/>
                      <a:pt x="5334" y="64008"/>
                      <a:pt x="8001" y="62198"/>
                    </a:cubicBezTo>
                    <a:cubicBezTo>
                      <a:pt x="5525" y="60198"/>
                      <a:pt x="4286" y="57341"/>
                      <a:pt x="4286" y="53626"/>
                    </a:cubicBezTo>
                    <a:cubicBezTo>
                      <a:pt x="4286" y="51054"/>
                      <a:pt x="4953" y="48863"/>
                      <a:pt x="6191" y="46768"/>
                    </a:cubicBezTo>
                    <a:cubicBezTo>
                      <a:pt x="7430" y="44672"/>
                      <a:pt x="9240" y="42767"/>
                      <a:pt x="11621" y="40958"/>
                    </a:cubicBezTo>
                    <a:cubicBezTo>
                      <a:pt x="8763" y="39243"/>
                      <a:pt x="6668" y="37052"/>
                      <a:pt x="5144" y="34290"/>
                    </a:cubicBezTo>
                    <a:cubicBezTo>
                      <a:pt x="3620" y="31528"/>
                      <a:pt x="2953" y="28385"/>
                      <a:pt x="2953" y="24860"/>
                    </a:cubicBezTo>
                    <a:cubicBezTo>
                      <a:pt x="2953" y="20955"/>
                      <a:pt x="3810" y="17526"/>
                      <a:pt x="5525" y="14478"/>
                    </a:cubicBezTo>
                    <a:cubicBezTo>
                      <a:pt x="7239" y="11430"/>
                      <a:pt x="10002" y="8954"/>
                      <a:pt x="13811" y="7239"/>
                    </a:cubicBezTo>
                    <a:cubicBezTo>
                      <a:pt x="17622" y="5525"/>
                      <a:pt x="22384" y="4572"/>
                      <a:pt x="28290" y="4572"/>
                    </a:cubicBezTo>
                    <a:cubicBezTo>
                      <a:pt x="34480" y="4572"/>
                      <a:pt x="39624" y="5715"/>
                      <a:pt x="43720" y="7906"/>
                    </a:cubicBezTo>
                    <a:cubicBezTo>
                      <a:pt x="45625" y="5334"/>
                      <a:pt x="47816" y="3334"/>
                      <a:pt x="50102" y="2000"/>
                    </a:cubicBezTo>
                    <a:cubicBezTo>
                      <a:pt x="52388" y="667"/>
                      <a:pt x="55150" y="0"/>
                      <a:pt x="58388" y="0"/>
                    </a:cubicBezTo>
                    <a:lnTo>
                      <a:pt x="58579" y="0"/>
                    </a:lnTo>
                    <a:lnTo>
                      <a:pt x="59150" y="12763"/>
                    </a:lnTo>
                    <a:lnTo>
                      <a:pt x="58960" y="12763"/>
                    </a:lnTo>
                    <a:cubicBezTo>
                      <a:pt x="55722" y="12763"/>
                      <a:pt x="52959" y="13145"/>
                      <a:pt x="50578" y="14002"/>
                    </a:cubicBezTo>
                    <a:cubicBezTo>
                      <a:pt x="52578" y="17145"/>
                      <a:pt x="53530" y="20764"/>
                      <a:pt x="53530" y="24860"/>
                    </a:cubicBezTo>
                    <a:cubicBezTo>
                      <a:pt x="53530" y="28575"/>
                      <a:pt x="52674" y="32004"/>
                      <a:pt x="50864" y="35052"/>
                    </a:cubicBezTo>
                    <a:cubicBezTo>
                      <a:pt x="49054" y="38100"/>
                      <a:pt x="46292" y="40481"/>
                      <a:pt x="42482" y="42196"/>
                    </a:cubicBezTo>
                    <a:cubicBezTo>
                      <a:pt x="38671" y="43910"/>
                      <a:pt x="33814" y="44863"/>
                      <a:pt x="28099" y="44863"/>
                    </a:cubicBezTo>
                    <a:cubicBezTo>
                      <a:pt x="25337" y="44863"/>
                      <a:pt x="22860" y="44672"/>
                      <a:pt x="20479" y="44196"/>
                    </a:cubicBezTo>
                    <a:cubicBezTo>
                      <a:pt x="19717" y="44958"/>
                      <a:pt x="19145" y="45720"/>
                      <a:pt x="18765" y="46292"/>
                    </a:cubicBezTo>
                    <a:cubicBezTo>
                      <a:pt x="18383" y="46863"/>
                      <a:pt x="18193" y="47625"/>
                      <a:pt x="18193" y="48387"/>
                    </a:cubicBezTo>
                    <a:cubicBezTo>
                      <a:pt x="18193" y="49435"/>
                      <a:pt x="18574" y="50197"/>
                      <a:pt x="19336" y="50673"/>
                    </a:cubicBezTo>
                    <a:cubicBezTo>
                      <a:pt x="20098" y="51149"/>
                      <a:pt x="21241" y="51530"/>
                      <a:pt x="22670" y="51721"/>
                    </a:cubicBezTo>
                    <a:cubicBezTo>
                      <a:pt x="24099" y="51911"/>
                      <a:pt x="26480" y="52102"/>
                      <a:pt x="29623" y="52292"/>
                    </a:cubicBezTo>
                    <a:lnTo>
                      <a:pt x="32385" y="52483"/>
                    </a:lnTo>
                    <a:cubicBezTo>
                      <a:pt x="39434" y="52959"/>
                      <a:pt x="44768" y="53530"/>
                      <a:pt x="48387" y="54293"/>
                    </a:cubicBezTo>
                    <a:close/>
                    <a:moveTo>
                      <a:pt x="41815" y="77248"/>
                    </a:moveTo>
                    <a:cubicBezTo>
                      <a:pt x="44482" y="76391"/>
                      <a:pt x="45815" y="74962"/>
                      <a:pt x="45815" y="72771"/>
                    </a:cubicBezTo>
                    <a:cubicBezTo>
                      <a:pt x="45815" y="71247"/>
                      <a:pt x="45244" y="70199"/>
                      <a:pt x="44196" y="69437"/>
                    </a:cubicBezTo>
                    <a:cubicBezTo>
                      <a:pt x="43149" y="68675"/>
                      <a:pt x="41529" y="68199"/>
                      <a:pt x="39434" y="67913"/>
                    </a:cubicBezTo>
                    <a:cubicBezTo>
                      <a:pt x="37338" y="67628"/>
                      <a:pt x="34004" y="67246"/>
                      <a:pt x="29433" y="66961"/>
                    </a:cubicBezTo>
                    <a:lnTo>
                      <a:pt x="27242" y="66770"/>
                    </a:lnTo>
                    <a:cubicBezTo>
                      <a:pt x="27242" y="66770"/>
                      <a:pt x="25527" y="66675"/>
                      <a:pt x="23146" y="66485"/>
                    </a:cubicBezTo>
                    <a:cubicBezTo>
                      <a:pt x="20764" y="66294"/>
                      <a:pt x="18669" y="66008"/>
                      <a:pt x="16764" y="65722"/>
                    </a:cubicBezTo>
                    <a:cubicBezTo>
                      <a:pt x="15907" y="66866"/>
                      <a:pt x="15240" y="67913"/>
                      <a:pt x="14764" y="69056"/>
                    </a:cubicBezTo>
                    <a:cubicBezTo>
                      <a:pt x="14288" y="70199"/>
                      <a:pt x="14097" y="71342"/>
                      <a:pt x="14097" y="72676"/>
                    </a:cubicBezTo>
                    <a:cubicBezTo>
                      <a:pt x="14097" y="74390"/>
                      <a:pt x="14669" y="75629"/>
                      <a:pt x="15716" y="76486"/>
                    </a:cubicBezTo>
                    <a:cubicBezTo>
                      <a:pt x="16764" y="77343"/>
                      <a:pt x="18383" y="77914"/>
                      <a:pt x="20479" y="78200"/>
                    </a:cubicBezTo>
                    <a:cubicBezTo>
                      <a:pt x="22574" y="78486"/>
                      <a:pt x="25622" y="78581"/>
                      <a:pt x="29433" y="78581"/>
                    </a:cubicBezTo>
                    <a:cubicBezTo>
                      <a:pt x="35052" y="78581"/>
                      <a:pt x="39148" y="78200"/>
                      <a:pt x="41815" y="77343"/>
                    </a:cubicBezTo>
                    <a:close/>
                    <a:moveTo>
                      <a:pt x="20288" y="17717"/>
                    </a:moveTo>
                    <a:cubicBezTo>
                      <a:pt x="18574" y="19431"/>
                      <a:pt x="17717" y="21812"/>
                      <a:pt x="17717" y="24860"/>
                    </a:cubicBezTo>
                    <a:cubicBezTo>
                      <a:pt x="17717" y="27908"/>
                      <a:pt x="18574" y="30099"/>
                      <a:pt x="20288" y="31813"/>
                    </a:cubicBezTo>
                    <a:cubicBezTo>
                      <a:pt x="22003" y="33528"/>
                      <a:pt x="24479" y="34290"/>
                      <a:pt x="27718" y="34290"/>
                    </a:cubicBezTo>
                    <a:cubicBezTo>
                      <a:pt x="31623" y="34290"/>
                      <a:pt x="34386" y="33433"/>
                      <a:pt x="36005" y="31813"/>
                    </a:cubicBezTo>
                    <a:cubicBezTo>
                      <a:pt x="37624" y="30194"/>
                      <a:pt x="38481" y="27908"/>
                      <a:pt x="38481" y="24860"/>
                    </a:cubicBezTo>
                    <a:cubicBezTo>
                      <a:pt x="38481" y="21812"/>
                      <a:pt x="37624" y="19431"/>
                      <a:pt x="35909" y="17717"/>
                    </a:cubicBezTo>
                    <a:cubicBezTo>
                      <a:pt x="34195" y="16002"/>
                      <a:pt x="31623" y="15145"/>
                      <a:pt x="28004" y="15145"/>
                    </a:cubicBezTo>
                    <a:cubicBezTo>
                      <a:pt x="24384" y="15145"/>
                      <a:pt x="21908" y="16002"/>
                      <a:pt x="20193" y="17717"/>
                    </a:cubicBezTo>
                    <a:close/>
                  </a:path>
                </a:pathLst>
              </a:custGeom>
              <a:solidFill>
                <a:srgbClr val="231F20"/>
              </a:solidFill>
              <a:ln w="9525" cap="flat">
                <a:noFill/>
                <a:prstDash val="solid"/>
                <a:miter/>
              </a:ln>
            </p:spPr>
            <p:txBody>
              <a:bodyPr rtlCol="0" anchor="ctr"/>
              <a:lstStyle/>
              <a:p>
                <a:pPr marL="0" marR="0" lvl="0" indent="0" algn="l" defTabSz="913578" rtl="0" eaLnBrk="1" fontAlgn="auto" latinLnBrk="0" hangingPunct="1">
                  <a:lnSpc>
                    <a:spcPct val="100000"/>
                  </a:lnSpc>
                  <a:spcBef>
                    <a:spcPts val="0"/>
                  </a:spcBef>
                  <a:spcAft>
                    <a:spcPts val="0"/>
                  </a:spcAft>
                  <a:buClrTx/>
                  <a:buSzTx/>
                  <a:buFontTx/>
                  <a:buNone/>
                  <a:tabLst/>
                  <a:defRPr/>
                </a:pPr>
                <a:endParaRPr kumimoji="0" lang="en-US" sz="17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329" name="Freeform: Shape 154">
                <a:extLst>
                  <a:ext uri="{FF2B5EF4-FFF2-40B4-BE49-F238E27FC236}">
                    <a16:creationId xmlns:a16="http://schemas.microsoft.com/office/drawing/2014/main" id="{D14B7206-B033-D4B2-1DFC-3273FBF348FC}"/>
                  </a:ext>
                </a:extLst>
              </p:cNvPr>
              <p:cNvSpPr/>
              <p:nvPr/>
            </p:nvSpPr>
            <p:spPr>
              <a:xfrm>
                <a:off x="7590282" y="4213574"/>
                <a:ext cx="55244" cy="62769"/>
              </a:xfrm>
              <a:custGeom>
                <a:avLst/>
                <a:gdLst>
                  <a:gd name="connsiteX0" fmla="*/ 7715 w 55244"/>
                  <a:gd name="connsiteY0" fmla="*/ 54769 h 62769"/>
                  <a:gd name="connsiteX1" fmla="*/ 0 w 55244"/>
                  <a:gd name="connsiteY1" fmla="*/ 31242 h 62769"/>
                  <a:gd name="connsiteX2" fmla="*/ 3810 w 55244"/>
                  <a:gd name="connsiteY2" fmla="*/ 13716 h 62769"/>
                  <a:gd name="connsiteX3" fmla="*/ 14097 w 55244"/>
                  <a:gd name="connsiteY3" fmla="*/ 3334 h 62769"/>
                  <a:gd name="connsiteX4" fmla="*/ 28480 w 55244"/>
                  <a:gd name="connsiteY4" fmla="*/ 0 h 62769"/>
                  <a:gd name="connsiteX5" fmla="*/ 43719 w 55244"/>
                  <a:gd name="connsiteY5" fmla="*/ 4001 h 62769"/>
                  <a:gd name="connsiteX6" fmla="*/ 52483 w 55244"/>
                  <a:gd name="connsiteY6" fmla="*/ 14478 h 62769"/>
                  <a:gd name="connsiteX7" fmla="*/ 55245 w 55244"/>
                  <a:gd name="connsiteY7" fmla="*/ 29146 h 62769"/>
                  <a:gd name="connsiteX8" fmla="*/ 54864 w 55244"/>
                  <a:gd name="connsiteY8" fmla="*/ 35433 h 62769"/>
                  <a:gd name="connsiteX9" fmla="*/ 16478 w 55244"/>
                  <a:gd name="connsiteY9" fmla="*/ 35433 h 62769"/>
                  <a:gd name="connsiteX10" fmla="*/ 19812 w 55244"/>
                  <a:gd name="connsiteY10" fmla="*/ 46577 h 62769"/>
                  <a:gd name="connsiteX11" fmla="*/ 30194 w 55244"/>
                  <a:gd name="connsiteY11" fmla="*/ 50673 h 62769"/>
                  <a:gd name="connsiteX12" fmla="*/ 35909 w 55244"/>
                  <a:gd name="connsiteY12" fmla="*/ 50006 h 62769"/>
                  <a:gd name="connsiteX13" fmla="*/ 40957 w 55244"/>
                  <a:gd name="connsiteY13" fmla="*/ 48006 h 62769"/>
                  <a:gd name="connsiteX14" fmla="*/ 46958 w 55244"/>
                  <a:gd name="connsiteY14" fmla="*/ 44196 h 62769"/>
                  <a:gd name="connsiteX15" fmla="*/ 53340 w 55244"/>
                  <a:gd name="connsiteY15" fmla="*/ 54388 h 62769"/>
                  <a:gd name="connsiteX16" fmla="*/ 42672 w 55244"/>
                  <a:gd name="connsiteY16" fmla="*/ 60579 h 62769"/>
                  <a:gd name="connsiteX17" fmla="*/ 29432 w 55244"/>
                  <a:gd name="connsiteY17" fmla="*/ 62770 h 62769"/>
                  <a:gd name="connsiteX18" fmla="*/ 7811 w 55244"/>
                  <a:gd name="connsiteY18" fmla="*/ 54864 h 62769"/>
                  <a:gd name="connsiteX19" fmla="*/ 40005 w 55244"/>
                  <a:gd name="connsiteY19" fmla="*/ 24765 h 62769"/>
                  <a:gd name="connsiteX20" fmla="*/ 36862 w 55244"/>
                  <a:gd name="connsiteY20" fmla="*/ 14764 h 62769"/>
                  <a:gd name="connsiteX21" fmla="*/ 28384 w 55244"/>
                  <a:gd name="connsiteY21" fmla="*/ 11525 h 62769"/>
                  <a:gd name="connsiteX22" fmla="*/ 20002 w 55244"/>
                  <a:gd name="connsiteY22" fmla="*/ 14764 h 62769"/>
                  <a:gd name="connsiteX23" fmla="*/ 16669 w 55244"/>
                  <a:gd name="connsiteY23" fmla="*/ 24765 h 62769"/>
                  <a:gd name="connsiteX24" fmla="*/ 40100 w 55244"/>
                  <a:gd name="connsiteY24" fmla="*/ 24765 h 62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55244" h="62769">
                    <a:moveTo>
                      <a:pt x="7715" y="54769"/>
                    </a:moveTo>
                    <a:cubicBezTo>
                      <a:pt x="2572" y="49530"/>
                      <a:pt x="0" y="41624"/>
                      <a:pt x="0" y="31242"/>
                    </a:cubicBezTo>
                    <a:cubicBezTo>
                      <a:pt x="0" y="24289"/>
                      <a:pt x="1238" y="18383"/>
                      <a:pt x="3810" y="13716"/>
                    </a:cubicBezTo>
                    <a:cubicBezTo>
                      <a:pt x="6382" y="9049"/>
                      <a:pt x="9810" y="5620"/>
                      <a:pt x="14097" y="3334"/>
                    </a:cubicBezTo>
                    <a:cubicBezTo>
                      <a:pt x="18383" y="1048"/>
                      <a:pt x="23146" y="0"/>
                      <a:pt x="28480" y="0"/>
                    </a:cubicBezTo>
                    <a:cubicBezTo>
                      <a:pt x="34576" y="0"/>
                      <a:pt x="39719" y="1334"/>
                      <a:pt x="43719" y="4001"/>
                    </a:cubicBezTo>
                    <a:cubicBezTo>
                      <a:pt x="47720" y="6668"/>
                      <a:pt x="50673" y="10192"/>
                      <a:pt x="52483" y="14478"/>
                    </a:cubicBezTo>
                    <a:cubicBezTo>
                      <a:pt x="54293" y="18764"/>
                      <a:pt x="55245" y="23717"/>
                      <a:pt x="55245" y="29146"/>
                    </a:cubicBezTo>
                    <a:cubicBezTo>
                      <a:pt x="55245" y="31242"/>
                      <a:pt x="55150" y="33338"/>
                      <a:pt x="54864" y="35433"/>
                    </a:cubicBezTo>
                    <a:lnTo>
                      <a:pt x="16478" y="35433"/>
                    </a:lnTo>
                    <a:cubicBezTo>
                      <a:pt x="16478" y="40100"/>
                      <a:pt x="17621" y="43815"/>
                      <a:pt x="19812" y="46577"/>
                    </a:cubicBezTo>
                    <a:cubicBezTo>
                      <a:pt x="22003" y="49339"/>
                      <a:pt x="25527" y="50673"/>
                      <a:pt x="30194" y="50673"/>
                    </a:cubicBezTo>
                    <a:cubicBezTo>
                      <a:pt x="32290" y="50673"/>
                      <a:pt x="34194" y="50483"/>
                      <a:pt x="35909" y="50006"/>
                    </a:cubicBezTo>
                    <a:cubicBezTo>
                      <a:pt x="37624" y="49530"/>
                      <a:pt x="39338" y="48863"/>
                      <a:pt x="40957" y="48006"/>
                    </a:cubicBezTo>
                    <a:cubicBezTo>
                      <a:pt x="42576" y="47149"/>
                      <a:pt x="44577" y="45815"/>
                      <a:pt x="46958" y="44196"/>
                    </a:cubicBezTo>
                    <a:lnTo>
                      <a:pt x="53340" y="54388"/>
                    </a:lnTo>
                    <a:cubicBezTo>
                      <a:pt x="49816" y="57055"/>
                      <a:pt x="46196" y="59150"/>
                      <a:pt x="42672" y="60579"/>
                    </a:cubicBezTo>
                    <a:cubicBezTo>
                      <a:pt x="39148" y="62008"/>
                      <a:pt x="34671" y="62770"/>
                      <a:pt x="29432" y="62770"/>
                    </a:cubicBezTo>
                    <a:cubicBezTo>
                      <a:pt x="20193" y="62770"/>
                      <a:pt x="12954" y="60103"/>
                      <a:pt x="7811" y="54864"/>
                    </a:cubicBezTo>
                    <a:close/>
                    <a:moveTo>
                      <a:pt x="40005" y="24765"/>
                    </a:moveTo>
                    <a:cubicBezTo>
                      <a:pt x="39814" y="20193"/>
                      <a:pt x="38767" y="16859"/>
                      <a:pt x="36862" y="14764"/>
                    </a:cubicBezTo>
                    <a:cubicBezTo>
                      <a:pt x="34957" y="12668"/>
                      <a:pt x="32099" y="11525"/>
                      <a:pt x="28384" y="11525"/>
                    </a:cubicBezTo>
                    <a:cubicBezTo>
                      <a:pt x="24669" y="11525"/>
                      <a:pt x="22098" y="12573"/>
                      <a:pt x="20002" y="14764"/>
                    </a:cubicBezTo>
                    <a:cubicBezTo>
                      <a:pt x="17907" y="16954"/>
                      <a:pt x="16764" y="20288"/>
                      <a:pt x="16669" y="24765"/>
                    </a:cubicBezTo>
                    <a:lnTo>
                      <a:pt x="40100" y="24765"/>
                    </a:lnTo>
                    <a:close/>
                  </a:path>
                </a:pathLst>
              </a:custGeom>
              <a:solidFill>
                <a:srgbClr val="231F20"/>
              </a:solidFill>
              <a:ln w="9525" cap="flat">
                <a:noFill/>
                <a:prstDash val="solid"/>
                <a:miter/>
              </a:ln>
            </p:spPr>
            <p:txBody>
              <a:bodyPr rtlCol="0" anchor="ctr"/>
              <a:lstStyle/>
              <a:p>
                <a:pPr marL="0" marR="0" lvl="0" indent="0" algn="l" defTabSz="913578" rtl="0" eaLnBrk="1" fontAlgn="auto" latinLnBrk="0" hangingPunct="1">
                  <a:lnSpc>
                    <a:spcPct val="100000"/>
                  </a:lnSpc>
                  <a:spcBef>
                    <a:spcPts val="0"/>
                  </a:spcBef>
                  <a:spcAft>
                    <a:spcPts val="0"/>
                  </a:spcAft>
                  <a:buClrTx/>
                  <a:buSzTx/>
                  <a:buFontTx/>
                  <a:buNone/>
                  <a:tabLst/>
                  <a:defRPr/>
                </a:pPr>
                <a:endParaRPr kumimoji="0" lang="en-US" sz="17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330" name="Freeform: Shape 155">
                <a:extLst>
                  <a:ext uri="{FF2B5EF4-FFF2-40B4-BE49-F238E27FC236}">
                    <a16:creationId xmlns:a16="http://schemas.microsoft.com/office/drawing/2014/main" id="{7E057D22-6BEE-6DFC-FF46-D0547AB8A9A7}"/>
                  </a:ext>
                </a:extLst>
              </p:cNvPr>
              <p:cNvSpPr/>
              <p:nvPr/>
            </p:nvSpPr>
            <p:spPr>
              <a:xfrm>
                <a:off x="7656957" y="4213574"/>
                <a:ext cx="87058" cy="61722"/>
              </a:xfrm>
              <a:custGeom>
                <a:avLst/>
                <a:gdLst>
                  <a:gd name="connsiteX0" fmla="*/ 381 w 87058"/>
                  <a:gd name="connsiteY0" fmla="*/ 14669 h 61722"/>
                  <a:gd name="connsiteX1" fmla="*/ 285 w 87058"/>
                  <a:gd name="connsiteY1" fmla="*/ 6763 h 61722"/>
                  <a:gd name="connsiteX2" fmla="*/ 0 w 87058"/>
                  <a:gd name="connsiteY2" fmla="*/ 1238 h 61722"/>
                  <a:gd name="connsiteX3" fmla="*/ 14954 w 87058"/>
                  <a:gd name="connsiteY3" fmla="*/ 1238 h 61722"/>
                  <a:gd name="connsiteX4" fmla="*/ 15430 w 87058"/>
                  <a:gd name="connsiteY4" fmla="*/ 6191 h 61722"/>
                  <a:gd name="connsiteX5" fmla="*/ 15716 w 87058"/>
                  <a:gd name="connsiteY5" fmla="*/ 12097 h 61722"/>
                  <a:gd name="connsiteX6" fmla="*/ 15907 w 87058"/>
                  <a:gd name="connsiteY6" fmla="*/ 12097 h 61722"/>
                  <a:gd name="connsiteX7" fmla="*/ 23146 w 87058"/>
                  <a:gd name="connsiteY7" fmla="*/ 2953 h 61722"/>
                  <a:gd name="connsiteX8" fmla="*/ 33528 w 87058"/>
                  <a:gd name="connsiteY8" fmla="*/ 0 h 61722"/>
                  <a:gd name="connsiteX9" fmla="*/ 44577 w 87058"/>
                  <a:gd name="connsiteY9" fmla="*/ 3143 h 61722"/>
                  <a:gd name="connsiteX10" fmla="*/ 50292 w 87058"/>
                  <a:gd name="connsiteY10" fmla="*/ 12192 h 61722"/>
                  <a:gd name="connsiteX11" fmla="*/ 50673 w 87058"/>
                  <a:gd name="connsiteY11" fmla="*/ 12192 h 61722"/>
                  <a:gd name="connsiteX12" fmla="*/ 58102 w 87058"/>
                  <a:gd name="connsiteY12" fmla="*/ 2858 h 61722"/>
                  <a:gd name="connsiteX13" fmla="*/ 68961 w 87058"/>
                  <a:gd name="connsiteY13" fmla="*/ 95 h 61722"/>
                  <a:gd name="connsiteX14" fmla="*/ 82677 w 87058"/>
                  <a:gd name="connsiteY14" fmla="*/ 6477 h 61722"/>
                  <a:gd name="connsiteX15" fmla="*/ 87059 w 87058"/>
                  <a:gd name="connsiteY15" fmla="*/ 23431 h 61722"/>
                  <a:gd name="connsiteX16" fmla="*/ 87059 w 87058"/>
                  <a:gd name="connsiteY16" fmla="*/ 61722 h 61722"/>
                  <a:gd name="connsiteX17" fmla="*/ 71533 w 87058"/>
                  <a:gd name="connsiteY17" fmla="*/ 61722 h 61722"/>
                  <a:gd name="connsiteX18" fmla="*/ 71533 w 87058"/>
                  <a:gd name="connsiteY18" fmla="*/ 27908 h 61722"/>
                  <a:gd name="connsiteX19" fmla="*/ 69532 w 87058"/>
                  <a:gd name="connsiteY19" fmla="*/ 17431 h 61722"/>
                  <a:gd name="connsiteX20" fmla="*/ 62865 w 87058"/>
                  <a:gd name="connsiteY20" fmla="*/ 13716 h 61722"/>
                  <a:gd name="connsiteX21" fmla="*/ 57245 w 87058"/>
                  <a:gd name="connsiteY21" fmla="*/ 15621 h 61722"/>
                  <a:gd name="connsiteX22" fmla="*/ 53244 w 87058"/>
                  <a:gd name="connsiteY22" fmla="*/ 20860 h 61722"/>
                  <a:gd name="connsiteX23" fmla="*/ 51625 w 87058"/>
                  <a:gd name="connsiteY23" fmla="*/ 28575 h 61722"/>
                  <a:gd name="connsiteX24" fmla="*/ 51625 w 87058"/>
                  <a:gd name="connsiteY24" fmla="*/ 61722 h 61722"/>
                  <a:gd name="connsiteX25" fmla="*/ 36100 w 87058"/>
                  <a:gd name="connsiteY25" fmla="*/ 61722 h 61722"/>
                  <a:gd name="connsiteX26" fmla="*/ 36100 w 87058"/>
                  <a:gd name="connsiteY26" fmla="*/ 27908 h 61722"/>
                  <a:gd name="connsiteX27" fmla="*/ 34100 w 87058"/>
                  <a:gd name="connsiteY27" fmla="*/ 17431 h 61722"/>
                  <a:gd name="connsiteX28" fmla="*/ 27432 w 87058"/>
                  <a:gd name="connsiteY28" fmla="*/ 13716 h 61722"/>
                  <a:gd name="connsiteX29" fmla="*/ 21717 w 87058"/>
                  <a:gd name="connsiteY29" fmla="*/ 15716 h 61722"/>
                  <a:gd name="connsiteX30" fmla="*/ 17716 w 87058"/>
                  <a:gd name="connsiteY30" fmla="*/ 21241 h 61722"/>
                  <a:gd name="connsiteX31" fmla="*/ 16288 w 87058"/>
                  <a:gd name="connsiteY31" fmla="*/ 29337 h 61722"/>
                  <a:gd name="connsiteX32" fmla="*/ 16288 w 87058"/>
                  <a:gd name="connsiteY32" fmla="*/ 61722 h 61722"/>
                  <a:gd name="connsiteX33" fmla="*/ 571 w 87058"/>
                  <a:gd name="connsiteY33" fmla="*/ 61722 h 61722"/>
                  <a:gd name="connsiteX34" fmla="*/ 571 w 87058"/>
                  <a:gd name="connsiteY34" fmla="*/ 14859 h 61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87058" h="61722">
                    <a:moveTo>
                      <a:pt x="381" y="14669"/>
                    </a:moveTo>
                    <a:cubicBezTo>
                      <a:pt x="381" y="12097"/>
                      <a:pt x="381" y="9430"/>
                      <a:pt x="285" y="6763"/>
                    </a:cubicBezTo>
                    <a:cubicBezTo>
                      <a:pt x="191" y="4096"/>
                      <a:pt x="95" y="2191"/>
                      <a:pt x="0" y="1238"/>
                    </a:cubicBezTo>
                    <a:lnTo>
                      <a:pt x="14954" y="1238"/>
                    </a:lnTo>
                    <a:cubicBezTo>
                      <a:pt x="15144" y="2096"/>
                      <a:pt x="15240" y="3715"/>
                      <a:pt x="15430" y="6191"/>
                    </a:cubicBezTo>
                    <a:cubicBezTo>
                      <a:pt x="15621" y="8668"/>
                      <a:pt x="15716" y="10668"/>
                      <a:pt x="15716" y="12097"/>
                    </a:cubicBezTo>
                    <a:lnTo>
                      <a:pt x="15907" y="12097"/>
                    </a:lnTo>
                    <a:cubicBezTo>
                      <a:pt x="17812" y="8001"/>
                      <a:pt x="20193" y="4953"/>
                      <a:pt x="23146" y="2953"/>
                    </a:cubicBezTo>
                    <a:cubicBezTo>
                      <a:pt x="26098" y="953"/>
                      <a:pt x="29527" y="0"/>
                      <a:pt x="33528" y="0"/>
                    </a:cubicBezTo>
                    <a:cubicBezTo>
                      <a:pt x="38100" y="0"/>
                      <a:pt x="41720" y="1048"/>
                      <a:pt x="44577" y="3143"/>
                    </a:cubicBezTo>
                    <a:cubicBezTo>
                      <a:pt x="47434" y="5239"/>
                      <a:pt x="49339" y="8192"/>
                      <a:pt x="50292" y="12192"/>
                    </a:cubicBezTo>
                    <a:lnTo>
                      <a:pt x="50673" y="12192"/>
                    </a:lnTo>
                    <a:cubicBezTo>
                      <a:pt x="52673" y="7811"/>
                      <a:pt x="55245" y="4667"/>
                      <a:pt x="58102" y="2858"/>
                    </a:cubicBezTo>
                    <a:cubicBezTo>
                      <a:pt x="60960" y="1048"/>
                      <a:pt x="64675" y="95"/>
                      <a:pt x="68961" y="95"/>
                    </a:cubicBezTo>
                    <a:cubicBezTo>
                      <a:pt x="75248" y="95"/>
                      <a:pt x="79820" y="2191"/>
                      <a:pt x="82677" y="6477"/>
                    </a:cubicBezTo>
                    <a:cubicBezTo>
                      <a:pt x="85534" y="10763"/>
                      <a:pt x="87059" y="16383"/>
                      <a:pt x="87059" y="23431"/>
                    </a:cubicBezTo>
                    <a:lnTo>
                      <a:pt x="87059" y="61722"/>
                    </a:lnTo>
                    <a:lnTo>
                      <a:pt x="71533" y="61722"/>
                    </a:lnTo>
                    <a:lnTo>
                      <a:pt x="71533" y="27908"/>
                    </a:lnTo>
                    <a:cubicBezTo>
                      <a:pt x="71533" y="23336"/>
                      <a:pt x="70866" y="19907"/>
                      <a:pt x="69532" y="17431"/>
                    </a:cubicBezTo>
                    <a:cubicBezTo>
                      <a:pt x="68199" y="14954"/>
                      <a:pt x="66008" y="13716"/>
                      <a:pt x="62865" y="13716"/>
                    </a:cubicBezTo>
                    <a:cubicBezTo>
                      <a:pt x="60770" y="13716"/>
                      <a:pt x="58864" y="14383"/>
                      <a:pt x="57245" y="15621"/>
                    </a:cubicBezTo>
                    <a:cubicBezTo>
                      <a:pt x="55626" y="16859"/>
                      <a:pt x="54197" y="18574"/>
                      <a:pt x="53244" y="20860"/>
                    </a:cubicBezTo>
                    <a:cubicBezTo>
                      <a:pt x="52292" y="23146"/>
                      <a:pt x="51721" y="25718"/>
                      <a:pt x="51625" y="28575"/>
                    </a:cubicBezTo>
                    <a:lnTo>
                      <a:pt x="51625" y="61722"/>
                    </a:lnTo>
                    <a:lnTo>
                      <a:pt x="36100" y="61722"/>
                    </a:lnTo>
                    <a:lnTo>
                      <a:pt x="36100" y="27908"/>
                    </a:lnTo>
                    <a:cubicBezTo>
                      <a:pt x="36100" y="23336"/>
                      <a:pt x="35433" y="19907"/>
                      <a:pt x="34100" y="17431"/>
                    </a:cubicBezTo>
                    <a:cubicBezTo>
                      <a:pt x="32766" y="14954"/>
                      <a:pt x="30575" y="13716"/>
                      <a:pt x="27432" y="13716"/>
                    </a:cubicBezTo>
                    <a:cubicBezTo>
                      <a:pt x="25336" y="13716"/>
                      <a:pt x="23432" y="14383"/>
                      <a:pt x="21717" y="15716"/>
                    </a:cubicBezTo>
                    <a:cubicBezTo>
                      <a:pt x="20002" y="17050"/>
                      <a:pt x="18669" y="18860"/>
                      <a:pt x="17716" y="21241"/>
                    </a:cubicBezTo>
                    <a:cubicBezTo>
                      <a:pt x="16764" y="23622"/>
                      <a:pt x="16288" y="26289"/>
                      <a:pt x="16288" y="29337"/>
                    </a:cubicBezTo>
                    <a:lnTo>
                      <a:pt x="16288" y="61722"/>
                    </a:lnTo>
                    <a:lnTo>
                      <a:pt x="571" y="61722"/>
                    </a:lnTo>
                    <a:lnTo>
                      <a:pt x="571" y="14859"/>
                    </a:lnTo>
                    <a:close/>
                  </a:path>
                </a:pathLst>
              </a:custGeom>
              <a:solidFill>
                <a:srgbClr val="231F20"/>
              </a:solidFill>
              <a:ln w="9525" cap="flat">
                <a:noFill/>
                <a:prstDash val="solid"/>
                <a:miter/>
              </a:ln>
            </p:spPr>
            <p:txBody>
              <a:bodyPr rtlCol="0" anchor="ctr"/>
              <a:lstStyle/>
              <a:p>
                <a:pPr marL="0" marR="0" lvl="0" indent="0" algn="l" defTabSz="913578" rtl="0" eaLnBrk="1" fontAlgn="auto" latinLnBrk="0" hangingPunct="1">
                  <a:lnSpc>
                    <a:spcPct val="100000"/>
                  </a:lnSpc>
                  <a:spcBef>
                    <a:spcPts val="0"/>
                  </a:spcBef>
                  <a:spcAft>
                    <a:spcPts val="0"/>
                  </a:spcAft>
                  <a:buClrTx/>
                  <a:buSzTx/>
                  <a:buFontTx/>
                  <a:buNone/>
                  <a:tabLst/>
                  <a:defRPr/>
                </a:pPr>
                <a:endParaRPr kumimoji="0" lang="en-US" sz="17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331" name="Freeform: Shape 156">
                <a:extLst>
                  <a:ext uri="{FF2B5EF4-FFF2-40B4-BE49-F238E27FC236}">
                    <a16:creationId xmlns:a16="http://schemas.microsoft.com/office/drawing/2014/main" id="{05E9565D-2788-C169-3B4E-780B2429F8D0}"/>
                  </a:ext>
                </a:extLst>
              </p:cNvPr>
              <p:cNvSpPr/>
              <p:nvPr/>
            </p:nvSpPr>
            <p:spPr>
              <a:xfrm>
                <a:off x="7755445" y="4213574"/>
                <a:ext cx="55245" cy="62769"/>
              </a:xfrm>
              <a:custGeom>
                <a:avLst/>
                <a:gdLst>
                  <a:gd name="connsiteX0" fmla="*/ 7716 w 55245"/>
                  <a:gd name="connsiteY0" fmla="*/ 54769 h 62769"/>
                  <a:gd name="connsiteX1" fmla="*/ 0 w 55245"/>
                  <a:gd name="connsiteY1" fmla="*/ 31242 h 62769"/>
                  <a:gd name="connsiteX2" fmla="*/ 3810 w 55245"/>
                  <a:gd name="connsiteY2" fmla="*/ 13716 h 62769"/>
                  <a:gd name="connsiteX3" fmla="*/ 14097 w 55245"/>
                  <a:gd name="connsiteY3" fmla="*/ 3334 h 62769"/>
                  <a:gd name="connsiteX4" fmla="*/ 28480 w 55245"/>
                  <a:gd name="connsiteY4" fmla="*/ 0 h 62769"/>
                  <a:gd name="connsiteX5" fmla="*/ 43720 w 55245"/>
                  <a:gd name="connsiteY5" fmla="*/ 4001 h 62769"/>
                  <a:gd name="connsiteX6" fmla="*/ 52483 w 55245"/>
                  <a:gd name="connsiteY6" fmla="*/ 14478 h 62769"/>
                  <a:gd name="connsiteX7" fmla="*/ 55245 w 55245"/>
                  <a:gd name="connsiteY7" fmla="*/ 29146 h 62769"/>
                  <a:gd name="connsiteX8" fmla="*/ 54864 w 55245"/>
                  <a:gd name="connsiteY8" fmla="*/ 35433 h 62769"/>
                  <a:gd name="connsiteX9" fmla="*/ 16479 w 55245"/>
                  <a:gd name="connsiteY9" fmla="*/ 35433 h 62769"/>
                  <a:gd name="connsiteX10" fmla="*/ 19812 w 55245"/>
                  <a:gd name="connsiteY10" fmla="*/ 46577 h 62769"/>
                  <a:gd name="connsiteX11" fmla="*/ 30195 w 55245"/>
                  <a:gd name="connsiteY11" fmla="*/ 50673 h 62769"/>
                  <a:gd name="connsiteX12" fmla="*/ 35909 w 55245"/>
                  <a:gd name="connsiteY12" fmla="*/ 50006 h 62769"/>
                  <a:gd name="connsiteX13" fmla="*/ 40958 w 55245"/>
                  <a:gd name="connsiteY13" fmla="*/ 48006 h 62769"/>
                  <a:gd name="connsiteX14" fmla="*/ 46959 w 55245"/>
                  <a:gd name="connsiteY14" fmla="*/ 44196 h 62769"/>
                  <a:gd name="connsiteX15" fmla="*/ 53340 w 55245"/>
                  <a:gd name="connsiteY15" fmla="*/ 54388 h 62769"/>
                  <a:gd name="connsiteX16" fmla="*/ 42672 w 55245"/>
                  <a:gd name="connsiteY16" fmla="*/ 60579 h 62769"/>
                  <a:gd name="connsiteX17" fmla="*/ 29433 w 55245"/>
                  <a:gd name="connsiteY17" fmla="*/ 62770 h 62769"/>
                  <a:gd name="connsiteX18" fmla="*/ 7811 w 55245"/>
                  <a:gd name="connsiteY18" fmla="*/ 54864 h 62769"/>
                  <a:gd name="connsiteX19" fmla="*/ 40005 w 55245"/>
                  <a:gd name="connsiteY19" fmla="*/ 24765 h 62769"/>
                  <a:gd name="connsiteX20" fmla="*/ 36862 w 55245"/>
                  <a:gd name="connsiteY20" fmla="*/ 14764 h 62769"/>
                  <a:gd name="connsiteX21" fmla="*/ 28385 w 55245"/>
                  <a:gd name="connsiteY21" fmla="*/ 11525 h 62769"/>
                  <a:gd name="connsiteX22" fmla="*/ 20003 w 55245"/>
                  <a:gd name="connsiteY22" fmla="*/ 14764 h 62769"/>
                  <a:gd name="connsiteX23" fmla="*/ 16669 w 55245"/>
                  <a:gd name="connsiteY23" fmla="*/ 24765 h 62769"/>
                  <a:gd name="connsiteX24" fmla="*/ 40100 w 55245"/>
                  <a:gd name="connsiteY24" fmla="*/ 24765 h 62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55245" h="62769">
                    <a:moveTo>
                      <a:pt x="7716" y="54769"/>
                    </a:moveTo>
                    <a:cubicBezTo>
                      <a:pt x="2572" y="49530"/>
                      <a:pt x="0" y="41624"/>
                      <a:pt x="0" y="31242"/>
                    </a:cubicBezTo>
                    <a:cubicBezTo>
                      <a:pt x="0" y="24289"/>
                      <a:pt x="1238" y="18383"/>
                      <a:pt x="3810" y="13716"/>
                    </a:cubicBezTo>
                    <a:cubicBezTo>
                      <a:pt x="6382" y="9049"/>
                      <a:pt x="9811" y="5620"/>
                      <a:pt x="14097" y="3334"/>
                    </a:cubicBezTo>
                    <a:cubicBezTo>
                      <a:pt x="18384" y="1048"/>
                      <a:pt x="23146" y="0"/>
                      <a:pt x="28480" y="0"/>
                    </a:cubicBezTo>
                    <a:cubicBezTo>
                      <a:pt x="34576" y="0"/>
                      <a:pt x="39720" y="1334"/>
                      <a:pt x="43720" y="4001"/>
                    </a:cubicBezTo>
                    <a:cubicBezTo>
                      <a:pt x="47720" y="6668"/>
                      <a:pt x="50673" y="10192"/>
                      <a:pt x="52483" y="14478"/>
                    </a:cubicBezTo>
                    <a:cubicBezTo>
                      <a:pt x="54293" y="18764"/>
                      <a:pt x="55245" y="23717"/>
                      <a:pt x="55245" y="29146"/>
                    </a:cubicBezTo>
                    <a:cubicBezTo>
                      <a:pt x="55245" y="31242"/>
                      <a:pt x="55150" y="33338"/>
                      <a:pt x="54864" y="35433"/>
                    </a:cubicBezTo>
                    <a:lnTo>
                      <a:pt x="16479" y="35433"/>
                    </a:lnTo>
                    <a:cubicBezTo>
                      <a:pt x="16479" y="40100"/>
                      <a:pt x="17622" y="43815"/>
                      <a:pt x="19812" y="46577"/>
                    </a:cubicBezTo>
                    <a:cubicBezTo>
                      <a:pt x="22003" y="49339"/>
                      <a:pt x="25528" y="50673"/>
                      <a:pt x="30195" y="50673"/>
                    </a:cubicBezTo>
                    <a:cubicBezTo>
                      <a:pt x="32290" y="50673"/>
                      <a:pt x="34195" y="50483"/>
                      <a:pt x="35909" y="50006"/>
                    </a:cubicBezTo>
                    <a:cubicBezTo>
                      <a:pt x="37624" y="49530"/>
                      <a:pt x="39338" y="48863"/>
                      <a:pt x="40958" y="48006"/>
                    </a:cubicBezTo>
                    <a:cubicBezTo>
                      <a:pt x="42577" y="47149"/>
                      <a:pt x="44578" y="45815"/>
                      <a:pt x="46959" y="44196"/>
                    </a:cubicBezTo>
                    <a:lnTo>
                      <a:pt x="53340" y="54388"/>
                    </a:lnTo>
                    <a:cubicBezTo>
                      <a:pt x="49816" y="57055"/>
                      <a:pt x="46197" y="59150"/>
                      <a:pt x="42672" y="60579"/>
                    </a:cubicBezTo>
                    <a:cubicBezTo>
                      <a:pt x="39148" y="62008"/>
                      <a:pt x="34671" y="62770"/>
                      <a:pt x="29433" y="62770"/>
                    </a:cubicBezTo>
                    <a:cubicBezTo>
                      <a:pt x="20194" y="62770"/>
                      <a:pt x="12954" y="60103"/>
                      <a:pt x="7811" y="54864"/>
                    </a:cubicBezTo>
                    <a:close/>
                    <a:moveTo>
                      <a:pt x="40005" y="24765"/>
                    </a:moveTo>
                    <a:cubicBezTo>
                      <a:pt x="39815" y="20193"/>
                      <a:pt x="38767" y="16859"/>
                      <a:pt x="36862" y="14764"/>
                    </a:cubicBezTo>
                    <a:cubicBezTo>
                      <a:pt x="34957" y="12668"/>
                      <a:pt x="32100" y="11525"/>
                      <a:pt x="28385" y="11525"/>
                    </a:cubicBezTo>
                    <a:cubicBezTo>
                      <a:pt x="24670" y="11525"/>
                      <a:pt x="22098" y="12573"/>
                      <a:pt x="20003" y="14764"/>
                    </a:cubicBezTo>
                    <a:cubicBezTo>
                      <a:pt x="17907" y="16954"/>
                      <a:pt x="16764" y="20288"/>
                      <a:pt x="16669" y="24765"/>
                    </a:cubicBezTo>
                    <a:lnTo>
                      <a:pt x="40100" y="24765"/>
                    </a:lnTo>
                    <a:close/>
                  </a:path>
                </a:pathLst>
              </a:custGeom>
              <a:solidFill>
                <a:srgbClr val="231F20"/>
              </a:solidFill>
              <a:ln w="9525" cap="flat">
                <a:noFill/>
                <a:prstDash val="solid"/>
                <a:miter/>
              </a:ln>
            </p:spPr>
            <p:txBody>
              <a:bodyPr rtlCol="0" anchor="ctr"/>
              <a:lstStyle/>
              <a:p>
                <a:pPr marL="0" marR="0" lvl="0" indent="0" algn="l" defTabSz="913578" rtl="0" eaLnBrk="1" fontAlgn="auto" latinLnBrk="0" hangingPunct="1">
                  <a:lnSpc>
                    <a:spcPct val="100000"/>
                  </a:lnSpc>
                  <a:spcBef>
                    <a:spcPts val="0"/>
                  </a:spcBef>
                  <a:spcAft>
                    <a:spcPts val="0"/>
                  </a:spcAft>
                  <a:buClrTx/>
                  <a:buSzTx/>
                  <a:buFontTx/>
                  <a:buNone/>
                  <a:tabLst/>
                  <a:defRPr/>
                </a:pPr>
                <a:endParaRPr kumimoji="0" lang="en-US" sz="17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332" name="Freeform: Shape 157">
                <a:extLst>
                  <a:ext uri="{FF2B5EF4-FFF2-40B4-BE49-F238E27FC236}">
                    <a16:creationId xmlns:a16="http://schemas.microsoft.com/office/drawing/2014/main" id="{B5F18179-471C-0C48-2D0D-22C8C9ACB1C6}"/>
                  </a:ext>
                </a:extLst>
              </p:cNvPr>
              <p:cNvSpPr/>
              <p:nvPr/>
            </p:nvSpPr>
            <p:spPr>
              <a:xfrm>
                <a:off x="7822215" y="4213574"/>
                <a:ext cx="55150" cy="61722"/>
              </a:xfrm>
              <a:custGeom>
                <a:avLst/>
                <a:gdLst>
                  <a:gd name="connsiteX0" fmla="*/ 381 w 55150"/>
                  <a:gd name="connsiteY0" fmla="*/ 14669 h 61722"/>
                  <a:gd name="connsiteX1" fmla="*/ 286 w 55150"/>
                  <a:gd name="connsiteY1" fmla="*/ 6763 h 61722"/>
                  <a:gd name="connsiteX2" fmla="*/ 0 w 55150"/>
                  <a:gd name="connsiteY2" fmla="*/ 1238 h 61722"/>
                  <a:gd name="connsiteX3" fmla="*/ 14954 w 55150"/>
                  <a:gd name="connsiteY3" fmla="*/ 1238 h 61722"/>
                  <a:gd name="connsiteX4" fmla="*/ 15430 w 55150"/>
                  <a:gd name="connsiteY4" fmla="*/ 6191 h 61722"/>
                  <a:gd name="connsiteX5" fmla="*/ 15716 w 55150"/>
                  <a:gd name="connsiteY5" fmla="*/ 12097 h 61722"/>
                  <a:gd name="connsiteX6" fmla="*/ 15907 w 55150"/>
                  <a:gd name="connsiteY6" fmla="*/ 12097 h 61722"/>
                  <a:gd name="connsiteX7" fmla="*/ 23908 w 55150"/>
                  <a:gd name="connsiteY7" fmla="*/ 2953 h 61722"/>
                  <a:gd name="connsiteX8" fmla="*/ 35338 w 55150"/>
                  <a:gd name="connsiteY8" fmla="*/ 0 h 61722"/>
                  <a:gd name="connsiteX9" fmla="*/ 50388 w 55150"/>
                  <a:gd name="connsiteY9" fmla="*/ 6382 h 61722"/>
                  <a:gd name="connsiteX10" fmla="*/ 55150 w 55150"/>
                  <a:gd name="connsiteY10" fmla="*/ 23336 h 61722"/>
                  <a:gd name="connsiteX11" fmla="*/ 55150 w 55150"/>
                  <a:gd name="connsiteY11" fmla="*/ 61627 h 61722"/>
                  <a:gd name="connsiteX12" fmla="*/ 39529 w 55150"/>
                  <a:gd name="connsiteY12" fmla="*/ 61627 h 61722"/>
                  <a:gd name="connsiteX13" fmla="*/ 39529 w 55150"/>
                  <a:gd name="connsiteY13" fmla="*/ 27813 h 61722"/>
                  <a:gd name="connsiteX14" fmla="*/ 37243 w 55150"/>
                  <a:gd name="connsiteY14" fmla="*/ 17240 h 61722"/>
                  <a:gd name="connsiteX15" fmla="*/ 29337 w 55150"/>
                  <a:gd name="connsiteY15" fmla="*/ 13526 h 61722"/>
                  <a:gd name="connsiteX16" fmla="*/ 22574 w 55150"/>
                  <a:gd name="connsiteY16" fmla="*/ 15526 h 61722"/>
                  <a:gd name="connsiteX17" fmla="*/ 17812 w 55150"/>
                  <a:gd name="connsiteY17" fmla="*/ 21146 h 61722"/>
                  <a:gd name="connsiteX18" fmla="*/ 16097 w 55150"/>
                  <a:gd name="connsiteY18" fmla="*/ 29337 h 61722"/>
                  <a:gd name="connsiteX19" fmla="*/ 16097 w 55150"/>
                  <a:gd name="connsiteY19" fmla="*/ 61722 h 61722"/>
                  <a:gd name="connsiteX20" fmla="*/ 381 w 55150"/>
                  <a:gd name="connsiteY20" fmla="*/ 61722 h 61722"/>
                  <a:gd name="connsiteX21" fmla="*/ 381 w 55150"/>
                  <a:gd name="connsiteY21" fmla="*/ 14859 h 61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5150" h="61722">
                    <a:moveTo>
                      <a:pt x="381" y="14669"/>
                    </a:moveTo>
                    <a:cubicBezTo>
                      <a:pt x="381" y="12097"/>
                      <a:pt x="381" y="9430"/>
                      <a:pt x="286" y="6763"/>
                    </a:cubicBezTo>
                    <a:cubicBezTo>
                      <a:pt x="191" y="4096"/>
                      <a:pt x="95" y="2191"/>
                      <a:pt x="0" y="1238"/>
                    </a:cubicBezTo>
                    <a:lnTo>
                      <a:pt x="14954" y="1238"/>
                    </a:lnTo>
                    <a:cubicBezTo>
                      <a:pt x="15145" y="2096"/>
                      <a:pt x="15240" y="3715"/>
                      <a:pt x="15430" y="6191"/>
                    </a:cubicBezTo>
                    <a:cubicBezTo>
                      <a:pt x="15621" y="8668"/>
                      <a:pt x="15716" y="10668"/>
                      <a:pt x="15716" y="12097"/>
                    </a:cubicBezTo>
                    <a:lnTo>
                      <a:pt x="15907" y="12097"/>
                    </a:lnTo>
                    <a:cubicBezTo>
                      <a:pt x="18002" y="8001"/>
                      <a:pt x="20670" y="4953"/>
                      <a:pt x="23908" y="2953"/>
                    </a:cubicBezTo>
                    <a:cubicBezTo>
                      <a:pt x="27147" y="953"/>
                      <a:pt x="30956" y="0"/>
                      <a:pt x="35338" y="0"/>
                    </a:cubicBezTo>
                    <a:cubicBezTo>
                      <a:pt x="42196" y="0"/>
                      <a:pt x="47244" y="2096"/>
                      <a:pt x="50388" y="6382"/>
                    </a:cubicBezTo>
                    <a:cubicBezTo>
                      <a:pt x="53530" y="10668"/>
                      <a:pt x="55150" y="16288"/>
                      <a:pt x="55150" y="23336"/>
                    </a:cubicBezTo>
                    <a:lnTo>
                      <a:pt x="55150" y="61627"/>
                    </a:lnTo>
                    <a:lnTo>
                      <a:pt x="39529" y="61627"/>
                    </a:lnTo>
                    <a:lnTo>
                      <a:pt x="39529" y="27813"/>
                    </a:lnTo>
                    <a:cubicBezTo>
                      <a:pt x="39529" y="23241"/>
                      <a:pt x="38767" y="19717"/>
                      <a:pt x="37243" y="17240"/>
                    </a:cubicBezTo>
                    <a:cubicBezTo>
                      <a:pt x="35719" y="14764"/>
                      <a:pt x="33052" y="13526"/>
                      <a:pt x="29337" y="13526"/>
                    </a:cubicBezTo>
                    <a:cubicBezTo>
                      <a:pt x="26765" y="13526"/>
                      <a:pt x="24575" y="14192"/>
                      <a:pt x="22574" y="15526"/>
                    </a:cubicBezTo>
                    <a:cubicBezTo>
                      <a:pt x="20574" y="16859"/>
                      <a:pt x="18955" y="18669"/>
                      <a:pt x="17812" y="21146"/>
                    </a:cubicBezTo>
                    <a:cubicBezTo>
                      <a:pt x="16669" y="23622"/>
                      <a:pt x="16097" y="26289"/>
                      <a:pt x="16097" y="29337"/>
                    </a:cubicBezTo>
                    <a:lnTo>
                      <a:pt x="16097" y="61722"/>
                    </a:lnTo>
                    <a:lnTo>
                      <a:pt x="381" y="61722"/>
                    </a:lnTo>
                    <a:lnTo>
                      <a:pt x="381" y="14859"/>
                    </a:lnTo>
                    <a:close/>
                  </a:path>
                </a:pathLst>
              </a:custGeom>
              <a:solidFill>
                <a:srgbClr val="231F20"/>
              </a:solidFill>
              <a:ln w="9525" cap="flat">
                <a:noFill/>
                <a:prstDash val="solid"/>
                <a:miter/>
              </a:ln>
            </p:spPr>
            <p:txBody>
              <a:bodyPr rtlCol="0" anchor="ctr"/>
              <a:lstStyle/>
              <a:p>
                <a:pPr marL="0" marR="0" lvl="0" indent="0" algn="l" defTabSz="913578" rtl="0" eaLnBrk="1" fontAlgn="auto" latinLnBrk="0" hangingPunct="1">
                  <a:lnSpc>
                    <a:spcPct val="100000"/>
                  </a:lnSpc>
                  <a:spcBef>
                    <a:spcPts val="0"/>
                  </a:spcBef>
                  <a:spcAft>
                    <a:spcPts val="0"/>
                  </a:spcAft>
                  <a:buClrTx/>
                  <a:buSzTx/>
                  <a:buFontTx/>
                  <a:buNone/>
                  <a:tabLst/>
                  <a:defRPr/>
                </a:pPr>
                <a:endParaRPr kumimoji="0" lang="en-US" sz="17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333" name="Freeform: Shape 158">
                <a:extLst>
                  <a:ext uri="{FF2B5EF4-FFF2-40B4-BE49-F238E27FC236}">
                    <a16:creationId xmlns:a16="http://schemas.microsoft.com/office/drawing/2014/main" id="{0CC685CF-112C-B3FF-7EC3-A773C9A590B9}"/>
                  </a:ext>
                </a:extLst>
              </p:cNvPr>
              <p:cNvSpPr/>
              <p:nvPr/>
            </p:nvSpPr>
            <p:spPr>
              <a:xfrm>
                <a:off x="7885842" y="4200048"/>
                <a:ext cx="35814" cy="76104"/>
              </a:xfrm>
              <a:custGeom>
                <a:avLst/>
                <a:gdLst>
                  <a:gd name="connsiteX0" fmla="*/ 11621 w 35814"/>
                  <a:gd name="connsiteY0" fmla="*/ 71914 h 76104"/>
                  <a:gd name="connsiteX1" fmla="*/ 7620 w 35814"/>
                  <a:gd name="connsiteY1" fmla="*/ 59722 h 76104"/>
                  <a:gd name="connsiteX2" fmla="*/ 7620 w 35814"/>
                  <a:gd name="connsiteY2" fmla="*/ 26384 h 76104"/>
                  <a:gd name="connsiteX3" fmla="*/ 0 w 35814"/>
                  <a:gd name="connsiteY3" fmla="*/ 26384 h 76104"/>
                  <a:gd name="connsiteX4" fmla="*/ 0 w 35814"/>
                  <a:gd name="connsiteY4" fmla="*/ 14764 h 76104"/>
                  <a:gd name="connsiteX5" fmla="*/ 8382 w 35814"/>
                  <a:gd name="connsiteY5" fmla="*/ 14764 h 76104"/>
                  <a:gd name="connsiteX6" fmla="*/ 9144 w 35814"/>
                  <a:gd name="connsiteY6" fmla="*/ 1143 h 76104"/>
                  <a:gd name="connsiteX7" fmla="*/ 23051 w 35814"/>
                  <a:gd name="connsiteY7" fmla="*/ 0 h 76104"/>
                  <a:gd name="connsiteX8" fmla="*/ 23051 w 35814"/>
                  <a:gd name="connsiteY8" fmla="*/ 14764 h 76104"/>
                  <a:gd name="connsiteX9" fmla="*/ 35053 w 35814"/>
                  <a:gd name="connsiteY9" fmla="*/ 14764 h 76104"/>
                  <a:gd name="connsiteX10" fmla="*/ 35053 w 35814"/>
                  <a:gd name="connsiteY10" fmla="*/ 26384 h 76104"/>
                  <a:gd name="connsiteX11" fmla="*/ 23051 w 35814"/>
                  <a:gd name="connsiteY11" fmla="*/ 26384 h 76104"/>
                  <a:gd name="connsiteX12" fmla="*/ 23051 w 35814"/>
                  <a:gd name="connsiteY12" fmla="*/ 55531 h 76104"/>
                  <a:gd name="connsiteX13" fmla="*/ 24479 w 35814"/>
                  <a:gd name="connsiteY13" fmla="*/ 61246 h 76104"/>
                  <a:gd name="connsiteX14" fmla="*/ 28956 w 35814"/>
                  <a:gd name="connsiteY14" fmla="*/ 63055 h 76104"/>
                  <a:gd name="connsiteX15" fmla="*/ 34671 w 35814"/>
                  <a:gd name="connsiteY15" fmla="*/ 62389 h 76104"/>
                  <a:gd name="connsiteX16" fmla="*/ 35814 w 35814"/>
                  <a:gd name="connsiteY16" fmla="*/ 74295 h 76104"/>
                  <a:gd name="connsiteX17" fmla="*/ 23051 w 35814"/>
                  <a:gd name="connsiteY17" fmla="*/ 76105 h 76104"/>
                  <a:gd name="connsiteX18" fmla="*/ 11525 w 35814"/>
                  <a:gd name="connsiteY18" fmla="*/ 72009 h 76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5814" h="76104">
                    <a:moveTo>
                      <a:pt x="11621" y="71914"/>
                    </a:moveTo>
                    <a:cubicBezTo>
                      <a:pt x="8954" y="69151"/>
                      <a:pt x="7620" y="65151"/>
                      <a:pt x="7620" y="59722"/>
                    </a:cubicBezTo>
                    <a:lnTo>
                      <a:pt x="7620" y="26384"/>
                    </a:lnTo>
                    <a:lnTo>
                      <a:pt x="0" y="26384"/>
                    </a:lnTo>
                    <a:lnTo>
                      <a:pt x="0" y="14764"/>
                    </a:lnTo>
                    <a:lnTo>
                      <a:pt x="8382" y="14764"/>
                    </a:lnTo>
                    <a:lnTo>
                      <a:pt x="9144" y="1143"/>
                    </a:lnTo>
                    <a:lnTo>
                      <a:pt x="23051" y="0"/>
                    </a:lnTo>
                    <a:lnTo>
                      <a:pt x="23051" y="14764"/>
                    </a:lnTo>
                    <a:lnTo>
                      <a:pt x="35053" y="14764"/>
                    </a:lnTo>
                    <a:lnTo>
                      <a:pt x="35053" y="26384"/>
                    </a:lnTo>
                    <a:lnTo>
                      <a:pt x="23051" y="26384"/>
                    </a:lnTo>
                    <a:lnTo>
                      <a:pt x="23051" y="55531"/>
                    </a:lnTo>
                    <a:cubicBezTo>
                      <a:pt x="23051" y="58102"/>
                      <a:pt x="23527" y="60007"/>
                      <a:pt x="24479" y="61246"/>
                    </a:cubicBezTo>
                    <a:cubicBezTo>
                      <a:pt x="25432" y="62484"/>
                      <a:pt x="26861" y="63055"/>
                      <a:pt x="28956" y="63055"/>
                    </a:cubicBezTo>
                    <a:cubicBezTo>
                      <a:pt x="30575" y="63055"/>
                      <a:pt x="32481" y="62865"/>
                      <a:pt x="34671" y="62389"/>
                    </a:cubicBezTo>
                    <a:lnTo>
                      <a:pt x="35814" y="74295"/>
                    </a:lnTo>
                    <a:cubicBezTo>
                      <a:pt x="31528" y="75438"/>
                      <a:pt x="27337" y="76105"/>
                      <a:pt x="23051" y="76105"/>
                    </a:cubicBezTo>
                    <a:cubicBezTo>
                      <a:pt x="18002" y="76105"/>
                      <a:pt x="14193" y="74771"/>
                      <a:pt x="11525" y="72009"/>
                    </a:cubicBezTo>
                    <a:close/>
                  </a:path>
                </a:pathLst>
              </a:custGeom>
              <a:solidFill>
                <a:srgbClr val="231F20"/>
              </a:solidFill>
              <a:ln w="9525" cap="flat">
                <a:noFill/>
                <a:prstDash val="solid"/>
                <a:miter/>
              </a:ln>
            </p:spPr>
            <p:txBody>
              <a:bodyPr rtlCol="0" anchor="ctr"/>
              <a:lstStyle/>
              <a:p>
                <a:pPr marL="0" marR="0" lvl="0" indent="0" algn="l" defTabSz="913578" rtl="0" eaLnBrk="1" fontAlgn="auto" latinLnBrk="0" hangingPunct="1">
                  <a:lnSpc>
                    <a:spcPct val="100000"/>
                  </a:lnSpc>
                  <a:spcBef>
                    <a:spcPts val="0"/>
                  </a:spcBef>
                  <a:spcAft>
                    <a:spcPts val="0"/>
                  </a:spcAft>
                  <a:buClrTx/>
                  <a:buSzTx/>
                  <a:buFontTx/>
                  <a:buNone/>
                  <a:tabLst/>
                  <a:defRPr/>
                </a:pPr>
                <a:endParaRPr kumimoji="0" lang="en-US" sz="17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grpSp>
        <p:sp>
          <p:nvSpPr>
            <p:cNvPr id="274" name="Freeform: Shape 99">
              <a:extLst>
                <a:ext uri="{FF2B5EF4-FFF2-40B4-BE49-F238E27FC236}">
                  <a16:creationId xmlns:a16="http://schemas.microsoft.com/office/drawing/2014/main" id="{2EC69C72-363E-2F95-ED09-A3B72B02C3E6}"/>
                </a:ext>
              </a:extLst>
            </p:cNvPr>
            <p:cNvSpPr/>
            <p:nvPr/>
          </p:nvSpPr>
          <p:spPr>
            <a:xfrm>
              <a:off x="3896035" y="4162971"/>
              <a:ext cx="133700" cy="78688"/>
            </a:xfrm>
            <a:custGeom>
              <a:avLst/>
              <a:gdLst>
                <a:gd name="connsiteX0" fmla="*/ 100584 w 100584"/>
                <a:gd name="connsiteY0" fmla="*/ 14002 h 57340"/>
                <a:gd name="connsiteX1" fmla="*/ 43244 w 100584"/>
                <a:gd name="connsiteY1" fmla="*/ 57341 h 57340"/>
                <a:gd name="connsiteX2" fmla="*/ 0 w 100584"/>
                <a:gd name="connsiteY2" fmla="*/ 0 h 57340"/>
              </a:gdLst>
              <a:ahLst/>
              <a:cxnLst>
                <a:cxn ang="0">
                  <a:pos x="connsiteX0" y="connsiteY0"/>
                </a:cxn>
                <a:cxn ang="0">
                  <a:pos x="connsiteX1" y="connsiteY1"/>
                </a:cxn>
                <a:cxn ang="0">
                  <a:pos x="connsiteX2" y="connsiteY2"/>
                </a:cxn>
              </a:cxnLst>
              <a:rect l="l" t="t" r="r" b="b"/>
              <a:pathLst>
                <a:path w="100584" h="57340">
                  <a:moveTo>
                    <a:pt x="100584" y="14002"/>
                  </a:moveTo>
                  <a:lnTo>
                    <a:pt x="43244" y="57341"/>
                  </a:lnTo>
                  <a:lnTo>
                    <a:pt x="0" y="0"/>
                  </a:lnTo>
                </a:path>
              </a:pathLst>
            </a:custGeom>
            <a:noFill/>
            <a:ln w="12700" cap="flat">
              <a:solidFill>
                <a:srgbClr val="AFBAC1"/>
              </a:solidFill>
              <a:prstDash val="solid"/>
              <a:miter/>
            </a:ln>
          </p:spPr>
          <p:txBody>
            <a:bodyPr rtlCol="0" anchor="ctr"/>
            <a:lstStyle/>
            <a:p>
              <a:pPr marL="0" marR="0" lvl="0" indent="0" algn="l" defTabSz="913578" rtl="0" eaLnBrk="1" fontAlgn="auto" latinLnBrk="0" hangingPunct="1">
                <a:lnSpc>
                  <a:spcPct val="100000"/>
                </a:lnSpc>
                <a:spcBef>
                  <a:spcPts val="0"/>
                </a:spcBef>
                <a:spcAft>
                  <a:spcPts val="0"/>
                </a:spcAft>
                <a:buClrTx/>
                <a:buSzTx/>
                <a:buFontTx/>
                <a:buNone/>
                <a:tabLst/>
                <a:defRPr/>
              </a:pPr>
              <a:endParaRPr kumimoji="0" lang="en-US" sz="17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275" name="Freeform: Shape 100">
              <a:extLst>
                <a:ext uri="{FF2B5EF4-FFF2-40B4-BE49-F238E27FC236}">
                  <a16:creationId xmlns:a16="http://schemas.microsoft.com/office/drawing/2014/main" id="{D8B26133-5C8D-DB7B-14ED-F39AD96AF189}"/>
                </a:ext>
              </a:extLst>
            </p:cNvPr>
            <p:cNvSpPr/>
            <p:nvPr/>
          </p:nvSpPr>
          <p:spPr>
            <a:xfrm>
              <a:off x="11139044" y="4162971"/>
              <a:ext cx="133700" cy="78688"/>
            </a:xfrm>
            <a:custGeom>
              <a:avLst/>
              <a:gdLst>
                <a:gd name="connsiteX0" fmla="*/ 0 w 100583"/>
                <a:gd name="connsiteY0" fmla="*/ 14002 h 57340"/>
                <a:gd name="connsiteX1" fmla="*/ 57245 w 100583"/>
                <a:gd name="connsiteY1" fmla="*/ 57341 h 57340"/>
                <a:gd name="connsiteX2" fmla="*/ 100584 w 100583"/>
                <a:gd name="connsiteY2" fmla="*/ 0 h 57340"/>
              </a:gdLst>
              <a:ahLst/>
              <a:cxnLst>
                <a:cxn ang="0">
                  <a:pos x="connsiteX0" y="connsiteY0"/>
                </a:cxn>
                <a:cxn ang="0">
                  <a:pos x="connsiteX1" y="connsiteY1"/>
                </a:cxn>
                <a:cxn ang="0">
                  <a:pos x="connsiteX2" y="connsiteY2"/>
                </a:cxn>
              </a:cxnLst>
              <a:rect l="l" t="t" r="r" b="b"/>
              <a:pathLst>
                <a:path w="100583" h="57340">
                  <a:moveTo>
                    <a:pt x="0" y="14002"/>
                  </a:moveTo>
                  <a:lnTo>
                    <a:pt x="57245" y="57341"/>
                  </a:lnTo>
                  <a:lnTo>
                    <a:pt x="100584" y="0"/>
                  </a:lnTo>
                </a:path>
              </a:pathLst>
            </a:custGeom>
            <a:noFill/>
            <a:ln w="12700" cap="flat">
              <a:solidFill>
                <a:srgbClr val="AFBAC1"/>
              </a:solidFill>
              <a:prstDash val="solid"/>
              <a:miter/>
            </a:ln>
          </p:spPr>
          <p:txBody>
            <a:bodyPr rtlCol="0" anchor="ctr"/>
            <a:lstStyle/>
            <a:p>
              <a:pPr marL="0" marR="0" lvl="0" indent="0" algn="l" defTabSz="913578" rtl="0" eaLnBrk="1" fontAlgn="auto" latinLnBrk="0" hangingPunct="1">
                <a:lnSpc>
                  <a:spcPct val="100000"/>
                </a:lnSpc>
                <a:spcBef>
                  <a:spcPts val="0"/>
                </a:spcBef>
                <a:spcAft>
                  <a:spcPts val="0"/>
                </a:spcAft>
                <a:buClrTx/>
                <a:buSzTx/>
                <a:buFontTx/>
                <a:buNone/>
                <a:tabLst/>
                <a:defRPr/>
              </a:pPr>
              <a:endParaRPr kumimoji="0" lang="en-US" sz="17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grpSp>
          <p:nvGrpSpPr>
            <p:cNvPr id="276" name="Group 101">
              <a:extLst>
                <a:ext uri="{FF2B5EF4-FFF2-40B4-BE49-F238E27FC236}">
                  <a16:creationId xmlns:a16="http://schemas.microsoft.com/office/drawing/2014/main" id="{251E5564-44BB-7E59-2429-99A6A3EF67DE}"/>
                </a:ext>
              </a:extLst>
            </p:cNvPr>
            <p:cNvGrpSpPr/>
            <p:nvPr/>
          </p:nvGrpSpPr>
          <p:grpSpPr>
            <a:xfrm>
              <a:off x="6487133" y="910723"/>
              <a:ext cx="2193358" cy="292623"/>
              <a:chOff x="5133975" y="866775"/>
              <a:chExt cx="1927383" cy="249077"/>
            </a:xfrm>
          </p:grpSpPr>
          <p:sp>
            <p:nvSpPr>
              <p:cNvPr id="277" name="Freeform: Shape 102">
                <a:extLst>
                  <a:ext uri="{FF2B5EF4-FFF2-40B4-BE49-F238E27FC236}">
                    <a16:creationId xmlns:a16="http://schemas.microsoft.com/office/drawing/2014/main" id="{6A9DE9AC-9861-C980-14DA-9D3523F7E5D4}"/>
                  </a:ext>
                </a:extLst>
              </p:cNvPr>
              <p:cNvSpPr/>
              <p:nvPr/>
            </p:nvSpPr>
            <p:spPr>
              <a:xfrm>
                <a:off x="5133975" y="1012983"/>
                <a:ext cx="84582" cy="102869"/>
              </a:xfrm>
              <a:custGeom>
                <a:avLst/>
                <a:gdLst>
                  <a:gd name="connsiteX0" fmla="*/ 53150 w 84582"/>
                  <a:gd name="connsiteY0" fmla="*/ 63817 h 102869"/>
                  <a:gd name="connsiteX1" fmla="*/ 18764 w 84582"/>
                  <a:gd name="connsiteY1" fmla="*/ 74295 h 102869"/>
                  <a:gd name="connsiteX2" fmla="*/ 18193 w 84582"/>
                  <a:gd name="connsiteY2" fmla="*/ 97345 h 102869"/>
                  <a:gd name="connsiteX3" fmla="*/ 0 w 84582"/>
                  <a:gd name="connsiteY3" fmla="*/ 102870 h 102869"/>
                  <a:gd name="connsiteX4" fmla="*/ 5239 w 84582"/>
                  <a:gd name="connsiteY4" fmla="*/ 6477 h 102869"/>
                  <a:gd name="connsiteX5" fmla="*/ 26670 w 84582"/>
                  <a:gd name="connsiteY5" fmla="*/ 0 h 102869"/>
                  <a:gd name="connsiteX6" fmla="*/ 84582 w 84582"/>
                  <a:gd name="connsiteY6" fmla="*/ 77153 h 102869"/>
                  <a:gd name="connsiteX7" fmla="*/ 66389 w 84582"/>
                  <a:gd name="connsiteY7" fmla="*/ 82677 h 102869"/>
                  <a:gd name="connsiteX8" fmla="*/ 53054 w 84582"/>
                  <a:gd name="connsiteY8" fmla="*/ 63817 h 102869"/>
                  <a:gd name="connsiteX9" fmla="*/ 44482 w 84582"/>
                  <a:gd name="connsiteY9" fmla="*/ 51626 h 102869"/>
                  <a:gd name="connsiteX10" fmla="*/ 27718 w 84582"/>
                  <a:gd name="connsiteY10" fmla="*/ 28099 h 102869"/>
                  <a:gd name="connsiteX11" fmla="*/ 20860 w 84582"/>
                  <a:gd name="connsiteY11" fmla="*/ 17907 h 102869"/>
                  <a:gd name="connsiteX12" fmla="*/ 20003 w 84582"/>
                  <a:gd name="connsiteY12" fmla="*/ 16669 h 102869"/>
                  <a:gd name="connsiteX13" fmla="*/ 20003 w 84582"/>
                  <a:gd name="connsiteY13" fmla="*/ 22289 h 102869"/>
                  <a:gd name="connsiteX14" fmla="*/ 19812 w 84582"/>
                  <a:gd name="connsiteY14" fmla="*/ 30480 h 102869"/>
                  <a:gd name="connsiteX15" fmla="*/ 19050 w 84582"/>
                  <a:gd name="connsiteY15" fmla="*/ 59341 h 102869"/>
                  <a:gd name="connsiteX16" fmla="*/ 44387 w 84582"/>
                  <a:gd name="connsiteY16" fmla="*/ 51626 h 102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84582" h="102869">
                    <a:moveTo>
                      <a:pt x="53150" y="63817"/>
                    </a:moveTo>
                    <a:lnTo>
                      <a:pt x="18764" y="74295"/>
                    </a:lnTo>
                    <a:lnTo>
                      <a:pt x="18193" y="97345"/>
                    </a:lnTo>
                    <a:lnTo>
                      <a:pt x="0" y="102870"/>
                    </a:lnTo>
                    <a:lnTo>
                      <a:pt x="5239" y="6477"/>
                    </a:lnTo>
                    <a:lnTo>
                      <a:pt x="26670" y="0"/>
                    </a:lnTo>
                    <a:lnTo>
                      <a:pt x="84582" y="77153"/>
                    </a:lnTo>
                    <a:lnTo>
                      <a:pt x="66389" y="82677"/>
                    </a:lnTo>
                    <a:lnTo>
                      <a:pt x="53054" y="63817"/>
                    </a:lnTo>
                    <a:close/>
                    <a:moveTo>
                      <a:pt x="44482" y="51626"/>
                    </a:moveTo>
                    <a:lnTo>
                      <a:pt x="27718" y="28099"/>
                    </a:lnTo>
                    <a:cubicBezTo>
                      <a:pt x="27718" y="28099"/>
                      <a:pt x="25146" y="24289"/>
                      <a:pt x="20860" y="17907"/>
                    </a:cubicBezTo>
                    <a:lnTo>
                      <a:pt x="20003" y="16669"/>
                    </a:lnTo>
                    <a:cubicBezTo>
                      <a:pt x="20003" y="17621"/>
                      <a:pt x="20003" y="19526"/>
                      <a:pt x="20003" y="22289"/>
                    </a:cubicBezTo>
                    <a:cubicBezTo>
                      <a:pt x="20003" y="25051"/>
                      <a:pt x="20003" y="27813"/>
                      <a:pt x="19812" y="30480"/>
                    </a:cubicBezTo>
                    <a:lnTo>
                      <a:pt x="19050" y="59341"/>
                    </a:lnTo>
                    <a:lnTo>
                      <a:pt x="44387" y="51626"/>
                    </a:lnTo>
                    <a:close/>
                  </a:path>
                </a:pathLst>
              </a:custGeom>
              <a:solidFill>
                <a:srgbClr val="000000"/>
              </a:solidFill>
              <a:ln w="9525" cap="flat">
                <a:noFill/>
                <a:prstDash val="solid"/>
                <a:miter/>
              </a:ln>
            </p:spPr>
            <p:txBody>
              <a:bodyPr rtlCol="0" anchor="ctr"/>
              <a:lstStyle/>
              <a:p>
                <a:pPr marL="0" marR="0" lvl="0" indent="0" algn="l" defTabSz="911991" rtl="0" eaLnBrk="1" fontAlgn="auto" latinLnBrk="0" hangingPunct="1">
                  <a:lnSpc>
                    <a:spcPct val="100000"/>
                  </a:lnSpc>
                  <a:spcBef>
                    <a:spcPts val="0"/>
                  </a:spcBef>
                  <a:spcAft>
                    <a:spcPts val="0"/>
                  </a:spcAft>
                  <a:buClrTx/>
                  <a:buSzTx/>
                  <a:buFontTx/>
                  <a:buNone/>
                  <a:tabLst/>
                  <a:defRPr/>
                </a:pPr>
                <a:endParaRPr kumimoji="0" lang="en-US" sz="16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278" name="Freeform: Shape 103">
                <a:extLst>
                  <a:ext uri="{FF2B5EF4-FFF2-40B4-BE49-F238E27FC236}">
                    <a16:creationId xmlns:a16="http://schemas.microsoft.com/office/drawing/2014/main" id="{8A4B64B7-B360-E153-2C7E-5BAA62E1C72B}"/>
                  </a:ext>
                </a:extLst>
              </p:cNvPr>
              <p:cNvSpPr/>
              <p:nvPr/>
            </p:nvSpPr>
            <p:spPr>
              <a:xfrm>
                <a:off x="5203888" y="995171"/>
                <a:ext cx="42957" cy="92392"/>
              </a:xfrm>
              <a:custGeom>
                <a:avLst/>
                <a:gdLst>
                  <a:gd name="connsiteX0" fmla="*/ 0 w 42957"/>
                  <a:gd name="connsiteY0" fmla="*/ 5144 h 92392"/>
                  <a:gd name="connsiteX1" fmla="*/ 18288 w 42957"/>
                  <a:gd name="connsiteY1" fmla="*/ 0 h 92392"/>
                  <a:gd name="connsiteX2" fmla="*/ 42958 w 42957"/>
                  <a:gd name="connsiteY2" fmla="*/ 87249 h 92392"/>
                  <a:gd name="connsiteX3" fmla="*/ 24670 w 42957"/>
                  <a:gd name="connsiteY3" fmla="*/ 92393 h 92392"/>
                  <a:gd name="connsiteX4" fmla="*/ 0 w 42957"/>
                  <a:gd name="connsiteY4" fmla="*/ 5144 h 923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57" h="92392">
                    <a:moveTo>
                      <a:pt x="0" y="5144"/>
                    </a:moveTo>
                    <a:lnTo>
                      <a:pt x="18288" y="0"/>
                    </a:lnTo>
                    <a:lnTo>
                      <a:pt x="42958" y="87249"/>
                    </a:lnTo>
                    <a:lnTo>
                      <a:pt x="24670" y="92393"/>
                    </a:lnTo>
                    <a:lnTo>
                      <a:pt x="0" y="5144"/>
                    </a:lnTo>
                    <a:close/>
                  </a:path>
                </a:pathLst>
              </a:custGeom>
              <a:solidFill>
                <a:srgbClr val="000000"/>
              </a:solidFill>
              <a:ln w="9525" cap="flat">
                <a:noFill/>
                <a:prstDash val="solid"/>
                <a:miter/>
              </a:ln>
            </p:spPr>
            <p:txBody>
              <a:bodyPr rtlCol="0" anchor="ctr"/>
              <a:lstStyle/>
              <a:p>
                <a:pPr marL="0" marR="0" lvl="0" indent="0" algn="l" defTabSz="911991" rtl="0" eaLnBrk="1" fontAlgn="auto" latinLnBrk="0" hangingPunct="1">
                  <a:lnSpc>
                    <a:spcPct val="100000"/>
                  </a:lnSpc>
                  <a:spcBef>
                    <a:spcPts val="0"/>
                  </a:spcBef>
                  <a:spcAft>
                    <a:spcPts val="0"/>
                  </a:spcAft>
                  <a:buClrTx/>
                  <a:buSzTx/>
                  <a:buFontTx/>
                  <a:buNone/>
                  <a:tabLst/>
                  <a:defRPr/>
                </a:pPr>
                <a:endParaRPr kumimoji="0" lang="en-US" sz="16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279" name="Freeform: Shape 104">
                <a:extLst>
                  <a:ext uri="{FF2B5EF4-FFF2-40B4-BE49-F238E27FC236}">
                    <a16:creationId xmlns:a16="http://schemas.microsoft.com/office/drawing/2014/main" id="{7347BFE3-5D35-375B-11DF-844DED4A344E}"/>
                  </a:ext>
                </a:extLst>
              </p:cNvPr>
              <p:cNvSpPr/>
              <p:nvPr/>
            </p:nvSpPr>
            <p:spPr>
              <a:xfrm>
                <a:off x="5248846" y="1029461"/>
                <a:ext cx="36385" cy="23812"/>
              </a:xfrm>
              <a:custGeom>
                <a:avLst/>
                <a:gdLst>
                  <a:gd name="connsiteX0" fmla="*/ 0 w 36385"/>
                  <a:gd name="connsiteY0" fmla="*/ 8668 h 23812"/>
                  <a:gd name="connsiteX1" fmla="*/ 32290 w 36385"/>
                  <a:gd name="connsiteY1" fmla="*/ 0 h 23812"/>
                  <a:gd name="connsiteX2" fmla="*/ 36385 w 36385"/>
                  <a:gd name="connsiteY2" fmla="*/ 15145 h 23812"/>
                  <a:gd name="connsiteX3" fmla="*/ 4096 w 36385"/>
                  <a:gd name="connsiteY3" fmla="*/ 23813 h 23812"/>
                  <a:gd name="connsiteX4" fmla="*/ 0 w 36385"/>
                  <a:gd name="connsiteY4" fmla="*/ 8763 h 238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385" h="23812">
                    <a:moveTo>
                      <a:pt x="0" y="8668"/>
                    </a:moveTo>
                    <a:lnTo>
                      <a:pt x="32290" y="0"/>
                    </a:lnTo>
                    <a:lnTo>
                      <a:pt x="36385" y="15145"/>
                    </a:lnTo>
                    <a:lnTo>
                      <a:pt x="4096" y="23813"/>
                    </a:lnTo>
                    <a:lnTo>
                      <a:pt x="0" y="8763"/>
                    </a:lnTo>
                    <a:close/>
                  </a:path>
                </a:pathLst>
              </a:custGeom>
              <a:solidFill>
                <a:srgbClr val="000000"/>
              </a:solidFill>
              <a:ln w="9525" cap="flat">
                <a:noFill/>
                <a:prstDash val="solid"/>
                <a:miter/>
              </a:ln>
            </p:spPr>
            <p:txBody>
              <a:bodyPr rtlCol="0" anchor="ctr"/>
              <a:lstStyle/>
              <a:p>
                <a:pPr marL="0" marR="0" lvl="0" indent="0" algn="l" defTabSz="911991" rtl="0" eaLnBrk="1" fontAlgn="auto" latinLnBrk="0" hangingPunct="1">
                  <a:lnSpc>
                    <a:spcPct val="100000"/>
                  </a:lnSpc>
                  <a:spcBef>
                    <a:spcPts val="0"/>
                  </a:spcBef>
                  <a:spcAft>
                    <a:spcPts val="0"/>
                  </a:spcAft>
                  <a:buClrTx/>
                  <a:buSzTx/>
                  <a:buFontTx/>
                  <a:buNone/>
                  <a:tabLst/>
                  <a:defRPr/>
                </a:pPr>
                <a:endParaRPr kumimoji="0" lang="en-US" sz="16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280" name="Freeform: Shape 105">
                <a:extLst>
                  <a:ext uri="{FF2B5EF4-FFF2-40B4-BE49-F238E27FC236}">
                    <a16:creationId xmlns:a16="http://schemas.microsoft.com/office/drawing/2014/main" id="{34CA4FD8-E2E3-FB46-CD72-C67CD186A109}"/>
                  </a:ext>
                </a:extLst>
              </p:cNvPr>
              <p:cNvSpPr/>
              <p:nvPr/>
            </p:nvSpPr>
            <p:spPr>
              <a:xfrm>
                <a:off x="5288756" y="987026"/>
                <a:ext cx="75187" cy="106062"/>
              </a:xfrm>
              <a:custGeom>
                <a:avLst/>
                <a:gdLst>
                  <a:gd name="connsiteX0" fmla="*/ 4286 w 75187"/>
                  <a:gd name="connsiteY0" fmla="*/ 27290 h 106062"/>
                  <a:gd name="connsiteX1" fmla="*/ 0 w 75187"/>
                  <a:gd name="connsiteY1" fmla="*/ 11955 h 106062"/>
                  <a:gd name="connsiteX2" fmla="*/ 17050 w 75187"/>
                  <a:gd name="connsiteY2" fmla="*/ 7764 h 106062"/>
                  <a:gd name="connsiteX3" fmla="*/ 18479 w 75187"/>
                  <a:gd name="connsiteY3" fmla="*/ 11574 h 106062"/>
                  <a:gd name="connsiteX4" fmla="*/ 20193 w 75187"/>
                  <a:gd name="connsiteY4" fmla="*/ 17289 h 106062"/>
                  <a:gd name="connsiteX5" fmla="*/ 20479 w 75187"/>
                  <a:gd name="connsiteY5" fmla="*/ 17289 h 106062"/>
                  <a:gd name="connsiteX6" fmla="*/ 39243 w 75187"/>
                  <a:gd name="connsiteY6" fmla="*/ 811 h 106062"/>
                  <a:gd name="connsiteX7" fmla="*/ 54293 w 75187"/>
                  <a:gd name="connsiteY7" fmla="*/ 1859 h 106062"/>
                  <a:gd name="connsiteX8" fmla="*/ 66008 w 75187"/>
                  <a:gd name="connsiteY8" fmla="*/ 12050 h 106062"/>
                  <a:gd name="connsiteX9" fmla="*/ 73438 w 75187"/>
                  <a:gd name="connsiteY9" fmla="*/ 29291 h 106062"/>
                  <a:gd name="connsiteX10" fmla="*/ 74771 w 75187"/>
                  <a:gd name="connsiteY10" fmla="*/ 48436 h 106062"/>
                  <a:gd name="connsiteX11" fmla="*/ 68580 w 75187"/>
                  <a:gd name="connsiteY11" fmla="*/ 63295 h 106062"/>
                  <a:gd name="connsiteX12" fmla="*/ 55055 w 75187"/>
                  <a:gd name="connsiteY12" fmla="*/ 71391 h 106062"/>
                  <a:gd name="connsiteX13" fmla="*/ 42863 w 75187"/>
                  <a:gd name="connsiteY13" fmla="*/ 71677 h 106062"/>
                  <a:gd name="connsiteX14" fmla="*/ 32480 w 75187"/>
                  <a:gd name="connsiteY14" fmla="*/ 65581 h 106062"/>
                  <a:gd name="connsiteX15" fmla="*/ 32099 w 75187"/>
                  <a:gd name="connsiteY15" fmla="*/ 65581 h 106062"/>
                  <a:gd name="connsiteX16" fmla="*/ 33338 w 75187"/>
                  <a:gd name="connsiteY16" fmla="*/ 69677 h 106062"/>
                  <a:gd name="connsiteX17" fmla="*/ 34957 w 75187"/>
                  <a:gd name="connsiteY17" fmla="*/ 75677 h 106062"/>
                  <a:gd name="connsiteX18" fmla="*/ 41434 w 75187"/>
                  <a:gd name="connsiteY18" fmla="*/ 101681 h 106062"/>
                  <a:gd name="connsiteX19" fmla="*/ 23908 w 75187"/>
                  <a:gd name="connsiteY19" fmla="*/ 106062 h 106062"/>
                  <a:gd name="connsiteX20" fmla="*/ 4381 w 75187"/>
                  <a:gd name="connsiteY20" fmla="*/ 27386 h 106062"/>
                  <a:gd name="connsiteX21" fmla="*/ 55245 w 75187"/>
                  <a:gd name="connsiteY21" fmla="*/ 50912 h 106062"/>
                  <a:gd name="connsiteX22" fmla="*/ 55055 w 75187"/>
                  <a:gd name="connsiteY22" fmla="*/ 33767 h 106062"/>
                  <a:gd name="connsiteX23" fmla="*/ 47434 w 75187"/>
                  <a:gd name="connsiteY23" fmla="*/ 19194 h 106062"/>
                  <a:gd name="connsiteX24" fmla="*/ 35909 w 75187"/>
                  <a:gd name="connsiteY24" fmla="*/ 16432 h 106062"/>
                  <a:gd name="connsiteX25" fmla="*/ 29051 w 75187"/>
                  <a:gd name="connsiteY25" fmla="*/ 20242 h 106062"/>
                  <a:gd name="connsiteX26" fmla="*/ 25146 w 75187"/>
                  <a:gd name="connsiteY26" fmla="*/ 28338 h 106062"/>
                  <a:gd name="connsiteX27" fmla="*/ 26098 w 75187"/>
                  <a:gd name="connsiteY27" fmla="*/ 41387 h 106062"/>
                  <a:gd name="connsiteX28" fmla="*/ 31337 w 75187"/>
                  <a:gd name="connsiteY28" fmla="*/ 53198 h 106062"/>
                  <a:gd name="connsiteX29" fmla="*/ 38481 w 75187"/>
                  <a:gd name="connsiteY29" fmla="*/ 58532 h 106062"/>
                  <a:gd name="connsiteX30" fmla="*/ 46196 w 75187"/>
                  <a:gd name="connsiteY30" fmla="*/ 58723 h 106062"/>
                  <a:gd name="connsiteX31" fmla="*/ 55150 w 75187"/>
                  <a:gd name="connsiteY31" fmla="*/ 50912 h 106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75187" h="106062">
                    <a:moveTo>
                      <a:pt x="4286" y="27290"/>
                    </a:moveTo>
                    <a:cubicBezTo>
                      <a:pt x="2667" y="20909"/>
                      <a:pt x="1238" y="15860"/>
                      <a:pt x="0" y="11955"/>
                    </a:cubicBezTo>
                    <a:lnTo>
                      <a:pt x="17050" y="7764"/>
                    </a:lnTo>
                    <a:cubicBezTo>
                      <a:pt x="17050" y="7764"/>
                      <a:pt x="17812" y="9383"/>
                      <a:pt x="18479" y="11574"/>
                    </a:cubicBezTo>
                    <a:cubicBezTo>
                      <a:pt x="19145" y="13765"/>
                      <a:pt x="19717" y="15670"/>
                      <a:pt x="20193" y="17289"/>
                    </a:cubicBezTo>
                    <a:lnTo>
                      <a:pt x="20479" y="17289"/>
                    </a:lnTo>
                    <a:cubicBezTo>
                      <a:pt x="23051" y="8717"/>
                      <a:pt x="29337" y="3192"/>
                      <a:pt x="39243" y="811"/>
                    </a:cubicBezTo>
                    <a:cubicBezTo>
                      <a:pt x="44672" y="-523"/>
                      <a:pt x="49720" y="-237"/>
                      <a:pt x="54293" y="1859"/>
                    </a:cubicBezTo>
                    <a:cubicBezTo>
                      <a:pt x="58865" y="3859"/>
                      <a:pt x="62770" y="7288"/>
                      <a:pt x="66008" y="12050"/>
                    </a:cubicBezTo>
                    <a:cubicBezTo>
                      <a:pt x="69247" y="16813"/>
                      <a:pt x="71723" y="22528"/>
                      <a:pt x="73438" y="29291"/>
                    </a:cubicBezTo>
                    <a:cubicBezTo>
                      <a:pt x="75152" y="36244"/>
                      <a:pt x="75629" y="42626"/>
                      <a:pt x="74771" y="48436"/>
                    </a:cubicBezTo>
                    <a:cubicBezTo>
                      <a:pt x="74009" y="54341"/>
                      <a:pt x="71914" y="59294"/>
                      <a:pt x="68580" y="63295"/>
                    </a:cubicBezTo>
                    <a:cubicBezTo>
                      <a:pt x="65246" y="67295"/>
                      <a:pt x="60674" y="70058"/>
                      <a:pt x="55055" y="71391"/>
                    </a:cubicBezTo>
                    <a:cubicBezTo>
                      <a:pt x="50864" y="72439"/>
                      <a:pt x="46863" y="72534"/>
                      <a:pt x="42863" y="71677"/>
                    </a:cubicBezTo>
                    <a:cubicBezTo>
                      <a:pt x="38862" y="70820"/>
                      <a:pt x="35433" y="68819"/>
                      <a:pt x="32480" y="65581"/>
                    </a:cubicBezTo>
                    <a:lnTo>
                      <a:pt x="32099" y="65581"/>
                    </a:lnTo>
                    <a:cubicBezTo>
                      <a:pt x="32290" y="66152"/>
                      <a:pt x="32671" y="67486"/>
                      <a:pt x="33338" y="69677"/>
                    </a:cubicBezTo>
                    <a:cubicBezTo>
                      <a:pt x="34004" y="71963"/>
                      <a:pt x="34481" y="73963"/>
                      <a:pt x="34957" y="75677"/>
                    </a:cubicBezTo>
                    <a:lnTo>
                      <a:pt x="41434" y="101681"/>
                    </a:lnTo>
                    <a:lnTo>
                      <a:pt x="23908" y="106062"/>
                    </a:lnTo>
                    <a:lnTo>
                      <a:pt x="4381" y="27386"/>
                    </a:lnTo>
                    <a:close/>
                    <a:moveTo>
                      <a:pt x="55245" y="50912"/>
                    </a:moveTo>
                    <a:cubicBezTo>
                      <a:pt x="56959" y="46721"/>
                      <a:pt x="56864" y="41006"/>
                      <a:pt x="55055" y="33767"/>
                    </a:cubicBezTo>
                    <a:cubicBezTo>
                      <a:pt x="53340" y="26909"/>
                      <a:pt x="50864" y="22052"/>
                      <a:pt x="47434" y="19194"/>
                    </a:cubicBezTo>
                    <a:cubicBezTo>
                      <a:pt x="44101" y="16337"/>
                      <a:pt x="40291" y="15384"/>
                      <a:pt x="35909" y="16432"/>
                    </a:cubicBezTo>
                    <a:cubicBezTo>
                      <a:pt x="33242" y="17099"/>
                      <a:pt x="31052" y="18337"/>
                      <a:pt x="29051" y="20242"/>
                    </a:cubicBezTo>
                    <a:cubicBezTo>
                      <a:pt x="27146" y="22147"/>
                      <a:pt x="25813" y="24814"/>
                      <a:pt x="25146" y="28338"/>
                    </a:cubicBezTo>
                    <a:cubicBezTo>
                      <a:pt x="24479" y="31862"/>
                      <a:pt x="24765" y="36244"/>
                      <a:pt x="26098" y="41387"/>
                    </a:cubicBezTo>
                    <a:cubicBezTo>
                      <a:pt x="27337" y="46436"/>
                      <a:pt x="29051" y="50436"/>
                      <a:pt x="31337" y="53198"/>
                    </a:cubicBezTo>
                    <a:cubicBezTo>
                      <a:pt x="33623" y="55961"/>
                      <a:pt x="35909" y="57770"/>
                      <a:pt x="38481" y="58532"/>
                    </a:cubicBezTo>
                    <a:cubicBezTo>
                      <a:pt x="41053" y="59294"/>
                      <a:pt x="43625" y="59390"/>
                      <a:pt x="46196" y="58723"/>
                    </a:cubicBezTo>
                    <a:cubicBezTo>
                      <a:pt x="50482" y="57675"/>
                      <a:pt x="53435" y="55008"/>
                      <a:pt x="55150" y="50912"/>
                    </a:cubicBezTo>
                    <a:close/>
                  </a:path>
                </a:pathLst>
              </a:custGeom>
              <a:solidFill>
                <a:srgbClr val="000000"/>
              </a:solidFill>
              <a:ln w="9525" cap="flat">
                <a:noFill/>
                <a:prstDash val="solid"/>
                <a:miter/>
              </a:ln>
            </p:spPr>
            <p:txBody>
              <a:bodyPr rtlCol="0" anchor="ctr"/>
              <a:lstStyle/>
              <a:p>
                <a:pPr marL="0" marR="0" lvl="0" indent="0" algn="l" defTabSz="911991" rtl="0" eaLnBrk="1" fontAlgn="auto" latinLnBrk="0" hangingPunct="1">
                  <a:lnSpc>
                    <a:spcPct val="100000"/>
                  </a:lnSpc>
                  <a:spcBef>
                    <a:spcPts val="0"/>
                  </a:spcBef>
                  <a:spcAft>
                    <a:spcPts val="0"/>
                  </a:spcAft>
                  <a:buClrTx/>
                  <a:buSzTx/>
                  <a:buFontTx/>
                  <a:buNone/>
                  <a:tabLst/>
                  <a:defRPr/>
                </a:pPr>
                <a:endParaRPr kumimoji="0" lang="en-US" sz="16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281" name="Freeform: Shape 106">
                <a:extLst>
                  <a:ext uri="{FF2B5EF4-FFF2-40B4-BE49-F238E27FC236}">
                    <a16:creationId xmlns:a16="http://schemas.microsoft.com/office/drawing/2014/main" id="{CE8C1C06-1142-E129-40E1-FC6FE3F3641F}"/>
                  </a:ext>
                </a:extLst>
              </p:cNvPr>
              <p:cNvSpPr/>
              <p:nvPr/>
            </p:nvSpPr>
            <p:spPr>
              <a:xfrm>
                <a:off x="5371504" y="970151"/>
                <a:ext cx="70759" cy="72748"/>
              </a:xfrm>
              <a:custGeom>
                <a:avLst/>
                <a:gdLst>
                  <a:gd name="connsiteX0" fmla="*/ 23455 w 70759"/>
                  <a:gd name="connsiteY0" fmla="*/ 71122 h 72748"/>
                  <a:gd name="connsiteX1" fmla="*/ 8977 w 70759"/>
                  <a:gd name="connsiteY1" fmla="*/ 61025 h 72748"/>
                  <a:gd name="connsiteX2" fmla="*/ 1072 w 70759"/>
                  <a:gd name="connsiteY2" fmla="*/ 43880 h 72748"/>
                  <a:gd name="connsiteX3" fmla="*/ 1072 w 70759"/>
                  <a:gd name="connsiteY3" fmla="*/ 25307 h 72748"/>
                  <a:gd name="connsiteX4" fmla="*/ 9835 w 70759"/>
                  <a:gd name="connsiteY4" fmla="*/ 10067 h 72748"/>
                  <a:gd name="connsiteX5" fmla="*/ 27742 w 70759"/>
                  <a:gd name="connsiteY5" fmla="*/ 1208 h 72748"/>
                  <a:gd name="connsiteX6" fmla="*/ 48125 w 70759"/>
                  <a:gd name="connsiteY6" fmla="*/ 1589 h 72748"/>
                  <a:gd name="connsiteX7" fmla="*/ 62127 w 70759"/>
                  <a:gd name="connsiteY7" fmla="*/ 11686 h 72748"/>
                  <a:gd name="connsiteX8" fmla="*/ 69652 w 70759"/>
                  <a:gd name="connsiteY8" fmla="*/ 28736 h 72748"/>
                  <a:gd name="connsiteX9" fmla="*/ 69652 w 70759"/>
                  <a:gd name="connsiteY9" fmla="*/ 47595 h 72748"/>
                  <a:gd name="connsiteX10" fmla="*/ 60698 w 70759"/>
                  <a:gd name="connsiteY10" fmla="*/ 62835 h 72748"/>
                  <a:gd name="connsiteX11" fmla="*/ 42791 w 70759"/>
                  <a:gd name="connsiteY11" fmla="*/ 71693 h 72748"/>
                  <a:gd name="connsiteX12" fmla="*/ 23360 w 70759"/>
                  <a:gd name="connsiteY12" fmla="*/ 71122 h 72748"/>
                  <a:gd name="connsiteX13" fmla="*/ 50411 w 70759"/>
                  <a:gd name="connsiteY13" fmla="*/ 49500 h 72748"/>
                  <a:gd name="connsiteX14" fmla="*/ 51173 w 70759"/>
                  <a:gd name="connsiteY14" fmla="*/ 32736 h 72748"/>
                  <a:gd name="connsiteX15" fmla="*/ 43744 w 70759"/>
                  <a:gd name="connsiteY15" fmla="*/ 17972 h 72748"/>
                  <a:gd name="connsiteX16" fmla="*/ 31075 w 70759"/>
                  <a:gd name="connsiteY16" fmla="*/ 15020 h 72748"/>
                  <a:gd name="connsiteX17" fmla="*/ 20312 w 70759"/>
                  <a:gd name="connsiteY17" fmla="*/ 23116 h 72748"/>
                  <a:gd name="connsiteX18" fmla="*/ 19645 w 70759"/>
                  <a:gd name="connsiteY18" fmla="*/ 39689 h 72748"/>
                  <a:gd name="connsiteX19" fmla="*/ 24122 w 70759"/>
                  <a:gd name="connsiteY19" fmla="*/ 50834 h 72748"/>
                  <a:gd name="connsiteX20" fmla="*/ 31075 w 70759"/>
                  <a:gd name="connsiteY20" fmla="*/ 56930 h 72748"/>
                  <a:gd name="connsiteX21" fmla="*/ 39648 w 70759"/>
                  <a:gd name="connsiteY21" fmla="*/ 57692 h 72748"/>
                  <a:gd name="connsiteX22" fmla="*/ 50506 w 70759"/>
                  <a:gd name="connsiteY22" fmla="*/ 49500 h 727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70759" h="72748">
                    <a:moveTo>
                      <a:pt x="23455" y="71122"/>
                    </a:moveTo>
                    <a:cubicBezTo>
                      <a:pt x="17645" y="69122"/>
                      <a:pt x="12787" y="65788"/>
                      <a:pt x="8977" y="61025"/>
                    </a:cubicBezTo>
                    <a:cubicBezTo>
                      <a:pt x="5167" y="56263"/>
                      <a:pt x="2500" y="50548"/>
                      <a:pt x="1072" y="43880"/>
                    </a:cubicBezTo>
                    <a:cubicBezTo>
                      <a:pt x="-357" y="37403"/>
                      <a:pt x="-357" y="31212"/>
                      <a:pt x="1072" y="25307"/>
                    </a:cubicBezTo>
                    <a:cubicBezTo>
                      <a:pt x="2500" y="19401"/>
                      <a:pt x="5358" y="14353"/>
                      <a:pt x="9835" y="10067"/>
                    </a:cubicBezTo>
                    <a:cubicBezTo>
                      <a:pt x="14311" y="5780"/>
                      <a:pt x="20217" y="2828"/>
                      <a:pt x="27742" y="1208"/>
                    </a:cubicBezTo>
                    <a:cubicBezTo>
                      <a:pt x="35552" y="-506"/>
                      <a:pt x="42410" y="-411"/>
                      <a:pt x="48125" y="1589"/>
                    </a:cubicBezTo>
                    <a:cubicBezTo>
                      <a:pt x="53935" y="3590"/>
                      <a:pt x="58603" y="6923"/>
                      <a:pt x="62127" y="11686"/>
                    </a:cubicBezTo>
                    <a:cubicBezTo>
                      <a:pt x="65651" y="16448"/>
                      <a:pt x="68223" y="22068"/>
                      <a:pt x="69652" y="28736"/>
                    </a:cubicBezTo>
                    <a:cubicBezTo>
                      <a:pt x="71080" y="35403"/>
                      <a:pt x="71176" y="41690"/>
                      <a:pt x="69652" y="47595"/>
                    </a:cubicBezTo>
                    <a:cubicBezTo>
                      <a:pt x="68223" y="53501"/>
                      <a:pt x="65270" y="58644"/>
                      <a:pt x="60698" y="62835"/>
                    </a:cubicBezTo>
                    <a:cubicBezTo>
                      <a:pt x="56221" y="67121"/>
                      <a:pt x="50221" y="70074"/>
                      <a:pt x="42791" y="71693"/>
                    </a:cubicBezTo>
                    <a:cubicBezTo>
                      <a:pt x="35647" y="73313"/>
                      <a:pt x="29170" y="73027"/>
                      <a:pt x="23360" y="71122"/>
                    </a:cubicBezTo>
                    <a:close/>
                    <a:moveTo>
                      <a:pt x="50411" y="49500"/>
                    </a:moveTo>
                    <a:cubicBezTo>
                      <a:pt x="52411" y="45214"/>
                      <a:pt x="52602" y="39594"/>
                      <a:pt x="51173" y="32736"/>
                    </a:cubicBezTo>
                    <a:cubicBezTo>
                      <a:pt x="49649" y="25973"/>
                      <a:pt x="47173" y="21020"/>
                      <a:pt x="43744" y="17972"/>
                    </a:cubicBezTo>
                    <a:cubicBezTo>
                      <a:pt x="40315" y="14924"/>
                      <a:pt x="36028" y="13972"/>
                      <a:pt x="31075" y="15020"/>
                    </a:cubicBezTo>
                    <a:cubicBezTo>
                      <a:pt x="25837" y="16163"/>
                      <a:pt x="22312" y="18925"/>
                      <a:pt x="20312" y="23116"/>
                    </a:cubicBezTo>
                    <a:cubicBezTo>
                      <a:pt x="18312" y="27402"/>
                      <a:pt x="18121" y="32927"/>
                      <a:pt x="19645" y="39689"/>
                    </a:cubicBezTo>
                    <a:cubicBezTo>
                      <a:pt x="20598" y="44166"/>
                      <a:pt x="22122" y="47881"/>
                      <a:pt x="24122" y="50834"/>
                    </a:cubicBezTo>
                    <a:cubicBezTo>
                      <a:pt x="26122" y="53786"/>
                      <a:pt x="28408" y="55786"/>
                      <a:pt x="31075" y="56930"/>
                    </a:cubicBezTo>
                    <a:cubicBezTo>
                      <a:pt x="33742" y="58073"/>
                      <a:pt x="36600" y="58358"/>
                      <a:pt x="39648" y="57692"/>
                    </a:cubicBezTo>
                    <a:cubicBezTo>
                      <a:pt x="44887" y="56549"/>
                      <a:pt x="48506" y="53786"/>
                      <a:pt x="50506" y="49500"/>
                    </a:cubicBezTo>
                    <a:close/>
                  </a:path>
                </a:pathLst>
              </a:custGeom>
              <a:solidFill>
                <a:srgbClr val="000000"/>
              </a:solidFill>
              <a:ln w="9525" cap="flat">
                <a:noFill/>
                <a:prstDash val="solid"/>
                <a:miter/>
              </a:ln>
            </p:spPr>
            <p:txBody>
              <a:bodyPr rtlCol="0" anchor="ctr"/>
              <a:lstStyle/>
              <a:p>
                <a:pPr marL="0" marR="0" lvl="0" indent="0" algn="l" defTabSz="911991" rtl="0" eaLnBrk="1" fontAlgn="auto" latinLnBrk="0" hangingPunct="1">
                  <a:lnSpc>
                    <a:spcPct val="100000"/>
                  </a:lnSpc>
                  <a:spcBef>
                    <a:spcPts val="0"/>
                  </a:spcBef>
                  <a:spcAft>
                    <a:spcPts val="0"/>
                  </a:spcAft>
                  <a:buClrTx/>
                  <a:buSzTx/>
                  <a:buFontTx/>
                  <a:buNone/>
                  <a:tabLst/>
                  <a:defRPr/>
                </a:pPr>
                <a:endParaRPr kumimoji="0" lang="en-US" sz="16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282" name="Freeform: Shape 107">
                <a:extLst>
                  <a:ext uri="{FF2B5EF4-FFF2-40B4-BE49-F238E27FC236}">
                    <a16:creationId xmlns:a16="http://schemas.microsoft.com/office/drawing/2014/main" id="{71E83EE9-479F-A197-5C7D-0803B6E72D62}"/>
                  </a:ext>
                </a:extLst>
              </p:cNvPr>
              <p:cNvSpPr/>
              <p:nvPr/>
            </p:nvSpPr>
            <p:spPr>
              <a:xfrm>
                <a:off x="5439537" y="944117"/>
                <a:ext cx="101536" cy="84391"/>
              </a:xfrm>
              <a:custGeom>
                <a:avLst/>
                <a:gdLst>
                  <a:gd name="connsiteX0" fmla="*/ 95 w 101536"/>
                  <a:gd name="connsiteY0" fmla="*/ 19431 h 84391"/>
                  <a:gd name="connsiteX1" fmla="*/ 17050 w 101536"/>
                  <a:gd name="connsiteY1" fmla="*/ 16192 h 84391"/>
                  <a:gd name="connsiteX2" fmla="*/ 33338 w 101536"/>
                  <a:gd name="connsiteY2" fmla="*/ 54673 h 84391"/>
                  <a:gd name="connsiteX3" fmla="*/ 36195 w 101536"/>
                  <a:gd name="connsiteY3" fmla="*/ 61722 h 84391"/>
                  <a:gd name="connsiteX4" fmla="*/ 38005 w 101536"/>
                  <a:gd name="connsiteY4" fmla="*/ 66294 h 84391"/>
                  <a:gd name="connsiteX5" fmla="*/ 37909 w 101536"/>
                  <a:gd name="connsiteY5" fmla="*/ 60579 h 84391"/>
                  <a:gd name="connsiteX6" fmla="*/ 38100 w 101536"/>
                  <a:gd name="connsiteY6" fmla="*/ 53816 h 84391"/>
                  <a:gd name="connsiteX7" fmla="*/ 41148 w 101536"/>
                  <a:gd name="connsiteY7" fmla="*/ 11621 h 84391"/>
                  <a:gd name="connsiteX8" fmla="*/ 60388 w 101536"/>
                  <a:gd name="connsiteY8" fmla="*/ 7906 h 84391"/>
                  <a:gd name="connsiteX9" fmla="*/ 78581 w 101536"/>
                  <a:gd name="connsiteY9" fmla="*/ 46006 h 84391"/>
                  <a:gd name="connsiteX10" fmla="*/ 81724 w 101536"/>
                  <a:gd name="connsiteY10" fmla="*/ 53340 h 84391"/>
                  <a:gd name="connsiteX11" fmla="*/ 83344 w 101536"/>
                  <a:gd name="connsiteY11" fmla="*/ 57531 h 84391"/>
                  <a:gd name="connsiteX12" fmla="*/ 83344 w 101536"/>
                  <a:gd name="connsiteY12" fmla="*/ 52388 h 84391"/>
                  <a:gd name="connsiteX13" fmla="*/ 83439 w 101536"/>
                  <a:gd name="connsiteY13" fmla="*/ 45053 h 84391"/>
                  <a:gd name="connsiteX14" fmla="*/ 84868 w 101536"/>
                  <a:gd name="connsiteY14" fmla="*/ 3143 h 84391"/>
                  <a:gd name="connsiteX15" fmla="*/ 101537 w 101536"/>
                  <a:gd name="connsiteY15" fmla="*/ 0 h 84391"/>
                  <a:gd name="connsiteX16" fmla="*/ 96964 w 101536"/>
                  <a:gd name="connsiteY16" fmla="*/ 71723 h 84391"/>
                  <a:gd name="connsiteX17" fmla="*/ 77438 w 101536"/>
                  <a:gd name="connsiteY17" fmla="*/ 75438 h 84391"/>
                  <a:gd name="connsiteX18" fmla="*/ 58960 w 101536"/>
                  <a:gd name="connsiteY18" fmla="*/ 35814 h 84391"/>
                  <a:gd name="connsiteX19" fmla="*/ 55721 w 101536"/>
                  <a:gd name="connsiteY19" fmla="*/ 28480 h 84391"/>
                  <a:gd name="connsiteX20" fmla="*/ 53245 w 101536"/>
                  <a:gd name="connsiteY20" fmla="*/ 22384 h 84391"/>
                  <a:gd name="connsiteX21" fmla="*/ 53054 w 101536"/>
                  <a:gd name="connsiteY21" fmla="*/ 28956 h 84391"/>
                  <a:gd name="connsiteX22" fmla="*/ 52673 w 101536"/>
                  <a:gd name="connsiteY22" fmla="*/ 37148 h 84391"/>
                  <a:gd name="connsiteX23" fmla="*/ 50006 w 101536"/>
                  <a:gd name="connsiteY23" fmla="*/ 80677 h 84391"/>
                  <a:gd name="connsiteX24" fmla="*/ 30385 w 101536"/>
                  <a:gd name="connsiteY24" fmla="*/ 84392 h 84391"/>
                  <a:gd name="connsiteX25" fmla="*/ 0 w 101536"/>
                  <a:gd name="connsiteY25" fmla="*/ 19336 h 843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01536" h="84391">
                    <a:moveTo>
                      <a:pt x="95" y="19431"/>
                    </a:moveTo>
                    <a:lnTo>
                      <a:pt x="17050" y="16192"/>
                    </a:lnTo>
                    <a:lnTo>
                      <a:pt x="33338" y="54673"/>
                    </a:lnTo>
                    <a:cubicBezTo>
                      <a:pt x="34290" y="57150"/>
                      <a:pt x="35242" y="59436"/>
                      <a:pt x="36195" y="61722"/>
                    </a:cubicBezTo>
                    <a:cubicBezTo>
                      <a:pt x="37052" y="64008"/>
                      <a:pt x="37719" y="65532"/>
                      <a:pt x="38005" y="66294"/>
                    </a:cubicBezTo>
                    <a:cubicBezTo>
                      <a:pt x="38005" y="65341"/>
                      <a:pt x="38005" y="63532"/>
                      <a:pt x="37909" y="60579"/>
                    </a:cubicBezTo>
                    <a:cubicBezTo>
                      <a:pt x="37814" y="57626"/>
                      <a:pt x="37909" y="55435"/>
                      <a:pt x="38100" y="53816"/>
                    </a:cubicBezTo>
                    <a:lnTo>
                      <a:pt x="41148" y="11621"/>
                    </a:lnTo>
                    <a:lnTo>
                      <a:pt x="60388" y="7906"/>
                    </a:lnTo>
                    <a:lnTo>
                      <a:pt x="78581" y="46006"/>
                    </a:lnTo>
                    <a:cubicBezTo>
                      <a:pt x="79629" y="48197"/>
                      <a:pt x="80677" y="50673"/>
                      <a:pt x="81724" y="53340"/>
                    </a:cubicBezTo>
                    <a:cubicBezTo>
                      <a:pt x="82772" y="56007"/>
                      <a:pt x="83344" y="57436"/>
                      <a:pt x="83344" y="57531"/>
                    </a:cubicBezTo>
                    <a:cubicBezTo>
                      <a:pt x="83344" y="56579"/>
                      <a:pt x="83344" y="54864"/>
                      <a:pt x="83344" y="52388"/>
                    </a:cubicBezTo>
                    <a:cubicBezTo>
                      <a:pt x="83344" y="49911"/>
                      <a:pt x="83344" y="47530"/>
                      <a:pt x="83439" y="45053"/>
                    </a:cubicBezTo>
                    <a:lnTo>
                      <a:pt x="84868" y="3143"/>
                    </a:lnTo>
                    <a:lnTo>
                      <a:pt x="101537" y="0"/>
                    </a:lnTo>
                    <a:lnTo>
                      <a:pt x="96964" y="71723"/>
                    </a:lnTo>
                    <a:lnTo>
                      <a:pt x="77438" y="75438"/>
                    </a:lnTo>
                    <a:lnTo>
                      <a:pt x="58960" y="35814"/>
                    </a:lnTo>
                    <a:cubicBezTo>
                      <a:pt x="58007" y="33814"/>
                      <a:pt x="56959" y="31337"/>
                      <a:pt x="55721" y="28480"/>
                    </a:cubicBezTo>
                    <a:cubicBezTo>
                      <a:pt x="54578" y="25622"/>
                      <a:pt x="53721" y="23527"/>
                      <a:pt x="53245" y="22384"/>
                    </a:cubicBezTo>
                    <a:cubicBezTo>
                      <a:pt x="53245" y="23622"/>
                      <a:pt x="53245" y="25813"/>
                      <a:pt x="53054" y="28956"/>
                    </a:cubicBezTo>
                    <a:cubicBezTo>
                      <a:pt x="52959" y="32099"/>
                      <a:pt x="52864" y="34766"/>
                      <a:pt x="52673" y="37148"/>
                    </a:cubicBezTo>
                    <a:lnTo>
                      <a:pt x="50006" y="80677"/>
                    </a:lnTo>
                    <a:lnTo>
                      <a:pt x="30385" y="84392"/>
                    </a:lnTo>
                    <a:lnTo>
                      <a:pt x="0" y="19336"/>
                    </a:lnTo>
                    <a:close/>
                  </a:path>
                </a:pathLst>
              </a:custGeom>
              <a:solidFill>
                <a:srgbClr val="000000"/>
              </a:solidFill>
              <a:ln w="9525" cap="flat">
                <a:noFill/>
                <a:prstDash val="solid"/>
                <a:miter/>
              </a:ln>
            </p:spPr>
            <p:txBody>
              <a:bodyPr rtlCol="0" anchor="ctr"/>
              <a:lstStyle/>
              <a:p>
                <a:pPr marL="0" marR="0" lvl="0" indent="0" algn="l" defTabSz="911991" rtl="0" eaLnBrk="1" fontAlgn="auto" latinLnBrk="0" hangingPunct="1">
                  <a:lnSpc>
                    <a:spcPct val="100000"/>
                  </a:lnSpc>
                  <a:spcBef>
                    <a:spcPts val="0"/>
                  </a:spcBef>
                  <a:spcAft>
                    <a:spcPts val="0"/>
                  </a:spcAft>
                  <a:buClrTx/>
                  <a:buSzTx/>
                  <a:buFontTx/>
                  <a:buNone/>
                  <a:tabLst/>
                  <a:defRPr/>
                </a:pPr>
                <a:endParaRPr kumimoji="0" lang="en-US" sz="16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283" name="Freeform: Shape 108">
                <a:extLst>
                  <a:ext uri="{FF2B5EF4-FFF2-40B4-BE49-F238E27FC236}">
                    <a16:creationId xmlns:a16="http://schemas.microsoft.com/office/drawing/2014/main" id="{12A03F28-A830-6264-8017-542E855B63E2}"/>
                  </a:ext>
                </a:extLst>
              </p:cNvPr>
              <p:cNvSpPr/>
              <p:nvPr/>
            </p:nvSpPr>
            <p:spPr>
              <a:xfrm>
                <a:off x="5551820" y="936307"/>
                <a:ext cx="65643" cy="72369"/>
              </a:xfrm>
              <a:custGeom>
                <a:avLst/>
                <a:gdLst>
                  <a:gd name="connsiteX0" fmla="*/ 13922 w 65643"/>
                  <a:gd name="connsiteY0" fmla="*/ 66675 h 72369"/>
                  <a:gd name="connsiteX1" fmla="*/ 778 w 65643"/>
                  <a:gd name="connsiteY1" fmla="*/ 41339 h 72369"/>
                  <a:gd name="connsiteX2" fmla="*/ 1921 w 65643"/>
                  <a:gd name="connsiteY2" fmla="*/ 20764 h 72369"/>
                  <a:gd name="connsiteX3" fmla="*/ 11732 w 65643"/>
                  <a:gd name="connsiteY3" fmla="*/ 7049 h 72369"/>
                  <a:gd name="connsiteX4" fmla="*/ 27448 w 65643"/>
                  <a:gd name="connsiteY4" fmla="*/ 572 h 72369"/>
                  <a:gd name="connsiteX5" fmla="*/ 45450 w 65643"/>
                  <a:gd name="connsiteY5" fmla="*/ 2286 h 72369"/>
                  <a:gd name="connsiteX6" fmla="*/ 57356 w 65643"/>
                  <a:gd name="connsiteY6" fmla="*/ 12668 h 72369"/>
                  <a:gd name="connsiteX7" fmla="*/ 63167 w 65643"/>
                  <a:gd name="connsiteY7" fmla="*/ 28861 h 72369"/>
                  <a:gd name="connsiteX8" fmla="*/ 63929 w 65643"/>
                  <a:gd name="connsiteY8" fmla="*/ 36100 h 72369"/>
                  <a:gd name="connsiteX9" fmla="*/ 20209 w 65643"/>
                  <a:gd name="connsiteY9" fmla="*/ 43244 h 72369"/>
                  <a:gd name="connsiteX10" fmla="*/ 26019 w 65643"/>
                  <a:gd name="connsiteY10" fmla="*/ 55340 h 72369"/>
                  <a:gd name="connsiteX11" fmla="*/ 38592 w 65643"/>
                  <a:gd name="connsiteY11" fmla="*/ 58102 h 72369"/>
                  <a:gd name="connsiteX12" fmla="*/ 44974 w 65643"/>
                  <a:gd name="connsiteY12" fmla="*/ 56293 h 72369"/>
                  <a:gd name="connsiteX13" fmla="*/ 50308 w 65643"/>
                  <a:gd name="connsiteY13" fmla="*/ 53054 h 72369"/>
                  <a:gd name="connsiteX14" fmla="*/ 56499 w 65643"/>
                  <a:gd name="connsiteY14" fmla="*/ 47530 h 72369"/>
                  <a:gd name="connsiteX15" fmla="*/ 65643 w 65643"/>
                  <a:gd name="connsiteY15" fmla="*/ 57912 h 72369"/>
                  <a:gd name="connsiteX16" fmla="*/ 54594 w 65643"/>
                  <a:gd name="connsiteY16" fmla="*/ 66866 h 72369"/>
                  <a:gd name="connsiteX17" fmla="*/ 39830 w 65643"/>
                  <a:gd name="connsiteY17" fmla="*/ 71723 h 72369"/>
                  <a:gd name="connsiteX18" fmla="*/ 13732 w 65643"/>
                  <a:gd name="connsiteY18" fmla="*/ 66770 h 72369"/>
                  <a:gd name="connsiteX19" fmla="*/ 45069 w 65643"/>
                  <a:gd name="connsiteY19" fmla="*/ 26575 h 72369"/>
                  <a:gd name="connsiteX20" fmla="*/ 39640 w 65643"/>
                  <a:gd name="connsiteY20" fmla="*/ 15716 h 72369"/>
                  <a:gd name="connsiteX21" fmla="*/ 29353 w 65643"/>
                  <a:gd name="connsiteY21" fmla="*/ 13621 h 72369"/>
                  <a:gd name="connsiteX22" fmla="*/ 20399 w 65643"/>
                  <a:gd name="connsiteY22" fmla="*/ 18859 h 72369"/>
                  <a:gd name="connsiteX23" fmla="*/ 18399 w 65643"/>
                  <a:gd name="connsiteY23" fmla="*/ 30861 h 72369"/>
                  <a:gd name="connsiteX24" fmla="*/ 45069 w 65643"/>
                  <a:gd name="connsiteY24" fmla="*/ 26575 h 72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65643" h="72369">
                    <a:moveTo>
                      <a:pt x="13922" y="66675"/>
                    </a:moveTo>
                    <a:cubicBezTo>
                      <a:pt x="7064" y="61627"/>
                      <a:pt x="2683" y="53150"/>
                      <a:pt x="778" y="41339"/>
                    </a:cubicBezTo>
                    <a:cubicBezTo>
                      <a:pt x="-556" y="33338"/>
                      <a:pt x="-175" y="26480"/>
                      <a:pt x="1921" y="20764"/>
                    </a:cubicBezTo>
                    <a:cubicBezTo>
                      <a:pt x="4016" y="15050"/>
                      <a:pt x="7255" y="10382"/>
                      <a:pt x="11732" y="7049"/>
                    </a:cubicBezTo>
                    <a:cubicBezTo>
                      <a:pt x="16208" y="3715"/>
                      <a:pt x="21447" y="1524"/>
                      <a:pt x="27448" y="572"/>
                    </a:cubicBezTo>
                    <a:cubicBezTo>
                      <a:pt x="34401" y="-572"/>
                      <a:pt x="40402" y="0"/>
                      <a:pt x="45450" y="2286"/>
                    </a:cubicBezTo>
                    <a:cubicBezTo>
                      <a:pt x="50498" y="4572"/>
                      <a:pt x="54499" y="8001"/>
                      <a:pt x="57356" y="12668"/>
                    </a:cubicBezTo>
                    <a:cubicBezTo>
                      <a:pt x="60214" y="17336"/>
                      <a:pt x="62214" y="22670"/>
                      <a:pt x="63167" y="28861"/>
                    </a:cubicBezTo>
                    <a:cubicBezTo>
                      <a:pt x="63548" y="31242"/>
                      <a:pt x="63833" y="33719"/>
                      <a:pt x="63929" y="36100"/>
                    </a:cubicBezTo>
                    <a:lnTo>
                      <a:pt x="20209" y="43244"/>
                    </a:lnTo>
                    <a:cubicBezTo>
                      <a:pt x="21066" y="48577"/>
                      <a:pt x="23066" y="52578"/>
                      <a:pt x="26019" y="55340"/>
                    </a:cubicBezTo>
                    <a:cubicBezTo>
                      <a:pt x="29067" y="58102"/>
                      <a:pt x="33258" y="58960"/>
                      <a:pt x="38592" y="58102"/>
                    </a:cubicBezTo>
                    <a:cubicBezTo>
                      <a:pt x="40973" y="57721"/>
                      <a:pt x="43164" y="57055"/>
                      <a:pt x="44974" y="56293"/>
                    </a:cubicBezTo>
                    <a:cubicBezTo>
                      <a:pt x="46879" y="55436"/>
                      <a:pt x="48593" y="54388"/>
                      <a:pt x="50308" y="53054"/>
                    </a:cubicBezTo>
                    <a:cubicBezTo>
                      <a:pt x="52022" y="51721"/>
                      <a:pt x="54023" y="49911"/>
                      <a:pt x="56499" y="47530"/>
                    </a:cubicBezTo>
                    <a:lnTo>
                      <a:pt x="65643" y="57912"/>
                    </a:lnTo>
                    <a:cubicBezTo>
                      <a:pt x="62119" y="61627"/>
                      <a:pt x="58404" y="64580"/>
                      <a:pt x="54594" y="66866"/>
                    </a:cubicBezTo>
                    <a:cubicBezTo>
                      <a:pt x="50784" y="69152"/>
                      <a:pt x="45831" y="70771"/>
                      <a:pt x="39830" y="71723"/>
                    </a:cubicBezTo>
                    <a:cubicBezTo>
                      <a:pt x="29258" y="73438"/>
                      <a:pt x="20590" y="71723"/>
                      <a:pt x="13732" y="66770"/>
                    </a:cubicBezTo>
                    <a:close/>
                    <a:moveTo>
                      <a:pt x="45069" y="26575"/>
                    </a:moveTo>
                    <a:cubicBezTo>
                      <a:pt x="44021" y="21431"/>
                      <a:pt x="42212" y="17812"/>
                      <a:pt x="39640" y="15716"/>
                    </a:cubicBezTo>
                    <a:cubicBezTo>
                      <a:pt x="36973" y="13621"/>
                      <a:pt x="33544" y="12954"/>
                      <a:pt x="29353" y="13621"/>
                    </a:cubicBezTo>
                    <a:cubicBezTo>
                      <a:pt x="25352" y="14288"/>
                      <a:pt x="22400" y="16002"/>
                      <a:pt x="20399" y="18859"/>
                    </a:cubicBezTo>
                    <a:cubicBezTo>
                      <a:pt x="18399" y="21717"/>
                      <a:pt x="17732" y="25718"/>
                      <a:pt x="18399" y="30861"/>
                    </a:cubicBezTo>
                    <a:lnTo>
                      <a:pt x="45069" y="26575"/>
                    </a:lnTo>
                    <a:close/>
                  </a:path>
                </a:pathLst>
              </a:custGeom>
              <a:solidFill>
                <a:srgbClr val="000000"/>
              </a:solidFill>
              <a:ln w="9525" cap="flat">
                <a:noFill/>
                <a:prstDash val="solid"/>
                <a:miter/>
              </a:ln>
            </p:spPr>
            <p:txBody>
              <a:bodyPr rtlCol="0" anchor="ctr"/>
              <a:lstStyle/>
              <a:p>
                <a:pPr marL="0" marR="0" lvl="0" indent="0" algn="l" defTabSz="911991" rtl="0" eaLnBrk="1" fontAlgn="auto" latinLnBrk="0" hangingPunct="1">
                  <a:lnSpc>
                    <a:spcPct val="100000"/>
                  </a:lnSpc>
                  <a:spcBef>
                    <a:spcPts val="0"/>
                  </a:spcBef>
                  <a:spcAft>
                    <a:spcPts val="0"/>
                  </a:spcAft>
                  <a:buClrTx/>
                  <a:buSzTx/>
                  <a:buFontTx/>
                  <a:buNone/>
                  <a:tabLst/>
                  <a:defRPr/>
                </a:pPr>
                <a:endParaRPr kumimoji="0" lang="en-US" sz="16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284" name="Freeform: Shape 109">
                <a:extLst>
                  <a:ext uri="{FF2B5EF4-FFF2-40B4-BE49-F238E27FC236}">
                    <a16:creationId xmlns:a16="http://schemas.microsoft.com/office/drawing/2014/main" id="{1F362CD3-1B9C-10E9-BC84-E8EA12C804A4}"/>
                  </a:ext>
                </a:extLst>
              </p:cNvPr>
              <p:cNvSpPr/>
              <p:nvPr/>
            </p:nvSpPr>
            <p:spPr>
              <a:xfrm>
                <a:off x="5623750" y="924782"/>
                <a:ext cx="41910" cy="75247"/>
              </a:xfrm>
              <a:custGeom>
                <a:avLst/>
                <a:gdLst>
                  <a:gd name="connsiteX0" fmla="*/ 2858 w 41910"/>
                  <a:gd name="connsiteY0" fmla="*/ 22670 h 75247"/>
                  <a:gd name="connsiteX1" fmla="*/ 1334 w 41910"/>
                  <a:gd name="connsiteY1" fmla="*/ 13144 h 75247"/>
                  <a:gd name="connsiteX2" fmla="*/ 0 w 41910"/>
                  <a:gd name="connsiteY2" fmla="*/ 6572 h 75247"/>
                  <a:gd name="connsiteX3" fmla="*/ 17050 w 41910"/>
                  <a:gd name="connsiteY3" fmla="*/ 4096 h 75247"/>
                  <a:gd name="connsiteX4" fmla="*/ 18383 w 41910"/>
                  <a:gd name="connsiteY4" fmla="*/ 9525 h 75247"/>
                  <a:gd name="connsiteX5" fmla="*/ 19622 w 41910"/>
                  <a:gd name="connsiteY5" fmla="*/ 16002 h 75247"/>
                  <a:gd name="connsiteX6" fmla="*/ 19907 w 41910"/>
                  <a:gd name="connsiteY6" fmla="*/ 16002 h 75247"/>
                  <a:gd name="connsiteX7" fmla="*/ 22670 w 41910"/>
                  <a:gd name="connsiteY7" fmla="*/ 7810 h 75247"/>
                  <a:gd name="connsiteX8" fmla="*/ 26861 w 41910"/>
                  <a:gd name="connsiteY8" fmla="*/ 2857 h 75247"/>
                  <a:gd name="connsiteX9" fmla="*/ 34290 w 41910"/>
                  <a:gd name="connsiteY9" fmla="*/ 190 h 75247"/>
                  <a:gd name="connsiteX10" fmla="*/ 37719 w 41910"/>
                  <a:gd name="connsiteY10" fmla="*/ 0 h 75247"/>
                  <a:gd name="connsiteX11" fmla="*/ 40196 w 41910"/>
                  <a:gd name="connsiteY11" fmla="*/ 381 h 75247"/>
                  <a:gd name="connsiteX12" fmla="*/ 41910 w 41910"/>
                  <a:gd name="connsiteY12" fmla="*/ 15907 h 75247"/>
                  <a:gd name="connsiteX13" fmla="*/ 40577 w 41910"/>
                  <a:gd name="connsiteY13" fmla="*/ 15907 h 75247"/>
                  <a:gd name="connsiteX14" fmla="*/ 34671 w 41910"/>
                  <a:gd name="connsiteY14" fmla="*/ 16097 h 75247"/>
                  <a:gd name="connsiteX15" fmla="*/ 25051 w 41910"/>
                  <a:gd name="connsiteY15" fmla="*/ 22955 h 75247"/>
                  <a:gd name="connsiteX16" fmla="*/ 23527 w 41910"/>
                  <a:gd name="connsiteY16" fmla="*/ 38957 h 75247"/>
                  <a:gd name="connsiteX17" fmla="*/ 28289 w 41910"/>
                  <a:gd name="connsiteY17" fmla="*/ 72676 h 75247"/>
                  <a:gd name="connsiteX18" fmla="*/ 10382 w 41910"/>
                  <a:gd name="connsiteY18" fmla="*/ 75248 h 75247"/>
                  <a:gd name="connsiteX19" fmla="*/ 2858 w 41910"/>
                  <a:gd name="connsiteY19" fmla="*/ 22574 h 752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1910" h="75247">
                    <a:moveTo>
                      <a:pt x="2858" y="22670"/>
                    </a:moveTo>
                    <a:cubicBezTo>
                      <a:pt x="2477" y="19717"/>
                      <a:pt x="1905" y="16573"/>
                      <a:pt x="1334" y="13144"/>
                    </a:cubicBezTo>
                    <a:cubicBezTo>
                      <a:pt x="762" y="9811"/>
                      <a:pt x="286" y="7620"/>
                      <a:pt x="0" y="6572"/>
                    </a:cubicBezTo>
                    <a:lnTo>
                      <a:pt x="17050" y="4096"/>
                    </a:lnTo>
                    <a:cubicBezTo>
                      <a:pt x="17336" y="4858"/>
                      <a:pt x="17812" y="6667"/>
                      <a:pt x="18383" y="9525"/>
                    </a:cubicBezTo>
                    <a:cubicBezTo>
                      <a:pt x="18955" y="12382"/>
                      <a:pt x="19431" y="14573"/>
                      <a:pt x="19622" y="16002"/>
                    </a:cubicBezTo>
                    <a:lnTo>
                      <a:pt x="19907" y="16002"/>
                    </a:lnTo>
                    <a:cubicBezTo>
                      <a:pt x="20765" y="12573"/>
                      <a:pt x="21717" y="9811"/>
                      <a:pt x="22670" y="7810"/>
                    </a:cubicBezTo>
                    <a:cubicBezTo>
                      <a:pt x="23622" y="5810"/>
                      <a:pt x="25051" y="4191"/>
                      <a:pt x="26861" y="2857"/>
                    </a:cubicBezTo>
                    <a:cubicBezTo>
                      <a:pt x="28670" y="1524"/>
                      <a:pt x="31147" y="667"/>
                      <a:pt x="34290" y="190"/>
                    </a:cubicBezTo>
                    <a:cubicBezTo>
                      <a:pt x="35433" y="0"/>
                      <a:pt x="36576" y="0"/>
                      <a:pt x="37719" y="0"/>
                    </a:cubicBezTo>
                    <a:cubicBezTo>
                      <a:pt x="38862" y="0"/>
                      <a:pt x="39624" y="190"/>
                      <a:pt x="40196" y="381"/>
                    </a:cubicBezTo>
                    <a:lnTo>
                      <a:pt x="41910" y="15907"/>
                    </a:lnTo>
                    <a:cubicBezTo>
                      <a:pt x="41339" y="15907"/>
                      <a:pt x="40862" y="15907"/>
                      <a:pt x="40577" y="15907"/>
                    </a:cubicBezTo>
                    <a:cubicBezTo>
                      <a:pt x="38195" y="15811"/>
                      <a:pt x="36195" y="15907"/>
                      <a:pt x="34671" y="16097"/>
                    </a:cubicBezTo>
                    <a:cubicBezTo>
                      <a:pt x="30290" y="16764"/>
                      <a:pt x="27051" y="19050"/>
                      <a:pt x="25051" y="22955"/>
                    </a:cubicBezTo>
                    <a:cubicBezTo>
                      <a:pt x="23051" y="26860"/>
                      <a:pt x="22574" y="32290"/>
                      <a:pt x="23527" y="38957"/>
                    </a:cubicBezTo>
                    <a:lnTo>
                      <a:pt x="28289" y="72676"/>
                    </a:lnTo>
                    <a:lnTo>
                      <a:pt x="10382" y="75248"/>
                    </a:lnTo>
                    <a:lnTo>
                      <a:pt x="2858" y="22574"/>
                    </a:lnTo>
                    <a:close/>
                  </a:path>
                </a:pathLst>
              </a:custGeom>
              <a:solidFill>
                <a:srgbClr val="000000"/>
              </a:solidFill>
              <a:ln w="9525" cap="flat">
                <a:noFill/>
                <a:prstDash val="solid"/>
                <a:miter/>
              </a:ln>
            </p:spPr>
            <p:txBody>
              <a:bodyPr rtlCol="0" anchor="ctr"/>
              <a:lstStyle/>
              <a:p>
                <a:pPr marL="0" marR="0" lvl="0" indent="0" algn="l" defTabSz="911991" rtl="0" eaLnBrk="1" fontAlgn="auto" latinLnBrk="0" hangingPunct="1">
                  <a:lnSpc>
                    <a:spcPct val="100000"/>
                  </a:lnSpc>
                  <a:spcBef>
                    <a:spcPts val="0"/>
                  </a:spcBef>
                  <a:spcAft>
                    <a:spcPts val="0"/>
                  </a:spcAft>
                  <a:buClrTx/>
                  <a:buSzTx/>
                  <a:buFontTx/>
                  <a:buNone/>
                  <a:tabLst/>
                  <a:defRPr/>
                </a:pPr>
                <a:endParaRPr kumimoji="0" lang="en-US" sz="16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285" name="Freeform: Shape 110">
                <a:extLst>
                  <a:ext uri="{FF2B5EF4-FFF2-40B4-BE49-F238E27FC236}">
                    <a16:creationId xmlns:a16="http://schemas.microsoft.com/office/drawing/2014/main" id="{CA08B721-FD48-56D3-EA34-C383B042A252}"/>
                  </a:ext>
                </a:extLst>
              </p:cNvPr>
              <p:cNvSpPr/>
              <p:nvPr/>
            </p:nvSpPr>
            <p:spPr>
              <a:xfrm>
                <a:off x="5674458" y="918837"/>
                <a:ext cx="64734" cy="72162"/>
              </a:xfrm>
              <a:custGeom>
                <a:avLst/>
                <a:gdLst>
                  <a:gd name="connsiteX0" fmla="*/ 12633 w 64734"/>
                  <a:gd name="connsiteY0" fmla="*/ 65952 h 72162"/>
                  <a:gd name="connsiteX1" fmla="*/ 441 w 64734"/>
                  <a:gd name="connsiteY1" fmla="*/ 40044 h 72162"/>
                  <a:gd name="connsiteX2" fmla="*/ 2346 w 64734"/>
                  <a:gd name="connsiteY2" fmla="*/ 19470 h 72162"/>
                  <a:gd name="connsiteX3" fmla="*/ 12633 w 64734"/>
                  <a:gd name="connsiteY3" fmla="*/ 6135 h 72162"/>
                  <a:gd name="connsiteX4" fmla="*/ 28635 w 64734"/>
                  <a:gd name="connsiteY4" fmla="*/ 325 h 72162"/>
                  <a:gd name="connsiteX5" fmla="*/ 46637 w 64734"/>
                  <a:gd name="connsiteY5" fmla="*/ 2706 h 72162"/>
                  <a:gd name="connsiteX6" fmla="*/ 58162 w 64734"/>
                  <a:gd name="connsiteY6" fmla="*/ 13469 h 72162"/>
                  <a:gd name="connsiteX7" fmla="*/ 63401 w 64734"/>
                  <a:gd name="connsiteY7" fmla="*/ 29852 h 72162"/>
                  <a:gd name="connsiteX8" fmla="*/ 63877 w 64734"/>
                  <a:gd name="connsiteY8" fmla="*/ 37091 h 72162"/>
                  <a:gd name="connsiteX9" fmla="*/ 19967 w 64734"/>
                  <a:gd name="connsiteY9" fmla="*/ 42520 h 72162"/>
                  <a:gd name="connsiteX10" fmla="*/ 25301 w 64734"/>
                  <a:gd name="connsiteY10" fmla="*/ 54808 h 72162"/>
                  <a:gd name="connsiteX11" fmla="*/ 37779 w 64734"/>
                  <a:gd name="connsiteY11" fmla="*/ 58046 h 72162"/>
                  <a:gd name="connsiteX12" fmla="*/ 44256 w 64734"/>
                  <a:gd name="connsiteY12" fmla="*/ 56427 h 72162"/>
                  <a:gd name="connsiteX13" fmla="*/ 49685 w 64734"/>
                  <a:gd name="connsiteY13" fmla="*/ 53379 h 72162"/>
                  <a:gd name="connsiteX14" fmla="*/ 56067 w 64734"/>
                  <a:gd name="connsiteY14" fmla="*/ 48140 h 72162"/>
                  <a:gd name="connsiteX15" fmla="*/ 64735 w 64734"/>
                  <a:gd name="connsiteY15" fmla="*/ 58903 h 72162"/>
                  <a:gd name="connsiteX16" fmla="*/ 53305 w 64734"/>
                  <a:gd name="connsiteY16" fmla="*/ 67476 h 72162"/>
                  <a:gd name="connsiteX17" fmla="*/ 38446 w 64734"/>
                  <a:gd name="connsiteY17" fmla="*/ 71762 h 72162"/>
                  <a:gd name="connsiteX18" fmla="*/ 12633 w 64734"/>
                  <a:gd name="connsiteY18" fmla="*/ 65761 h 72162"/>
                  <a:gd name="connsiteX19" fmla="*/ 45399 w 64734"/>
                  <a:gd name="connsiteY19" fmla="*/ 27090 h 72162"/>
                  <a:gd name="connsiteX20" fmla="*/ 40351 w 64734"/>
                  <a:gd name="connsiteY20" fmla="*/ 16041 h 72162"/>
                  <a:gd name="connsiteX21" fmla="*/ 30159 w 64734"/>
                  <a:gd name="connsiteY21" fmla="*/ 13564 h 72162"/>
                  <a:gd name="connsiteX22" fmla="*/ 21015 w 64734"/>
                  <a:gd name="connsiteY22" fmla="*/ 18517 h 72162"/>
                  <a:gd name="connsiteX23" fmla="*/ 18538 w 64734"/>
                  <a:gd name="connsiteY23" fmla="*/ 30424 h 72162"/>
                  <a:gd name="connsiteX24" fmla="*/ 45399 w 64734"/>
                  <a:gd name="connsiteY24" fmla="*/ 27090 h 721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64734" h="72162">
                    <a:moveTo>
                      <a:pt x="12633" y="65952"/>
                    </a:moveTo>
                    <a:cubicBezTo>
                      <a:pt x="5965" y="60713"/>
                      <a:pt x="1965" y="52045"/>
                      <a:pt x="441" y="40044"/>
                    </a:cubicBezTo>
                    <a:cubicBezTo>
                      <a:pt x="-512" y="32043"/>
                      <a:pt x="60" y="25185"/>
                      <a:pt x="2346" y="19470"/>
                    </a:cubicBezTo>
                    <a:cubicBezTo>
                      <a:pt x="4632" y="13755"/>
                      <a:pt x="8061" y="9373"/>
                      <a:pt x="12633" y="6135"/>
                    </a:cubicBezTo>
                    <a:cubicBezTo>
                      <a:pt x="17205" y="2992"/>
                      <a:pt x="22539" y="991"/>
                      <a:pt x="28635" y="325"/>
                    </a:cubicBezTo>
                    <a:cubicBezTo>
                      <a:pt x="35683" y="-533"/>
                      <a:pt x="41684" y="325"/>
                      <a:pt x="46637" y="2706"/>
                    </a:cubicBezTo>
                    <a:cubicBezTo>
                      <a:pt x="51590" y="5087"/>
                      <a:pt x="55400" y="8802"/>
                      <a:pt x="58162" y="13469"/>
                    </a:cubicBezTo>
                    <a:cubicBezTo>
                      <a:pt x="60925" y="18232"/>
                      <a:pt x="62639" y="23661"/>
                      <a:pt x="63401" y="29852"/>
                    </a:cubicBezTo>
                    <a:cubicBezTo>
                      <a:pt x="63687" y="32233"/>
                      <a:pt x="63877" y="34710"/>
                      <a:pt x="63877" y="37091"/>
                    </a:cubicBezTo>
                    <a:lnTo>
                      <a:pt x="19967" y="42520"/>
                    </a:lnTo>
                    <a:cubicBezTo>
                      <a:pt x="20634" y="47854"/>
                      <a:pt x="22444" y="51950"/>
                      <a:pt x="25301" y="54808"/>
                    </a:cubicBezTo>
                    <a:cubicBezTo>
                      <a:pt x="28254" y="57665"/>
                      <a:pt x="32350" y="58713"/>
                      <a:pt x="37779" y="58046"/>
                    </a:cubicBezTo>
                    <a:cubicBezTo>
                      <a:pt x="40160" y="57760"/>
                      <a:pt x="42351" y="57189"/>
                      <a:pt x="44256" y="56427"/>
                    </a:cubicBezTo>
                    <a:cubicBezTo>
                      <a:pt x="46161" y="55665"/>
                      <a:pt x="47971" y="54617"/>
                      <a:pt x="49685" y="53379"/>
                    </a:cubicBezTo>
                    <a:cubicBezTo>
                      <a:pt x="51400" y="52141"/>
                      <a:pt x="53590" y="50331"/>
                      <a:pt x="56067" y="48140"/>
                    </a:cubicBezTo>
                    <a:lnTo>
                      <a:pt x="64735" y="58903"/>
                    </a:lnTo>
                    <a:cubicBezTo>
                      <a:pt x="61020" y="62428"/>
                      <a:pt x="57305" y="65285"/>
                      <a:pt x="53305" y="67476"/>
                    </a:cubicBezTo>
                    <a:cubicBezTo>
                      <a:pt x="49399" y="69667"/>
                      <a:pt x="44446" y="71095"/>
                      <a:pt x="38446" y="71762"/>
                    </a:cubicBezTo>
                    <a:cubicBezTo>
                      <a:pt x="27873" y="73096"/>
                      <a:pt x="19205" y="71095"/>
                      <a:pt x="12633" y="65761"/>
                    </a:cubicBezTo>
                    <a:close/>
                    <a:moveTo>
                      <a:pt x="45399" y="27090"/>
                    </a:moveTo>
                    <a:cubicBezTo>
                      <a:pt x="44637" y="21946"/>
                      <a:pt x="42922" y="18232"/>
                      <a:pt x="40351" y="16041"/>
                    </a:cubicBezTo>
                    <a:cubicBezTo>
                      <a:pt x="37779" y="13850"/>
                      <a:pt x="34445" y="12993"/>
                      <a:pt x="30159" y="13564"/>
                    </a:cubicBezTo>
                    <a:cubicBezTo>
                      <a:pt x="26158" y="14041"/>
                      <a:pt x="23110" y="15660"/>
                      <a:pt x="21015" y="18517"/>
                    </a:cubicBezTo>
                    <a:cubicBezTo>
                      <a:pt x="18919" y="21280"/>
                      <a:pt x="18062" y="25280"/>
                      <a:pt x="18538" y="30424"/>
                    </a:cubicBezTo>
                    <a:lnTo>
                      <a:pt x="45399" y="27090"/>
                    </a:lnTo>
                    <a:close/>
                  </a:path>
                </a:pathLst>
              </a:custGeom>
              <a:solidFill>
                <a:srgbClr val="000000"/>
              </a:solidFill>
              <a:ln w="9525" cap="flat">
                <a:noFill/>
                <a:prstDash val="solid"/>
                <a:miter/>
              </a:ln>
            </p:spPr>
            <p:txBody>
              <a:bodyPr rtlCol="0" anchor="ctr"/>
              <a:lstStyle/>
              <a:p>
                <a:pPr marL="0" marR="0" lvl="0" indent="0" algn="l" defTabSz="911991" rtl="0" eaLnBrk="1" fontAlgn="auto" latinLnBrk="0" hangingPunct="1">
                  <a:lnSpc>
                    <a:spcPct val="100000"/>
                  </a:lnSpc>
                  <a:spcBef>
                    <a:spcPts val="0"/>
                  </a:spcBef>
                  <a:spcAft>
                    <a:spcPts val="0"/>
                  </a:spcAft>
                  <a:buClrTx/>
                  <a:buSzTx/>
                  <a:buFontTx/>
                  <a:buNone/>
                  <a:tabLst/>
                  <a:defRPr/>
                </a:pPr>
                <a:endParaRPr kumimoji="0" lang="en-US" sz="16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286" name="Freeform: Shape 111">
                <a:extLst>
                  <a:ext uri="{FF2B5EF4-FFF2-40B4-BE49-F238E27FC236}">
                    <a16:creationId xmlns:a16="http://schemas.microsoft.com/office/drawing/2014/main" id="{58404814-01AA-C31A-A1E3-A9FB6DDF178D}"/>
                  </a:ext>
                </a:extLst>
              </p:cNvPr>
              <p:cNvSpPr/>
              <p:nvPr/>
            </p:nvSpPr>
            <p:spPr>
              <a:xfrm>
                <a:off x="5747855" y="883158"/>
                <a:ext cx="70395" cy="100354"/>
              </a:xfrm>
              <a:custGeom>
                <a:avLst/>
                <a:gdLst>
                  <a:gd name="connsiteX0" fmla="*/ 15817 w 70395"/>
                  <a:gd name="connsiteY0" fmla="*/ 97155 h 100354"/>
                  <a:gd name="connsiteX1" fmla="*/ 5245 w 70395"/>
                  <a:gd name="connsiteY1" fmla="*/ 85344 h 100354"/>
                  <a:gd name="connsiteX2" fmla="*/ 292 w 70395"/>
                  <a:gd name="connsiteY2" fmla="*/ 67056 h 100354"/>
                  <a:gd name="connsiteX3" fmla="*/ 1720 w 70395"/>
                  <a:gd name="connsiteY3" fmla="*/ 48101 h 100354"/>
                  <a:gd name="connsiteX4" fmla="*/ 10198 w 70395"/>
                  <a:gd name="connsiteY4" fmla="*/ 34481 h 100354"/>
                  <a:gd name="connsiteX5" fmla="*/ 25438 w 70395"/>
                  <a:gd name="connsiteY5" fmla="*/ 28384 h 100354"/>
                  <a:gd name="connsiteX6" fmla="*/ 37153 w 70395"/>
                  <a:gd name="connsiteY6" fmla="*/ 29909 h 100354"/>
                  <a:gd name="connsiteX7" fmla="*/ 46107 w 70395"/>
                  <a:gd name="connsiteY7" fmla="*/ 37338 h 100354"/>
                  <a:gd name="connsiteX8" fmla="*/ 46202 w 70395"/>
                  <a:gd name="connsiteY8" fmla="*/ 37338 h 100354"/>
                  <a:gd name="connsiteX9" fmla="*/ 45821 w 70395"/>
                  <a:gd name="connsiteY9" fmla="*/ 34290 h 100354"/>
                  <a:gd name="connsiteX10" fmla="*/ 45059 w 70395"/>
                  <a:gd name="connsiteY10" fmla="*/ 27146 h 100354"/>
                  <a:gd name="connsiteX11" fmla="*/ 42583 w 70395"/>
                  <a:gd name="connsiteY11" fmla="*/ 1810 h 100354"/>
                  <a:gd name="connsiteX12" fmla="*/ 60490 w 70395"/>
                  <a:gd name="connsiteY12" fmla="*/ 0 h 100354"/>
                  <a:gd name="connsiteX13" fmla="*/ 68395 w 70395"/>
                  <a:gd name="connsiteY13" fmla="*/ 80010 h 100354"/>
                  <a:gd name="connsiteX14" fmla="*/ 69348 w 70395"/>
                  <a:gd name="connsiteY14" fmla="*/ 88297 h 100354"/>
                  <a:gd name="connsiteX15" fmla="*/ 70015 w 70395"/>
                  <a:gd name="connsiteY15" fmla="*/ 92964 h 100354"/>
                  <a:gd name="connsiteX16" fmla="*/ 70396 w 70395"/>
                  <a:gd name="connsiteY16" fmla="*/ 95060 h 100354"/>
                  <a:gd name="connsiteX17" fmla="*/ 52965 w 70395"/>
                  <a:gd name="connsiteY17" fmla="*/ 96774 h 100354"/>
                  <a:gd name="connsiteX18" fmla="*/ 51917 w 70395"/>
                  <a:gd name="connsiteY18" fmla="*/ 92583 h 100354"/>
                  <a:gd name="connsiteX19" fmla="*/ 51060 w 70395"/>
                  <a:gd name="connsiteY19" fmla="*/ 86868 h 100354"/>
                  <a:gd name="connsiteX20" fmla="*/ 50774 w 70395"/>
                  <a:gd name="connsiteY20" fmla="*/ 86868 h 100354"/>
                  <a:gd name="connsiteX21" fmla="*/ 43249 w 70395"/>
                  <a:gd name="connsiteY21" fmla="*/ 96203 h 100354"/>
                  <a:gd name="connsiteX22" fmla="*/ 31057 w 70395"/>
                  <a:gd name="connsiteY22" fmla="*/ 100203 h 100354"/>
                  <a:gd name="connsiteX23" fmla="*/ 15627 w 70395"/>
                  <a:gd name="connsiteY23" fmla="*/ 97060 h 100354"/>
                  <a:gd name="connsiteX24" fmla="*/ 42773 w 70395"/>
                  <a:gd name="connsiteY24" fmla="*/ 82582 h 100354"/>
                  <a:gd name="connsiteX25" fmla="*/ 47821 w 70395"/>
                  <a:gd name="connsiteY25" fmla="*/ 74962 h 100354"/>
                  <a:gd name="connsiteX26" fmla="*/ 48774 w 70395"/>
                  <a:gd name="connsiteY26" fmla="*/ 61913 h 100354"/>
                  <a:gd name="connsiteX27" fmla="*/ 42678 w 70395"/>
                  <a:gd name="connsiteY27" fmla="*/ 45911 h 100354"/>
                  <a:gd name="connsiteX28" fmla="*/ 31248 w 70395"/>
                  <a:gd name="connsiteY28" fmla="*/ 42101 h 100354"/>
                  <a:gd name="connsiteX29" fmla="*/ 21342 w 70395"/>
                  <a:gd name="connsiteY29" fmla="*/ 48482 h 100354"/>
                  <a:gd name="connsiteX30" fmla="*/ 19056 w 70395"/>
                  <a:gd name="connsiteY30" fmla="*/ 65246 h 100354"/>
                  <a:gd name="connsiteX31" fmla="*/ 24485 w 70395"/>
                  <a:gd name="connsiteY31" fmla="*/ 80963 h 100354"/>
                  <a:gd name="connsiteX32" fmla="*/ 35439 w 70395"/>
                  <a:gd name="connsiteY32" fmla="*/ 85535 h 100354"/>
                  <a:gd name="connsiteX33" fmla="*/ 42773 w 70395"/>
                  <a:gd name="connsiteY33" fmla="*/ 82677 h 1003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70395" h="100354">
                    <a:moveTo>
                      <a:pt x="15817" y="97155"/>
                    </a:moveTo>
                    <a:cubicBezTo>
                      <a:pt x="11436" y="94488"/>
                      <a:pt x="7912" y="90583"/>
                      <a:pt x="5245" y="85344"/>
                    </a:cubicBezTo>
                    <a:cubicBezTo>
                      <a:pt x="2673" y="80105"/>
                      <a:pt x="958" y="74009"/>
                      <a:pt x="292" y="67056"/>
                    </a:cubicBezTo>
                    <a:cubicBezTo>
                      <a:pt x="-375" y="60008"/>
                      <a:pt x="101" y="53721"/>
                      <a:pt x="1720" y="48101"/>
                    </a:cubicBezTo>
                    <a:cubicBezTo>
                      <a:pt x="3340" y="42482"/>
                      <a:pt x="6197" y="37909"/>
                      <a:pt x="10198" y="34481"/>
                    </a:cubicBezTo>
                    <a:cubicBezTo>
                      <a:pt x="14198" y="31052"/>
                      <a:pt x="19246" y="28956"/>
                      <a:pt x="25438" y="28384"/>
                    </a:cubicBezTo>
                    <a:cubicBezTo>
                      <a:pt x="29533" y="28003"/>
                      <a:pt x="33439" y="28480"/>
                      <a:pt x="37153" y="29909"/>
                    </a:cubicBezTo>
                    <a:cubicBezTo>
                      <a:pt x="40868" y="31337"/>
                      <a:pt x="43821" y="33814"/>
                      <a:pt x="46107" y="37338"/>
                    </a:cubicBezTo>
                    <a:lnTo>
                      <a:pt x="46202" y="37338"/>
                    </a:lnTo>
                    <a:cubicBezTo>
                      <a:pt x="46107" y="36195"/>
                      <a:pt x="46012" y="35243"/>
                      <a:pt x="45821" y="34290"/>
                    </a:cubicBezTo>
                    <a:lnTo>
                      <a:pt x="45059" y="27146"/>
                    </a:lnTo>
                    <a:lnTo>
                      <a:pt x="42583" y="1810"/>
                    </a:lnTo>
                    <a:lnTo>
                      <a:pt x="60490" y="0"/>
                    </a:lnTo>
                    <a:lnTo>
                      <a:pt x="68395" y="80010"/>
                    </a:lnTo>
                    <a:cubicBezTo>
                      <a:pt x="68681" y="82963"/>
                      <a:pt x="68967" y="85725"/>
                      <a:pt x="69348" y="88297"/>
                    </a:cubicBezTo>
                    <a:cubicBezTo>
                      <a:pt x="69729" y="90869"/>
                      <a:pt x="69919" y="92393"/>
                      <a:pt x="70015" y="92964"/>
                    </a:cubicBezTo>
                    <a:cubicBezTo>
                      <a:pt x="70205" y="94107"/>
                      <a:pt x="70300" y="94774"/>
                      <a:pt x="70396" y="95060"/>
                    </a:cubicBezTo>
                    <a:lnTo>
                      <a:pt x="52965" y="96774"/>
                    </a:lnTo>
                    <a:cubicBezTo>
                      <a:pt x="52679" y="96203"/>
                      <a:pt x="52393" y="94774"/>
                      <a:pt x="51917" y="92583"/>
                    </a:cubicBezTo>
                    <a:cubicBezTo>
                      <a:pt x="51536" y="90392"/>
                      <a:pt x="51250" y="88487"/>
                      <a:pt x="51060" y="86868"/>
                    </a:cubicBezTo>
                    <a:lnTo>
                      <a:pt x="50774" y="86868"/>
                    </a:lnTo>
                    <a:cubicBezTo>
                      <a:pt x="49155" y="90964"/>
                      <a:pt x="46678" y="94012"/>
                      <a:pt x="43249" y="96203"/>
                    </a:cubicBezTo>
                    <a:cubicBezTo>
                      <a:pt x="39820" y="98393"/>
                      <a:pt x="35820" y="99727"/>
                      <a:pt x="31057" y="100203"/>
                    </a:cubicBezTo>
                    <a:cubicBezTo>
                      <a:pt x="25152" y="100775"/>
                      <a:pt x="20008" y="99727"/>
                      <a:pt x="15627" y="97060"/>
                    </a:cubicBezTo>
                    <a:close/>
                    <a:moveTo>
                      <a:pt x="42773" y="82582"/>
                    </a:moveTo>
                    <a:cubicBezTo>
                      <a:pt x="44964" y="80963"/>
                      <a:pt x="46678" y="78391"/>
                      <a:pt x="47821" y="74962"/>
                    </a:cubicBezTo>
                    <a:cubicBezTo>
                      <a:pt x="48964" y="71533"/>
                      <a:pt x="49345" y="67151"/>
                      <a:pt x="48774" y="61913"/>
                    </a:cubicBezTo>
                    <a:cubicBezTo>
                      <a:pt x="48012" y="54197"/>
                      <a:pt x="46012" y="48863"/>
                      <a:pt x="42678" y="45911"/>
                    </a:cubicBezTo>
                    <a:cubicBezTo>
                      <a:pt x="39344" y="42958"/>
                      <a:pt x="35629" y="41624"/>
                      <a:pt x="31248" y="42101"/>
                    </a:cubicBezTo>
                    <a:cubicBezTo>
                      <a:pt x="26866" y="42482"/>
                      <a:pt x="23533" y="44672"/>
                      <a:pt x="21342" y="48482"/>
                    </a:cubicBezTo>
                    <a:cubicBezTo>
                      <a:pt x="19056" y="52292"/>
                      <a:pt x="18294" y="57912"/>
                      <a:pt x="19056" y="65246"/>
                    </a:cubicBezTo>
                    <a:cubicBezTo>
                      <a:pt x="19723" y="72200"/>
                      <a:pt x="21532" y="77438"/>
                      <a:pt x="24485" y="80963"/>
                    </a:cubicBezTo>
                    <a:cubicBezTo>
                      <a:pt x="27438" y="84392"/>
                      <a:pt x="31057" y="85916"/>
                      <a:pt x="35439" y="85535"/>
                    </a:cubicBezTo>
                    <a:cubicBezTo>
                      <a:pt x="38106" y="85249"/>
                      <a:pt x="40487" y="84296"/>
                      <a:pt x="42773" y="82677"/>
                    </a:cubicBezTo>
                    <a:close/>
                  </a:path>
                </a:pathLst>
              </a:custGeom>
              <a:solidFill>
                <a:srgbClr val="000000"/>
              </a:solidFill>
              <a:ln w="9525" cap="flat">
                <a:noFill/>
                <a:prstDash val="solid"/>
                <a:miter/>
              </a:ln>
            </p:spPr>
            <p:txBody>
              <a:bodyPr rtlCol="0" anchor="ctr"/>
              <a:lstStyle/>
              <a:p>
                <a:pPr marL="0" marR="0" lvl="0" indent="0" algn="l" defTabSz="911991" rtl="0" eaLnBrk="1" fontAlgn="auto" latinLnBrk="0" hangingPunct="1">
                  <a:lnSpc>
                    <a:spcPct val="100000"/>
                  </a:lnSpc>
                  <a:spcBef>
                    <a:spcPts val="0"/>
                  </a:spcBef>
                  <a:spcAft>
                    <a:spcPts val="0"/>
                  </a:spcAft>
                  <a:buClrTx/>
                  <a:buSzTx/>
                  <a:buFontTx/>
                  <a:buNone/>
                  <a:tabLst/>
                  <a:defRPr/>
                </a:pPr>
                <a:endParaRPr kumimoji="0" lang="en-US" sz="16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287" name="Freeform: Shape 112">
                <a:extLst>
                  <a:ext uri="{FF2B5EF4-FFF2-40B4-BE49-F238E27FC236}">
                    <a16:creationId xmlns:a16="http://schemas.microsoft.com/office/drawing/2014/main" id="{059C439D-E899-2C8C-25FB-F6C6ECABC594}"/>
                  </a:ext>
                </a:extLst>
              </p:cNvPr>
              <p:cNvSpPr/>
              <p:nvPr/>
            </p:nvSpPr>
            <p:spPr>
              <a:xfrm>
                <a:off x="5866161" y="877347"/>
                <a:ext cx="70252" cy="96583"/>
              </a:xfrm>
              <a:custGeom>
                <a:avLst/>
                <a:gdLst>
                  <a:gd name="connsiteX0" fmla="*/ 32671 w 70252"/>
                  <a:gd name="connsiteY0" fmla="*/ 93536 h 96583"/>
                  <a:gd name="connsiteX1" fmla="*/ 23431 w 70252"/>
                  <a:gd name="connsiteY1" fmla="*/ 85630 h 96583"/>
                  <a:gd name="connsiteX2" fmla="*/ 23336 w 70252"/>
                  <a:gd name="connsiteY2" fmla="*/ 85630 h 96583"/>
                  <a:gd name="connsiteX3" fmla="*/ 23336 w 70252"/>
                  <a:gd name="connsiteY3" fmla="*/ 91345 h 96583"/>
                  <a:gd name="connsiteX4" fmla="*/ 22955 w 70252"/>
                  <a:gd name="connsiteY4" fmla="*/ 95536 h 96583"/>
                  <a:gd name="connsiteX5" fmla="*/ 5429 w 70252"/>
                  <a:gd name="connsiteY5" fmla="*/ 96584 h 96583"/>
                  <a:gd name="connsiteX6" fmla="*/ 4953 w 70252"/>
                  <a:gd name="connsiteY6" fmla="*/ 80582 h 96583"/>
                  <a:gd name="connsiteX7" fmla="*/ 0 w 70252"/>
                  <a:gd name="connsiteY7" fmla="*/ 1143 h 96583"/>
                  <a:gd name="connsiteX8" fmla="*/ 18002 w 70252"/>
                  <a:gd name="connsiteY8" fmla="*/ 0 h 96583"/>
                  <a:gd name="connsiteX9" fmla="*/ 19621 w 70252"/>
                  <a:gd name="connsiteY9" fmla="*/ 26765 h 96583"/>
                  <a:gd name="connsiteX10" fmla="*/ 19907 w 70252"/>
                  <a:gd name="connsiteY10" fmla="*/ 32766 h 96583"/>
                  <a:gd name="connsiteX11" fmla="*/ 19907 w 70252"/>
                  <a:gd name="connsiteY11" fmla="*/ 36671 h 96583"/>
                  <a:gd name="connsiteX12" fmla="*/ 20193 w 70252"/>
                  <a:gd name="connsiteY12" fmla="*/ 36671 h 96583"/>
                  <a:gd name="connsiteX13" fmla="*/ 28670 w 70252"/>
                  <a:gd name="connsiteY13" fmla="*/ 27051 h 96583"/>
                  <a:gd name="connsiteX14" fmla="*/ 41529 w 70252"/>
                  <a:gd name="connsiteY14" fmla="*/ 23336 h 96583"/>
                  <a:gd name="connsiteX15" fmla="*/ 56197 w 70252"/>
                  <a:gd name="connsiteY15" fmla="*/ 27051 h 96583"/>
                  <a:gd name="connsiteX16" fmla="*/ 65913 w 70252"/>
                  <a:gd name="connsiteY16" fmla="*/ 39148 h 96583"/>
                  <a:gd name="connsiteX17" fmla="*/ 70104 w 70252"/>
                  <a:gd name="connsiteY17" fmla="*/ 57531 h 96583"/>
                  <a:gd name="connsiteX18" fmla="*/ 68104 w 70252"/>
                  <a:gd name="connsiteY18" fmla="*/ 76581 h 96583"/>
                  <a:gd name="connsiteX19" fmla="*/ 59531 w 70252"/>
                  <a:gd name="connsiteY19" fmla="*/ 90011 h 96583"/>
                  <a:gd name="connsiteX20" fmla="*/ 44863 w 70252"/>
                  <a:gd name="connsiteY20" fmla="*/ 95536 h 96583"/>
                  <a:gd name="connsiteX21" fmla="*/ 32480 w 70252"/>
                  <a:gd name="connsiteY21" fmla="*/ 93631 h 96583"/>
                  <a:gd name="connsiteX22" fmla="*/ 48482 w 70252"/>
                  <a:gd name="connsiteY22" fmla="*/ 75438 h 96583"/>
                  <a:gd name="connsiteX23" fmla="*/ 51435 w 70252"/>
                  <a:gd name="connsiteY23" fmla="*/ 58674 h 96583"/>
                  <a:gd name="connsiteX24" fmla="*/ 46672 w 70252"/>
                  <a:gd name="connsiteY24" fmla="*/ 43053 h 96583"/>
                  <a:gd name="connsiteX25" fmla="*/ 35814 w 70252"/>
                  <a:gd name="connsiteY25" fmla="*/ 38291 h 96583"/>
                  <a:gd name="connsiteX26" fmla="*/ 25051 w 70252"/>
                  <a:gd name="connsiteY26" fmla="*/ 44006 h 96583"/>
                  <a:gd name="connsiteX27" fmla="*/ 21622 w 70252"/>
                  <a:gd name="connsiteY27" fmla="*/ 61055 h 96583"/>
                  <a:gd name="connsiteX28" fmla="*/ 24574 w 70252"/>
                  <a:gd name="connsiteY28" fmla="*/ 73533 h 96583"/>
                  <a:gd name="connsiteX29" fmla="*/ 30575 w 70252"/>
                  <a:gd name="connsiteY29" fmla="*/ 80010 h 96583"/>
                  <a:gd name="connsiteX30" fmla="*/ 38290 w 70252"/>
                  <a:gd name="connsiteY30" fmla="*/ 81534 h 96583"/>
                  <a:gd name="connsiteX31" fmla="*/ 48482 w 70252"/>
                  <a:gd name="connsiteY31" fmla="*/ 75438 h 965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70252" h="96583">
                    <a:moveTo>
                      <a:pt x="32671" y="93536"/>
                    </a:moveTo>
                    <a:cubicBezTo>
                      <a:pt x="28765" y="92012"/>
                      <a:pt x="25717" y="89345"/>
                      <a:pt x="23431" y="85630"/>
                    </a:cubicBezTo>
                    <a:lnTo>
                      <a:pt x="23336" y="85630"/>
                    </a:lnTo>
                    <a:cubicBezTo>
                      <a:pt x="23431" y="87249"/>
                      <a:pt x="23431" y="89154"/>
                      <a:pt x="23336" y="91345"/>
                    </a:cubicBezTo>
                    <a:cubicBezTo>
                      <a:pt x="23241" y="93536"/>
                      <a:pt x="23146" y="94964"/>
                      <a:pt x="22955" y="95536"/>
                    </a:cubicBezTo>
                    <a:lnTo>
                      <a:pt x="5429" y="96584"/>
                    </a:lnTo>
                    <a:cubicBezTo>
                      <a:pt x="5429" y="92583"/>
                      <a:pt x="5429" y="87249"/>
                      <a:pt x="4953" y="80582"/>
                    </a:cubicBezTo>
                    <a:lnTo>
                      <a:pt x="0" y="1143"/>
                    </a:lnTo>
                    <a:lnTo>
                      <a:pt x="18002" y="0"/>
                    </a:lnTo>
                    <a:lnTo>
                      <a:pt x="19621" y="26765"/>
                    </a:lnTo>
                    <a:cubicBezTo>
                      <a:pt x="19717" y="28766"/>
                      <a:pt x="19812" y="30766"/>
                      <a:pt x="19907" y="32766"/>
                    </a:cubicBezTo>
                    <a:cubicBezTo>
                      <a:pt x="19907" y="34766"/>
                      <a:pt x="19907" y="36100"/>
                      <a:pt x="19907" y="36671"/>
                    </a:cubicBezTo>
                    <a:lnTo>
                      <a:pt x="20193" y="36671"/>
                    </a:lnTo>
                    <a:cubicBezTo>
                      <a:pt x="22193" y="32385"/>
                      <a:pt x="24955" y="29147"/>
                      <a:pt x="28670" y="27051"/>
                    </a:cubicBezTo>
                    <a:cubicBezTo>
                      <a:pt x="32385" y="24860"/>
                      <a:pt x="36671" y="23622"/>
                      <a:pt x="41529" y="23336"/>
                    </a:cubicBezTo>
                    <a:cubicBezTo>
                      <a:pt x="47149" y="22955"/>
                      <a:pt x="52006" y="24194"/>
                      <a:pt x="56197" y="27051"/>
                    </a:cubicBezTo>
                    <a:cubicBezTo>
                      <a:pt x="60388" y="29909"/>
                      <a:pt x="63627" y="33909"/>
                      <a:pt x="65913" y="39148"/>
                    </a:cubicBezTo>
                    <a:cubicBezTo>
                      <a:pt x="68199" y="44387"/>
                      <a:pt x="69628" y="50578"/>
                      <a:pt x="70104" y="57531"/>
                    </a:cubicBezTo>
                    <a:cubicBezTo>
                      <a:pt x="70580" y="64675"/>
                      <a:pt x="69913" y="70961"/>
                      <a:pt x="68104" y="76581"/>
                    </a:cubicBezTo>
                    <a:cubicBezTo>
                      <a:pt x="66294" y="82201"/>
                      <a:pt x="63436" y="86678"/>
                      <a:pt x="59531" y="90011"/>
                    </a:cubicBezTo>
                    <a:cubicBezTo>
                      <a:pt x="55626" y="93345"/>
                      <a:pt x="50673" y="95155"/>
                      <a:pt x="44863" y="95536"/>
                    </a:cubicBezTo>
                    <a:cubicBezTo>
                      <a:pt x="40481" y="95822"/>
                      <a:pt x="36385" y="95155"/>
                      <a:pt x="32480" y="93631"/>
                    </a:cubicBezTo>
                    <a:close/>
                    <a:moveTo>
                      <a:pt x="48482" y="75438"/>
                    </a:moveTo>
                    <a:cubicBezTo>
                      <a:pt x="50959" y="71628"/>
                      <a:pt x="51911" y="66008"/>
                      <a:pt x="51435" y="58674"/>
                    </a:cubicBezTo>
                    <a:cubicBezTo>
                      <a:pt x="51054" y="51721"/>
                      <a:pt x="49435" y="46482"/>
                      <a:pt x="46672" y="43053"/>
                    </a:cubicBezTo>
                    <a:cubicBezTo>
                      <a:pt x="43910" y="39624"/>
                      <a:pt x="40291" y="38005"/>
                      <a:pt x="35814" y="38291"/>
                    </a:cubicBezTo>
                    <a:cubicBezTo>
                      <a:pt x="31432" y="38576"/>
                      <a:pt x="27908" y="40481"/>
                      <a:pt x="25051" y="44006"/>
                    </a:cubicBezTo>
                    <a:cubicBezTo>
                      <a:pt x="22288" y="47530"/>
                      <a:pt x="21145" y="53245"/>
                      <a:pt x="21622" y="61055"/>
                    </a:cubicBezTo>
                    <a:cubicBezTo>
                      <a:pt x="21907" y="66294"/>
                      <a:pt x="22955" y="70485"/>
                      <a:pt x="24574" y="73533"/>
                    </a:cubicBezTo>
                    <a:cubicBezTo>
                      <a:pt x="26194" y="76676"/>
                      <a:pt x="28289" y="78772"/>
                      <a:pt x="30575" y="80010"/>
                    </a:cubicBezTo>
                    <a:cubicBezTo>
                      <a:pt x="32956" y="81248"/>
                      <a:pt x="35528" y="81724"/>
                      <a:pt x="38290" y="81534"/>
                    </a:cubicBezTo>
                    <a:cubicBezTo>
                      <a:pt x="42577" y="81248"/>
                      <a:pt x="46006" y="79248"/>
                      <a:pt x="48482" y="75438"/>
                    </a:cubicBezTo>
                    <a:close/>
                  </a:path>
                </a:pathLst>
              </a:custGeom>
              <a:solidFill>
                <a:srgbClr val="000000"/>
              </a:solidFill>
              <a:ln w="9525" cap="flat">
                <a:noFill/>
                <a:prstDash val="solid"/>
                <a:miter/>
              </a:ln>
            </p:spPr>
            <p:txBody>
              <a:bodyPr rtlCol="0" anchor="ctr"/>
              <a:lstStyle/>
              <a:p>
                <a:pPr marL="0" marR="0" lvl="0" indent="0" algn="l" defTabSz="911991" rtl="0" eaLnBrk="1" fontAlgn="auto" latinLnBrk="0" hangingPunct="1">
                  <a:lnSpc>
                    <a:spcPct val="100000"/>
                  </a:lnSpc>
                  <a:spcBef>
                    <a:spcPts val="0"/>
                  </a:spcBef>
                  <a:spcAft>
                    <a:spcPts val="0"/>
                  </a:spcAft>
                  <a:buClrTx/>
                  <a:buSzTx/>
                  <a:buFontTx/>
                  <a:buNone/>
                  <a:tabLst/>
                  <a:defRPr/>
                </a:pPr>
                <a:endParaRPr kumimoji="0" lang="en-US" sz="16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288" name="Freeform: Shape 113">
                <a:extLst>
                  <a:ext uri="{FF2B5EF4-FFF2-40B4-BE49-F238E27FC236}">
                    <a16:creationId xmlns:a16="http://schemas.microsoft.com/office/drawing/2014/main" id="{4E3D77AB-D87F-5601-3D2C-DEBEE5F04F61}"/>
                  </a:ext>
                </a:extLst>
              </p:cNvPr>
              <p:cNvSpPr/>
              <p:nvPr/>
            </p:nvSpPr>
            <p:spPr>
              <a:xfrm>
                <a:off x="5948838" y="897445"/>
                <a:ext cx="66198" cy="72319"/>
              </a:xfrm>
              <a:custGeom>
                <a:avLst/>
                <a:gdLst>
                  <a:gd name="connsiteX0" fmla="*/ 7810 w 66198"/>
                  <a:gd name="connsiteY0" fmla="*/ 65627 h 72319"/>
                  <a:gd name="connsiteX1" fmla="*/ 1619 w 66198"/>
                  <a:gd name="connsiteY1" fmla="*/ 46387 h 72319"/>
                  <a:gd name="connsiteX2" fmla="*/ 0 w 66198"/>
                  <a:gd name="connsiteY2" fmla="*/ 2286 h 72319"/>
                  <a:gd name="connsiteX3" fmla="*/ 18097 w 66198"/>
                  <a:gd name="connsiteY3" fmla="*/ 1619 h 72319"/>
                  <a:gd name="connsiteX4" fmla="*/ 19526 w 66198"/>
                  <a:gd name="connsiteY4" fmla="*/ 40577 h 72319"/>
                  <a:gd name="connsiteX5" fmla="*/ 22574 w 66198"/>
                  <a:gd name="connsiteY5" fmla="*/ 52578 h 72319"/>
                  <a:gd name="connsiteX6" fmla="*/ 31813 w 66198"/>
                  <a:gd name="connsiteY6" fmla="*/ 56483 h 72319"/>
                  <a:gd name="connsiteX7" fmla="*/ 39529 w 66198"/>
                  <a:gd name="connsiteY7" fmla="*/ 53912 h 72319"/>
                  <a:gd name="connsiteX8" fmla="*/ 44767 w 66198"/>
                  <a:gd name="connsiteY8" fmla="*/ 47339 h 72319"/>
                  <a:gd name="connsiteX9" fmla="*/ 46387 w 66198"/>
                  <a:gd name="connsiteY9" fmla="*/ 37909 h 72319"/>
                  <a:gd name="connsiteX10" fmla="*/ 45053 w 66198"/>
                  <a:gd name="connsiteY10" fmla="*/ 667 h 72319"/>
                  <a:gd name="connsiteX11" fmla="*/ 63151 w 66198"/>
                  <a:gd name="connsiteY11" fmla="*/ 0 h 72319"/>
                  <a:gd name="connsiteX12" fmla="*/ 65151 w 66198"/>
                  <a:gd name="connsiteY12" fmla="*/ 53912 h 72319"/>
                  <a:gd name="connsiteX13" fmla="*/ 65627 w 66198"/>
                  <a:gd name="connsiteY13" fmla="*/ 62960 h 72319"/>
                  <a:gd name="connsiteX14" fmla="*/ 66199 w 66198"/>
                  <a:gd name="connsiteY14" fmla="*/ 69437 h 72319"/>
                  <a:gd name="connsiteX15" fmla="*/ 48958 w 66198"/>
                  <a:gd name="connsiteY15" fmla="*/ 70104 h 72319"/>
                  <a:gd name="connsiteX16" fmla="*/ 48292 w 66198"/>
                  <a:gd name="connsiteY16" fmla="*/ 64294 h 72319"/>
                  <a:gd name="connsiteX17" fmla="*/ 47720 w 66198"/>
                  <a:gd name="connsiteY17" fmla="*/ 57626 h 72319"/>
                  <a:gd name="connsiteX18" fmla="*/ 47434 w 66198"/>
                  <a:gd name="connsiteY18" fmla="*/ 57626 h 72319"/>
                  <a:gd name="connsiteX19" fmla="*/ 38671 w 66198"/>
                  <a:gd name="connsiteY19" fmla="*/ 68485 h 72319"/>
                  <a:gd name="connsiteX20" fmla="*/ 25527 w 66198"/>
                  <a:gd name="connsiteY20" fmla="*/ 72295 h 72319"/>
                  <a:gd name="connsiteX21" fmla="*/ 7906 w 66198"/>
                  <a:gd name="connsiteY21" fmla="*/ 65723 h 723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66198" h="72319">
                    <a:moveTo>
                      <a:pt x="7810" y="65627"/>
                    </a:moveTo>
                    <a:cubicBezTo>
                      <a:pt x="4000" y="60960"/>
                      <a:pt x="1905" y="54483"/>
                      <a:pt x="1619" y="46387"/>
                    </a:cubicBezTo>
                    <a:lnTo>
                      <a:pt x="0" y="2286"/>
                    </a:lnTo>
                    <a:lnTo>
                      <a:pt x="18097" y="1619"/>
                    </a:lnTo>
                    <a:lnTo>
                      <a:pt x="19526" y="40577"/>
                    </a:lnTo>
                    <a:cubicBezTo>
                      <a:pt x="19717" y="45720"/>
                      <a:pt x="20765" y="49720"/>
                      <a:pt x="22574" y="52578"/>
                    </a:cubicBezTo>
                    <a:cubicBezTo>
                      <a:pt x="24479" y="55340"/>
                      <a:pt x="27527" y="56674"/>
                      <a:pt x="31813" y="56483"/>
                    </a:cubicBezTo>
                    <a:cubicBezTo>
                      <a:pt x="34671" y="56388"/>
                      <a:pt x="37243" y="55531"/>
                      <a:pt x="39529" y="53912"/>
                    </a:cubicBezTo>
                    <a:cubicBezTo>
                      <a:pt x="41815" y="52292"/>
                      <a:pt x="43529" y="50101"/>
                      <a:pt x="44767" y="47339"/>
                    </a:cubicBezTo>
                    <a:cubicBezTo>
                      <a:pt x="46006" y="44577"/>
                      <a:pt x="46577" y="41434"/>
                      <a:pt x="46387" y="37909"/>
                    </a:cubicBezTo>
                    <a:lnTo>
                      <a:pt x="45053" y="667"/>
                    </a:lnTo>
                    <a:lnTo>
                      <a:pt x="63151" y="0"/>
                    </a:lnTo>
                    <a:lnTo>
                      <a:pt x="65151" y="53912"/>
                    </a:lnTo>
                    <a:cubicBezTo>
                      <a:pt x="65246" y="56864"/>
                      <a:pt x="65437" y="59817"/>
                      <a:pt x="65627" y="62960"/>
                    </a:cubicBezTo>
                    <a:cubicBezTo>
                      <a:pt x="65818" y="66104"/>
                      <a:pt x="66008" y="68294"/>
                      <a:pt x="66199" y="69437"/>
                    </a:cubicBezTo>
                    <a:lnTo>
                      <a:pt x="48958" y="70104"/>
                    </a:lnTo>
                    <a:cubicBezTo>
                      <a:pt x="48768" y="69056"/>
                      <a:pt x="48577" y="67151"/>
                      <a:pt x="48292" y="64294"/>
                    </a:cubicBezTo>
                    <a:cubicBezTo>
                      <a:pt x="48006" y="61436"/>
                      <a:pt x="47815" y="59245"/>
                      <a:pt x="47720" y="57626"/>
                    </a:cubicBezTo>
                    <a:lnTo>
                      <a:pt x="47434" y="57626"/>
                    </a:lnTo>
                    <a:cubicBezTo>
                      <a:pt x="45244" y="62484"/>
                      <a:pt x="42386" y="66104"/>
                      <a:pt x="38671" y="68485"/>
                    </a:cubicBezTo>
                    <a:cubicBezTo>
                      <a:pt x="35052" y="70866"/>
                      <a:pt x="30670" y="72104"/>
                      <a:pt x="25527" y="72295"/>
                    </a:cubicBezTo>
                    <a:cubicBezTo>
                      <a:pt x="17621" y="72581"/>
                      <a:pt x="11716" y="70390"/>
                      <a:pt x="7906" y="65723"/>
                    </a:cubicBezTo>
                    <a:close/>
                  </a:path>
                </a:pathLst>
              </a:custGeom>
              <a:solidFill>
                <a:srgbClr val="000000"/>
              </a:solidFill>
              <a:ln w="9525" cap="flat">
                <a:noFill/>
                <a:prstDash val="solid"/>
                <a:miter/>
              </a:ln>
            </p:spPr>
            <p:txBody>
              <a:bodyPr rtlCol="0" anchor="ctr"/>
              <a:lstStyle/>
              <a:p>
                <a:pPr marL="0" marR="0" lvl="0" indent="0" algn="l" defTabSz="911991" rtl="0" eaLnBrk="1" fontAlgn="auto" latinLnBrk="0" hangingPunct="1">
                  <a:lnSpc>
                    <a:spcPct val="100000"/>
                  </a:lnSpc>
                  <a:spcBef>
                    <a:spcPts val="0"/>
                  </a:spcBef>
                  <a:spcAft>
                    <a:spcPts val="0"/>
                  </a:spcAft>
                  <a:buClrTx/>
                  <a:buSzTx/>
                  <a:buFontTx/>
                  <a:buNone/>
                  <a:tabLst/>
                  <a:defRPr/>
                </a:pPr>
                <a:endParaRPr kumimoji="0" lang="en-US" sz="16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289" name="Freeform: Shape 114">
                <a:extLst>
                  <a:ext uri="{FF2B5EF4-FFF2-40B4-BE49-F238E27FC236}">
                    <a16:creationId xmlns:a16="http://schemas.microsoft.com/office/drawing/2014/main" id="{64CBF5E3-2122-BD17-B2EB-E2C4CA7EF590}"/>
                  </a:ext>
                </a:extLst>
              </p:cNvPr>
              <p:cNvSpPr/>
              <p:nvPr/>
            </p:nvSpPr>
            <p:spPr>
              <a:xfrm>
                <a:off x="6026181" y="895445"/>
                <a:ext cx="58197" cy="72303"/>
              </a:xfrm>
              <a:custGeom>
                <a:avLst/>
                <a:gdLst>
                  <a:gd name="connsiteX0" fmla="*/ 13621 w 58197"/>
                  <a:gd name="connsiteY0" fmla="*/ 69914 h 72303"/>
                  <a:gd name="connsiteX1" fmla="*/ 0 w 58197"/>
                  <a:gd name="connsiteY1" fmla="*/ 62579 h 72303"/>
                  <a:gd name="connsiteX2" fmla="*/ 8001 w 58197"/>
                  <a:gd name="connsiteY2" fmla="*/ 50006 h 72303"/>
                  <a:gd name="connsiteX3" fmla="*/ 18860 w 58197"/>
                  <a:gd name="connsiteY3" fmla="*/ 56483 h 72303"/>
                  <a:gd name="connsiteX4" fmla="*/ 29527 w 58197"/>
                  <a:gd name="connsiteY4" fmla="*/ 58579 h 72303"/>
                  <a:gd name="connsiteX5" fmla="*/ 38386 w 58197"/>
                  <a:gd name="connsiteY5" fmla="*/ 56959 h 72303"/>
                  <a:gd name="connsiteX6" fmla="*/ 41529 w 58197"/>
                  <a:gd name="connsiteY6" fmla="*/ 51721 h 72303"/>
                  <a:gd name="connsiteX7" fmla="*/ 39815 w 58197"/>
                  <a:gd name="connsiteY7" fmla="*/ 47434 h 72303"/>
                  <a:gd name="connsiteX8" fmla="*/ 35528 w 58197"/>
                  <a:gd name="connsiteY8" fmla="*/ 45053 h 72303"/>
                  <a:gd name="connsiteX9" fmla="*/ 28099 w 58197"/>
                  <a:gd name="connsiteY9" fmla="*/ 43244 h 72303"/>
                  <a:gd name="connsiteX10" fmla="*/ 24670 w 58197"/>
                  <a:gd name="connsiteY10" fmla="*/ 42482 h 72303"/>
                  <a:gd name="connsiteX11" fmla="*/ 12954 w 58197"/>
                  <a:gd name="connsiteY11" fmla="*/ 38672 h 72303"/>
                  <a:gd name="connsiteX12" fmla="*/ 5239 w 58197"/>
                  <a:gd name="connsiteY12" fmla="*/ 32385 h 72303"/>
                  <a:gd name="connsiteX13" fmla="*/ 2096 w 58197"/>
                  <a:gd name="connsiteY13" fmla="*/ 21527 h 72303"/>
                  <a:gd name="connsiteX14" fmla="*/ 5048 w 58197"/>
                  <a:gd name="connsiteY14" fmla="*/ 10192 h 72303"/>
                  <a:gd name="connsiteX15" fmla="*/ 14192 w 58197"/>
                  <a:gd name="connsiteY15" fmla="*/ 2762 h 72303"/>
                  <a:gd name="connsiteX16" fmla="*/ 28861 w 58197"/>
                  <a:gd name="connsiteY16" fmla="*/ 0 h 72303"/>
                  <a:gd name="connsiteX17" fmla="*/ 43910 w 58197"/>
                  <a:gd name="connsiteY17" fmla="*/ 2286 h 72303"/>
                  <a:gd name="connsiteX18" fmla="*/ 55626 w 58197"/>
                  <a:gd name="connsiteY18" fmla="*/ 9620 h 72303"/>
                  <a:gd name="connsiteX19" fmla="*/ 46577 w 58197"/>
                  <a:gd name="connsiteY19" fmla="*/ 20479 h 72303"/>
                  <a:gd name="connsiteX20" fmla="*/ 29242 w 58197"/>
                  <a:gd name="connsiteY20" fmla="*/ 13525 h 72303"/>
                  <a:gd name="connsiteX21" fmla="*/ 18669 w 58197"/>
                  <a:gd name="connsiteY21" fmla="*/ 19907 h 72303"/>
                  <a:gd name="connsiteX22" fmla="*/ 20098 w 58197"/>
                  <a:gd name="connsiteY22" fmla="*/ 23622 h 72303"/>
                  <a:gd name="connsiteX23" fmla="*/ 23813 w 58197"/>
                  <a:gd name="connsiteY23" fmla="*/ 25718 h 72303"/>
                  <a:gd name="connsiteX24" fmla="*/ 30290 w 58197"/>
                  <a:gd name="connsiteY24" fmla="*/ 27337 h 72303"/>
                  <a:gd name="connsiteX25" fmla="*/ 33623 w 58197"/>
                  <a:gd name="connsiteY25" fmla="*/ 28099 h 72303"/>
                  <a:gd name="connsiteX26" fmla="*/ 46387 w 58197"/>
                  <a:gd name="connsiteY26" fmla="*/ 32004 h 72303"/>
                  <a:gd name="connsiteX27" fmla="*/ 54769 w 58197"/>
                  <a:gd name="connsiteY27" fmla="*/ 38576 h 72303"/>
                  <a:gd name="connsiteX28" fmla="*/ 58198 w 58197"/>
                  <a:gd name="connsiteY28" fmla="*/ 50292 h 72303"/>
                  <a:gd name="connsiteX29" fmla="*/ 55054 w 58197"/>
                  <a:gd name="connsiteY29" fmla="*/ 61817 h 72303"/>
                  <a:gd name="connsiteX30" fmla="*/ 45339 w 58197"/>
                  <a:gd name="connsiteY30" fmla="*/ 69437 h 72303"/>
                  <a:gd name="connsiteX31" fmla="*/ 29908 w 58197"/>
                  <a:gd name="connsiteY31" fmla="*/ 72295 h 72303"/>
                  <a:gd name="connsiteX32" fmla="*/ 13811 w 58197"/>
                  <a:gd name="connsiteY32" fmla="*/ 70199 h 723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58197" h="72303">
                    <a:moveTo>
                      <a:pt x="13621" y="69914"/>
                    </a:moveTo>
                    <a:cubicBezTo>
                      <a:pt x="8858" y="68390"/>
                      <a:pt x="4381" y="65913"/>
                      <a:pt x="0" y="62579"/>
                    </a:cubicBezTo>
                    <a:lnTo>
                      <a:pt x="8001" y="50006"/>
                    </a:lnTo>
                    <a:cubicBezTo>
                      <a:pt x="11906" y="52864"/>
                      <a:pt x="15526" y="55055"/>
                      <a:pt x="18860" y="56483"/>
                    </a:cubicBezTo>
                    <a:cubicBezTo>
                      <a:pt x="22193" y="57912"/>
                      <a:pt x="25718" y="58579"/>
                      <a:pt x="29527" y="58579"/>
                    </a:cubicBezTo>
                    <a:cubicBezTo>
                      <a:pt x="33338" y="58579"/>
                      <a:pt x="36290" y="58007"/>
                      <a:pt x="38386" y="56959"/>
                    </a:cubicBezTo>
                    <a:cubicBezTo>
                      <a:pt x="40481" y="55912"/>
                      <a:pt x="41529" y="54197"/>
                      <a:pt x="41529" y="51721"/>
                    </a:cubicBezTo>
                    <a:cubicBezTo>
                      <a:pt x="41529" y="49911"/>
                      <a:pt x="40958" y="48482"/>
                      <a:pt x="39815" y="47434"/>
                    </a:cubicBezTo>
                    <a:cubicBezTo>
                      <a:pt x="38672" y="46387"/>
                      <a:pt x="37243" y="45530"/>
                      <a:pt x="35528" y="45053"/>
                    </a:cubicBezTo>
                    <a:cubicBezTo>
                      <a:pt x="33814" y="44482"/>
                      <a:pt x="31337" y="43910"/>
                      <a:pt x="28099" y="43244"/>
                    </a:cubicBezTo>
                    <a:lnTo>
                      <a:pt x="24670" y="42482"/>
                    </a:lnTo>
                    <a:cubicBezTo>
                      <a:pt x="20002" y="41339"/>
                      <a:pt x="16097" y="40100"/>
                      <a:pt x="12954" y="38672"/>
                    </a:cubicBezTo>
                    <a:cubicBezTo>
                      <a:pt x="9811" y="37243"/>
                      <a:pt x="7239" y="35147"/>
                      <a:pt x="5239" y="32385"/>
                    </a:cubicBezTo>
                    <a:cubicBezTo>
                      <a:pt x="3239" y="29623"/>
                      <a:pt x="2191" y="26003"/>
                      <a:pt x="2096" y="21527"/>
                    </a:cubicBezTo>
                    <a:cubicBezTo>
                      <a:pt x="2096" y="17145"/>
                      <a:pt x="3048" y="13335"/>
                      <a:pt x="5048" y="10192"/>
                    </a:cubicBezTo>
                    <a:cubicBezTo>
                      <a:pt x="7049" y="7049"/>
                      <a:pt x="10192" y="4572"/>
                      <a:pt x="14192" y="2762"/>
                    </a:cubicBezTo>
                    <a:cubicBezTo>
                      <a:pt x="18193" y="1048"/>
                      <a:pt x="23146" y="95"/>
                      <a:pt x="28861" y="0"/>
                    </a:cubicBezTo>
                    <a:cubicBezTo>
                      <a:pt x="34385" y="0"/>
                      <a:pt x="39338" y="667"/>
                      <a:pt x="43910" y="2286"/>
                    </a:cubicBezTo>
                    <a:cubicBezTo>
                      <a:pt x="48482" y="3905"/>
                      <a:pt x="52388" y="6287"/>
                      <a:pt x="55626" y="9620"/>
                    </a:cubicBezTo>
                    <a:lnTo>
                      <a:pt x="46577" y="20479"/>
                    </a:lnTo>
                    <a:cubicBezTo>
                      <a:pt x="41529" y="15716"/>
                      <a:pt x="35814" y="13335"/>
                      <a:pt x="29242" y="13525"/>
                    </a:cubicBezTo>
                    <a:cubicBezTo>
                      <a:pt x="22098" y="13621"/>
                      <a:pt x="18574" y="15716"/>
                      <a:pt x="18669" y="19907"/>
                    </a:cubicBezTo>
                    <a:cubicBezTo>
                      <a:pt x="18669" y="21527"/>
                      <a:pt x="19145" y="22765"/>
                      <a:pt x="20098" y="23622"/>
                    </a:cubicBezTo>
                    <a:cubicBezTo>
                      <a:pt x="21050" y="24479"/>
                      <a:pt x="22289" y="25241"/>
                      <a:pt x="23813" y="25718"/>
                    </a:cubicBezTo>
                    <a:cubicBezTo>
                      <a:pt x="25337" y="26194"/>
                      <a:pt x="27527" y="26765"/>
                      <a:pt x="30290" y="27337"/>
                    </a:cubicBezTo>
                    <a:lnTo>
                      <a:pt x="33623" y="28099"/>
                    </a:lnTo>
                    <a:cubicBezTo>
                      <a:pt x="38767" y="29337"/>
                      <a:pt x="43053" y="30575"/>
                      <a:pt x="46387" y="32004"/>
                    </a:cubicBezTo>
                    <a:cubicBezTo>
                      <a:pt x="49721" y="33433"/>
                      <a:pt x="52483" y="35624"/>
                      <a:pt x="54769" y="38576"/>
                    </a:cubicBezTo>
                    <a:cubicBezTo>
                      <a:pt x="57055" y="41529"/>
                      <a:pt x="58102" y="45434"/>
                      <a:pt x="58198" y="50292"/>
                    </a:cubicBezTo>
                    <a:cubicBezTo>
                      <a:pt x="58198" y="54674"/>
                      <a:pt x="57245" y="58579"/>
                      <a:pt x="55054" y="61817"/>
                    </a:cubicBezTo>
                    <a:cubicBezTo>
                      <a:pt x="52864" y="65056"/>
                      <a:pt x="49625" y="67628"/>
                      <a:pt x="45339" y="69437"/>
                    </a:cubicBezTo>
                    <a:cubicBezTo>
                      <a:pt x="41053" y="71247"/>
                      <a:pt x="35909" y="72200"/>
                      <a:pt x="29908" y="72295"/>
                    </a:cubicBezTo>
                    <a:cubicBezTo>
                      <a:pt x="23908" y="72390"/>
                      <a:pt x="18574" y="71723"/>
                      <a:pt x="13811" y="70199"/>
                    </a:cubicBezTo>
                    <a:close/>
                  </a:path>
                </a:pathLst>
              </a:custGeom>
              <a:solidFill>
                <a:srgbClr val="000000"/>
              </a:solidFill>
              <a:ln w="9525" cap="flat">
                <a:noFill/>
                <a:prstDash val="solid"/>
                <a:miter/>
              </a:ln>
            </p:spPr>
            <p:txBody>
              <a:bodyPr rtlCol="0" anchor="ctr"/>
              <a:lstStyle/>
              <a:p>
                <a:pPr marL="0" marR="0" lvl="0" indent="0" algn="l" defTabSz="911991" rtl="0" eaLnBrk="1" fontAlgn="auto" latinLnBrk="0" hangingPunct="1">
                  <a:lnSpc>
                    <a:spcPct val="100000"/>
                  </a:lnSpc>
                  <a:spcBef>
                    <a:spcPts val="0"/>
                  </a:spcBef>
                  <a:spcAft>
                    <a:spcPts val="0"/>
                  </a:spcAft>
                  <a:buClrTx/>
                  <a:buSzTx/>
                  <a:buFontTx/>
                  <a:buNone/>
                  <a:tabLst/>
                  <a:defRPr/>
                </a:pPr>
                <a:endParaRPr kumimoji="0" lang="en-US" sz="16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290" name="Freeform: Shape 115">
                <a:extLst>
                  <a:ext uri="{FF2B5EF4-FFF2-40B4-BE49-F238E27FC236}">
                    <a16:creationId xmlns:a16="http://schemas.microsoft.com/office/drawing/2014/main" id="{DB00DA53-7DC5-7376-CE0F-27CF355F5C2C}"/>
                  </a:ext>
                </a:extLst>
              </p:cNvPr>
              <p:cNvSpPr/>
              <p:nvPr/>
            </p:nvSpPr>
            <p:spPr>
              <a:xfrm>
                <a:off x="6097333" y="866775"/>
                <a:ext cx="20581" cy="99250"/>
              </a:xfrm>
              <a:custGeom>
                <a:avLst/>
                <a:gdLst>
                  <a:gd name="connsiteX0" fmla="*/ 1143 w 20581"/>
                  <a:gd name="connsiteY0" fmla="*/ 29432 h 99250"/>
                  <a:gd name="connsiteX1" fmla="*/ 19241 w 20581"/>
                  <a:gd name="connsiteY1" fmla="*/ 29718 h 99250"/>
                  <a:gd name="connsiteX2" fmla="*/ 18098 w 20581"/>
                  <a:gd name="connsiteY2" fmla="*/ 99251 h 99250"/>
                  <a:gd name="connsiteX3" fmla="*/ 0 w 20581"/>
                  <a:gd name="connsiteY3" fmla="*/ 98965 h 99250"/>
                  <a:gd name="connsiteX4" fmla="*/ 1143 w 20581"/>
                  <a:gd name="connsiteY4" fmla="*/ 29432 h 99250"/>
                  <a:gd name="connsiteX5" fmla="*/ 3048 w 20581"/>
                  <a:gd name="connsiteY5" fmla="*/ 17431 h 99250"/>
                  <a:gd name="connsiteX6" fmla="*/ 476 w 20581"/>
                  <a:gd name="connsiteY6" fmla="*/ 10001 h 99250"/>
                  <a:gd name="connsiteX7" fmla="*/ 3334 w 20581"/>
                  <a:gd name="connsiteY7" fmla="*/ 2572 h 99250"/>
                  <a:gd name="connsiteX8" fmla="*/ 10763 w 20581"/>
                  <a:gd name="connsiteY8" fmla="*/ 0 h 99250"/>
                  <a:gd name="connsiteX9" fmla="*/ 18002 w 20581"/>
                  <a:gd name="connsiteY9" fmla="*/ 2858 h 99250"/>
                  <a:gd name="connsiteX10" fmla="*/ 20574 w 20581"/>
                  <a:gd name="connsiteY10" fmla="*/ 10287 h 99250"/>
                  <a:gd name="connsiteX11" fmla="*/ 17717 w 20581"/>
                  <a:gd name="connsiteY11" fmla="*/ 17621 h 99250"/>
                  <a:gd name="connsiteX12" fmla="*/ 10477 w 20581"/>
                  <a:gd name="connsiteY12" fmla="*/ 20288 h 99250"/>
                  <a:gd name="connsiteX13" fmla="*/ 3048 w 20581"/>
                  <a:gd name="connsiteY13" fmla="*/ 17431 h 9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0581" h="99250">
                    <a:moveTo>
                      <a:pt x="1143" y="29432"/>
                    </a:moveTo>
                    <a:lnTo>
                      <a:pt x="19241" y="29718"/>
                    </a:lnTo>
                    <a:lnTo>
                      <a:pt x="18098" y="99251"/>
                    </a:lnTo>
                    <a:lnTo>
                      <a:pt x="0" y="98965"/>
                    </a:lnTo>
                    <a:lnTo>
                      <a:pt x="1143" y="29432"/>
                    </a:lnTo>
                    <a:close/>
                    <a:moveTo>
                      <a:pt x="3048" y="17431"/>
                    </a:moveTo>
                    <a:cubicBezTo>
                      <a:pt x="1238" y="15621"/>
                      <a:pt x="381" y="13145"/>
                      <a:pt x="476" y="10001"/>
                    </a:cubicBezTo>
                    <a:cubicBezTo>
                      <a:pt x="476" y="6858"/>
                      <a:pt x="1429" y="4382"/>
                      <a:pt x="3334" y="2572"/>
                    </a:cubicBezTo>
                    <a:cubicBezTo>
                      <a:pt x="5239" y="762"/>
                      <a:pt x="7620" y="0"/>
                      <a:pt x="10763" y="0"/>
                    </a:cubicBezTo>
                    <a:cubicBezTo>
                      <a:pt x="13811" y="0"/>
                      <a:pt x="16192" y="953"/>
                      <a:pt x="18002" y="2858"/>
                    </a:cubicBezTo>
                    <a:cubicBezTo>
                      <a:pt x="19812" y="4667"/>
                      <a:pt x="20669" y="7239"/>
                      <a:pt x="20574" y="10287"/>
                    </a:cubicBezTo>
                    <a:cubicBezTo>
                      <a:pt x="20574" y="13335"/>
                      <a:pt x="19621" y="15812"/>
                      <a:pt x="17717" y="17621"/>
                    </a:cubicBezTo>
                    <a:cubicBezTo>
                      <a:pt x="15812" y="19431"/>
                      <a:pt x="13430" y="20288"/>
                      <a:pt x="10477" y="20288"/>
                    </a:cubicBezTo>
                    <a:cubicBezTo>
                      <a:pt x="7334" y="20288"/>
                      <a:pt x="4858" y="19241"/>
                      <a:pt x="3048" y="17431"/>
                    </a:cubicBezTo>
                    <a:close/>
                  </a:path>
                </a:pathLst>
              </a:custGeom>
              <a:solidFill>
                <a:srgbClr val="000000"/>
              </a:solidFill>
              <a:ln w="9525" cap="flat">
                <a:noFill/>
                <a:prstDash val="solid"/>
                <a:miter/>
              </a:ln>
            </p:spPr>
            <p:txBody>
              <a:bodyPr rtlCol="0" anchor="ctr"/>
              <a:lstStyle/>
              <a:p>
                <a:pPr marL="0" marR="0" lvl="0" indent="0" algn="l" defTabSz="911991" rtl="0" eaLnBrk="1" fontAlgn="auto" latinLnBrk="0" hangingPunct="1">
                  <a:lnSpc>
                    <a:spcPct val="100000"/>
                  </a:lnSpc>
                  <a:spcBef>
                    <a:spcPts val="0"/>
                  </a:spcBef>
                  <a:spcAft>
                    <a:spcPts val="0"/>
                  </a:spcAft>
                  <a:buClrTx/>
                  <a:buSzTx/>
                  <a:buFontTx/>
                  <a:buNone/>
                  <a:tabLst/>
                  <a:defRPr/>
                </a:pPr>
                <a:endParaRPr kumimoji="0" lang="en-US" sz="16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291" name="Freeform: Shape 116">
                <a:extLst>
                  <a:ext uri="{FF2B5EF4-FFF2-40B4-BE49-F238E27FC236}">
                    <a16:creationId xmlns:a16="http://schemas.microsoft.com/office/drawing/2014/main" id="{6F1CCC25-4267-0099-E831-5217E9BF80BA}"/>
                  </a:ext>
                </a:extLst>
              </p:cNvPr>
              <p:cNvSpPr/>
              <p:nvPr/>
            </p:nvSpPr>
            <p:spPr>
              <a:xfrm>
                <a:off x="6134004" y="895534"/>
                <a:ext cx="64011" cy="71443"/>
              </a:xfrm>
              <a:custGeom>
                <a:avLst/>
                <a:gdLst>
                  <a:gd name="connsiteX0" fmla="*/ 952 w 64011"/>
                  <a:gd name="connsiteY0" fmla="*/ 16294 h 71443"/>
                  <a:gd name="connsiteX1" fmla="*/ 952 w 64011"/>
                  <a:gd name="connsiteY1" fmla="*/ 7150 h 71443"/>
                  <a:gd name="connsiteX2" fmla="*/ 762 w 64011"/>
                  <a:gd name="connsiteY2" fmla="*/ 768 h 71443"/>
                  <a:gd name="connsiteX3" fmla="*/ 18002 w 64011"/>
                  <a:gd name="connsiteY3" fmla="*/ 1054 h 71443"/>
                  <a:gd name="connsiteX4" fmla="*/ 18479 w 64011"/>
                  <a:gd name="connsiteY4" fmla="*/ 6769 h 71443"/>
                  <a:gd name="connsiteX5" fmla="*/ 18669 w 64011"/>
                  <a:gd name="connsiteY5" fmla="*/ 13531 h 71443"/>
                  <a:gd name="connsiteX6" fmla="*/ 18955 w 64011"/>
                  <a:gd name="connsiteY6" fmla="*/ 13531 h 71443"/>
                  <a:gd name="connsiteX7" fmla="*/ 28385 w 64011"/>
                  <a:gd name="connsiteY7" fmla="*/ 3149 h 71443"/>
                  <a:gd name="connsiteX8" fmla="*/ 41624 w 64011"/>
                  <a:gd name="connsiteY8" fmla="*/ 6 h 71443"/>
                  <a:gd name="connsiteX9" fmla="*/ 58865 w 64011"/>
                  <a:gd name="connsiteY9" fmla="*/ 7626 h 71443"/>
                  <a:gd name="connsiteX10" fmla="*/ 64008 w 64011"/>
                  <a:gd name="connsiteY10" fmla="*/ 27343 h 71443"/>
                  <a:gd name="connsiteX11" fmla="*/ 63151 w 64011"/>
                  <a:gd name="connsiteY11" fmla="*/ 71443 h 71443"/>
                  <a:gd name="connsiteX12" fmla="*/ 45149 w 64011"/>
                  <a:gd name="connsiteY12" fmla="*/ 71062 h 71443"/>
                  <a:gd name="connsiteX13" fmla="*/ 45910 w 64011"/>
                  <a:gd name="connsiteY13" fmla="*/ 32105 h 71443"/>
                  <a:gd name="connsiteX14" fmla="*/ 43529 w 64011"/>
                  <a:gd name="connsiteY14" fmla="*/ 19913 h 71443"/>
                  <a:gd name="connsiteX15" fmla="*/ 34576 w 64011"/>
                  <a:gd name="connsiteY15" fmla="*/ 15436 h 71443"/>
                  <a:gd name="connsiteX16" fmla="*/ 26670 w 64011"/>
                  <a:gd name="connsiteY16" fmla="*/ 17532 h 71443"/>
                  <a:gd name="connsiteX17" fmla="*/ 21050 w 64011"/>
                  <a:gd name="connsiteY17" fmla="*/ 23818 h 71443"/>
                  <a:gd name="connsiteX18" fmla="*/ 18860 w 64011"/>
                  <a:gd name="connsiteY18" fmla="*/ 33248 h 71443"/>
                  <a:gd name="connsiteX19" fmla="*/ 18098 w 64011"/>
                  <a:gd name="connsiteY19" fmla="*/ 70586 h 71443"/>
                  <a:gd name="connsiteX20" fmla="*/ 0 w 64011"/>
                  <a:gd name="connsiteY20" fmla="*/ 70205 h 71443"/>
                  <a:gd name="connsiteX21" fmla="*/ 1048 w 64011"/>
                  <a:gd name="connsiteY21" fmla="*/ 16198 h 714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64011" h="71443">
                    <a:moveTo>
                      <a:pt x="952" y="16294"/>
                    </a:moveTo>
                    <a:cubicBezTo>
                      <a:pt x="952" y="13341"/>
                      <a:pt x="952" y="10293"/>
                      <a:pt x="952" y="7150"/>
                    </a:cubicBezTo>
                    <a:cubicBezTo>
                      <a:pt x="952" y="4006"/>
                      <a:pt x="857" y="1911"/>
                      <a:pt x="762" y="768"/>
                    </a:cubicBezTo>
                    <a:lnTo>
                      <a:pt x="18002" y="1054"/>
                    </a:lnTo>
                    <a:cubicBezTo>
                      <a:pt x="18193" y="2006"/>
                      <a:pt x="18288" y="3911"/>
                      <a:pt x="18479" y="6769"/>
                    </a:cubicBezTo>
                    <a:cubicBezTo>
                      <a:pt x="18574" y="9626"/>
                      <a:pt x="18669" y="11912"/>
                      <a:pt x="18669" y="13531"/>
                    </a:cubicBezTo>
                    <a:lnTo>
                      <a:pt x="18955" y="13531"/>
                    </a:lnTo>
                    <a:cubicBezTo>
                      <a:pt x="21527" y="8864"/>
                      <a:pt x="24670" y="5340"/>
                      <a:pt x="28385" y="3149"/>
                    </a:cubicBezTo>
                    <a:cubicBezTo>
                      <a:pt x="32099" y="958"/>
                      <a:pt x="36576" y="-89"/>
                      <a:pt x="41624" y="6"/>
                    </a:cubicBezTo>
                    <a:cubicBezTo>
                      <a:pt x="49530" y="196"/>
                      <a:pt x="55340" y="2673"/>
                      <a:pt x="58865" y="7626"/>
                    </a:cubicBezTo>
                    <a:cubicBezTo>
                      <a:pt x="62389" y="12579"/>
                      <a:pt x="64103" y="19151"/>
                      <a:pt x="64008" y="27343"/>
                    </a:cubicBezTo>
                    <a:lnTo>
                      <a:pt x="63151" y="71443"/>
                    </a:lnTo>
                    <a:lnTo>
                      <a:pt x="45149" y="71062"/>
                    </a:lnTo>
                    <a:lnTo>
                      <a:pt x="45910" y="32105"/>
                    </a:lnTo>
                    <a:cubicBezTo>
                      <a:pt x="46006" y="26866"/>
                      <a:pt x="45244" y="22771"/>
                      <a:pt x="43529" y="19913"/>
                    </a:cubicBezTo>
                    <a:cubicBezTo>
                      <a:pt x="41815" y="17056"/>
                      <a:pt x="38862" y="15532"/>
                      <a:pt x="34576" y="15436"/>
                    </a:cubicBezTo>
                    <a:cubicBezTo>
                      <a:pt x="31623" y="15436"/>
                      <a:pt x="29051" y="16103"/>
                      <a:pt x="26670" y="17532"/>
                    </a:cubicBezTo>
                    <a:cubicBezTo>
                      <a:pt x="24289" y="19056"/>
                      <a:pt x="22479" y="21151"/>
                      <a:pt x="21050" y="23818"/>
                    </a:cubicBezTo>
                    <a:cubicBezTo>
                      <a:pt x="19622" y="26581"/>
                      <a:pt x="18955" y="29724"/>
                      <a:pt x="18860" y="33248"/>
                    </a:cubicBezTo>
                    <a:lnTo>
                      <a:pt x="18098" y="70586"/>
                    </a:lnTo>
                    <a:lnTo>
                      <a:pt x="0" y="70205"/>
                    </a:lnTo>
                    <a:lnTo>
                      <a:pt x="1048" y="16198"/>
                    </a:lnTo>
                    <a:close/>
                  </a:path>
                </a:pathLst>
              </a:custGeom>
              <a:solidFill>
                <a:srgbClr val="000000"/>
              </a:solidFill>
              <a:ln w="9525" cap="flat">
                <a:noFill/>
                <a:prstDash val="solid"/>
                <a:miter/>
              </a:ln>
            </p:spPr>
            <p:txBody>
              <a:bodyPr rtlCol="0" anchor="ctr"/>
              <a:lstStyle/>
              <a:p>
                <a:pPr marL="0" marR="0" lvl="0" indent="0" algn="l" defTabSz="911991" rtl="0" eaLnBrk="1" fontAlgn="auto" latinLnBrk="0" hangingPunct="1">
                  <a:lnSpc>
                    <a:spcPct val="100000"/>
                  </a:lnSpc>
                  <a:spcBef>
                    <a:spcPts val="0"/>
                  </a:spcBef>
                  <a:spcAft>
                    <a:spcPts val="0"/>
                  </a:spcAft>
                  <a:buClrTx/>
                  <a:buSzTx/>
                  <a:buFontTx/>
                  <a:buNone/>
                  <a:tabLst/>
                  <a:defRPr/>
                </a:pPr>
                <a:endParaRPr kumimoji="0" lang="en-US" sz="16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292" name="Freeform: Shape 117">
                <a:extLst>
                  <a:ext uri="{FF2B5EF4-FFF2-40B4-BE49-F238E27FC236}">
                    <a16:creationId xmlns:a16="http://schemas.microsoft.com/office/drawing/2014/main" id="{F3FFA03E-C3DD-194F-21DD-2A2E71DA01B8}"/>
                  </a:ext>
                </a:extLst>
              </p:cNvPr>
              <p:cNvSpPr/>
              <p:nvPr/>
            </p:nvSpPr>
            <p:spPr>
              <a:xfrm>
                <a:off x="6211174" y="897971"/>
                <a:ext cx="63758" cy="72405"/>
              </a:xfrm>
              <a:custGeom>
                <a:avLst/>
                <a:gdLst>
                  <a:gd name="connsiteX0" fmla="*/ 7793 w 63758"/>
                  <a:gd name="connsiteY0" fmla="*/ 62149 h 72405"/>
                  <a:gd name="connsiteX1" fmla="*/ 78 w 63758"/>
                  <a:gd name="connsiteY1" fmla="*/ 34622 h 72405"/>
                  <a:gd name="connsiteX2" fmla="*/ 5317 w 63758"/>
                  <a:gd name="connsiteY2" fmla="*/ 14619 h 72405"/>
                  <a:gd name="connsiteX3" fmla="*/ 17604 w 63758"/>
                  <a:gd name="connsiteY3" fmla="*/ 3189 h 72405"/>
                  <a:gd name="connsiteX4" fmla="*/ 34368 w 63758"/>
                  <a:gd name="connsiteY4" fmla="*/ 46 h 72405"/>
                  <a:gd name="connsiteX5" fmla="*/ 51703 w 63758"/>
                  <a:gd name="connsiteY5" fmla="*/ 5380 h 72405"/>
                  <a:gd name="connsiteX6" fmla="*/ 61228 w 63758"/>
                  <a:gd name="connsiteY6" fmla="*/ 17953 h 72405"/>
                  <a:gd name="connsiteX7" fmla="*/ 63705 w 63758"/>
                  <a:gd name="connsiteY7" fmla="*/ 35003 h 72405"/>
                  <a:gd name="connsiteX8" fmla="*/ 63038 w 63758"/>
                  <a:gd name="connsiteY8" fmla="*/ 42242 h 72405"/>
                  <a:gd name="connsiteX9" fmla="*/ 18842 w 63758"/>
                  <a:gd name="connsiteY9" fmla="*/ 40337 h 72405"/>
                  <a:gd name="connsiteX10" fmla="*/ 22081 w 63758"/>
                  <a:gd name="connsiteY10" fmla="*/ 53386 h 72405"/>
                  <a:gd name="connsiteX11" fmla="*/ 33892 w 63758"/>
                  <a:gd name="connsiteY11" fmla="*/ 58625 h 72405"/>
                  <a:gd name="connsiteX12" fmla="*/ 40559 w 63758"/>
                  <a:gd name="connsiteY12" fmla="*/ 58148 h 72405"/>
                  <a:gd name="connsiteX13" fmla="*/ 46465 w 63758"/>
                  <a:gd name="connsiteY13" fmla="*/ 56053 h 72405"/>
                  <a:gd name="connsiteX14" fmla="*/ 53608 w 63758"/>
                  <a:gd name="connsiteY14" fmla="*/ 51957 h 72405"/>
                  <a:gd name="connsiteX15" fmla="*/ 60466 w 63758"/>
                  <a:gd name="connsiteY15" fmla="*/ 63959 h 72405"/>
                  <a:gd name="connsiteX16" fmla="*/ 47798 w 63758"/>
                  <a:gd name="connsiteY16" fmla="*/ 70531 h 72405"/>
                  <a:gd name="connsiteX17" fmla="*/ 32368 w 63758"/>
                  <a:gd name="connsiteY17" fmla="*/ 72341 h 72405"/>
                  <a:gd name="connsiteX18" fmla="*/ 7888 w 63758"/>
                  <a:gd name="connsiteY18" fmla="*/ 62244 h 72405"/>
                  <a:gd name="connsiteX19" fmla="*/ 46465 w 63758"/>
                  <a:gd name="connsiteY19" fmla="*/ 29192 h 72405"/>
                  <a:gd name="connsiteX20" fmla="*/ 43321 w 63758"/>
                  <a:gd name="connsiteY20" fmla="*/ 17477 h 72405"/>
                  <a:gd name="connsiteX21" fmla="*/ 33701 w 63758"/>
                  <a:gd name="connsiteY21" fmla="*/ 13286 h 72405"/>
                  <a:gd name="connsiteX22" fmla="*/ 23890 w 63758"/>
                  <a:gd name="connsiteY22" fmla="*/ 16619 h 72405"/>
                  <a:gd name="connsiteX23" fmla="*/ 19509 w 63758"/>
                  <a:gd name="connsiteY23" fmla="*/ 27954 h 72405"/>
                  <a:gd name="connsiteX24" fmla="*/ 46465 w 63758"/>
                  <a:gd name="connsiteY24" fmla="*/ 29097 h 72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63758" h="72405">
                    <a:moveTo>
                      <a:pt x="7793" y="62149"/>
                    </a:moveTo>
                    <a:cubicBezTo>
                      <a:pt x="2078" y="55862"/>
                      <a:pt x="-494" y="46718"/>
                      <a:pt x="78" y="34622"/>
                    </a:cubicBezTo>
                    <a:cubicBezTo>
                      <a:pt x="459" y="26525"/>
                      <a:pt x="2173" y="19953"/>
                      <a:pt x="5317" y="14619"/>
                    </a:cubicBezTo>
                    <a:cubicBezTo>
                      <a:pt x="8460" y="9380"/>
                      <a:pt x="12556" y="5570"/>
                      <a:pt x="17604" y="3189"/>
                    </a:cubicBezTo>
                    <a:cubicBezTo>
                      <a:pt x="22652" y="808"/>
                      <a:pt x="28272" y="-240"/>
                      <a:pt x="34368" y="46"/>
                    </a:cubicBezTo>
                    <a:cubicBezTo>
                      <a:pt x="41416" y="332"/>
                      <a:pt x="47227" y="2141"/>
                      <a:pt x="51703" y="5380"/>
                    </a:cubicBezTo>
                    <a:cubicBezTo>
                      <a:pt x="56180" y="8618"/>
                      <a:pt x="59419" y="12809"/>
                      <a:pt x="61228" y="17953"/>
                    </a:cubicBezTo>
                    <a:cubicBezTo>
                      <a:pt x="63133" y="23096"/>
                      <a:pt x="63991" y="28716"/>
                      <a:pt x="63705" y="35003"/>
                    </a:cubicBezTo>
                    <a:cubicBezTo>
                      <a:pt x="63610" y="37479"/>
                      <a:pt x="63324" y="39860"/>
                      <a:pt x="63038" y="42242"/>
                    </a:cubicBezTo>
                    <a:lnTo>
                      <a:pt x="18842" y="40337"/>
                    </a:lnTo>
                    <a:cubicBezTo>
                      <a:pt x="18652" y="45766"/>
                      <a:pt x="19699" y="50052"/>
                      <a:pt x="22081" y="53386"/>
                    </a:cubicBezTo>
                    <a:cubicBezTo>
                      <a:pt x="24462" y="56624"/>
                      <a:pt x="28462" y="58434"/>
                      <a:pt x="33892" y="58625"/>
                    </a:cubicBezTo>
                    <a:cubicBezTo>
                      <a:pt x="36368" y="58720"/>
                      <a:pt x="38559" y="58625"/>
                      <a:pt x="40559" y="58148"/>
                    </a:cubicBezTo>
                    <a:cubicBezTo>
                      <a:pt x="42559" y="57672"/>
                      <a:pt x="44560" y="57005"/>
                      <a:pt x="46465" y="56053"/>
                    </a:cubicBezTo>
                    <a:cubicBezTo>
                      <a:pt x="48370" y="55100"/>
                      <a:pt x="50751" y="53767"/>
                      <a:pt x="53608" y="51957"/>
                    </a:cubicBezTo>
                    <a:lnTo>
                      <a:pt x="60466" y="63959"/>
                    </a:lnTo>
                    <a:cubicBezTo>
                      <a:pt x="56275" y="66911"/>
                      <a:pt x="52084" y="69102"/>
                      <a:pt x="47798" y="70531"/>
                    </a:cubicBezTo>
                    <a:cubicBezTo>
                      <a:pt x="43607" y="71960"/>
                      <a:pt x="38464" y="72626"/>
                      <a:pt x="32368" y="72341"/>
                    </a:cubicBezTo>
                    <a:cubicBezTo>
                      <a:pt x="21700" y="71864"/>
                      <a:pt x="13508" y="68531"/>
                      <a:pt x="7888" y="62244"/>
                    </a:cubicBezTo>
                    <a:close/>
                    <a:moveTo>
                      <a:pt x="46465" y="29192"/>
                    </a:moveTo>
                    <a:cubicBezTo>
                      <a:pt x="46465" y="23954"/>
                      <a:pt x="45417" y="20048"/>
                      <a:pt x="43321" y="17477"/>
                    </a:cubicBezTo>
                    <a:cubicBezTo>
                      <a:pt x="41131" y="14905"/>
                      <a:pt x="37987" y="13476"/>
                      <a:pt x="33701" y="13286"/>
                    </a:cubicBezTo>
                    <a:cubicBezTo>
                      <a:pt x="29701" y="13095"/>
                      <a:pt x="26367" y="14238"/>
                      <a:pt x="23890" y="16619"/>
                    </a:cubicBezTo>
                    <a:cubicBezTo>
                      <a:pt x="21319" y="19001"/>
                      <a:pt x="19890" y="22811"/>
                      <a:pt x="19509" y="27954"/>
                    </a:cubicBezTo>
                    <a:lnTo>
                      <a:pt x="46465" y="29097"/>
                    </a:lnTo>
                    <a:close/>
                  </a:path>
                </a:pathLst>
              </a:custGeom>
              <a:solidFill>
                <a:srgbClr val="000000"/>
              </a:solidFill>
              <a:ln w="9525" cap="flat">
                <a:noFill/>
                <a:prstDash val="solid"/>
                <a:miter/>
              </a:ln>
            </p:spPr>
            <p:txBody>
              <a:bodyPr rtlCol="0" anchor="ctr"/>
              <a:lstStyle/>
              <a:p>
                <a:pPr marL="0" marR="0" lvl="0" indent="0" algn="l" defTabSz="911991" rtl="0" eaLnBrk="1" fontAlgn="auto" latinLnBrk="0" hangingPunct="1">
                  <a:lnSpc>
                    <a:spcPct val="100000"/>
                  </a:lnSpc>
                  <a:spcBef>
                    <a:spcPts val="0"/>
                  </a:spcBef>
                  <a:spcAft>
                    <a:spcPts val="0"/>
                  </a:spcAft>
                  <a:buClrTx/>
                  <a:buSzTx/>
                  <a:buFontTx/>
                  <a:buNone/>
                  <a:tabLst/>
                  <a:defRPr/>
                </a:pPr>
                <a:endParaRPr kumimoji="0" lang="en-US" sz="16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293" name="Freeform: Shape 118">
                <a:extLst>
                  <a:ext uri="{FF2B5EF4-FFF2-40B4-BE49-F238E27FC236}">
                    <a16:creationId xmlns:a16="http://schemas.microsoft.com/office/drawing/2014/main" id="{8B04D79F-3EA6-50B7-39F6-E7D711A1F49C}"/>
                  </a:ext>
                </a:extLst>
              </p:cNvPr>
              <p:cNvSpPr/>
              <p:nvPr/>
            </p:nvSpPr>
            <p:spPr>
              <a:xfrm>
                <a:off x="6280975" y="901521"/>
                <a:ext cx="59721" cy="72334"/>
              </a:xfrm>
              <a:custGeom>
                <a:avLst/>
                <a:gdLst>
                  <a:gd name="connsiteX0" fmla="*/ 12954 w 59721"/>
                  <a:gd name="connsiteY0" fmla="*/ 68886 h 72334"/>
                  <a:gd name="connsiteX1" fmla="*/ 0 w 59721"/>
                  <a:gd name="connsiteY1" fmla="*/ 60408 h 72334"/>
                  <a:gd name="connsiteX2" fmla="*/ 8954 w 59721"/>
                  <a:gd name="connsiteY2" fmla="*/ 48502 h 72334"/>
                  <a:gd name="connsiteX3" fmla="*/ 19241 w 59721"/>
                  <a:gd name="connsiteY3" fmla="*/ 55836 h 72334"/>
                  <a:gd name="connsiteX4" fmla="*/ 29718 w 59721"/>
                  <a:gd name="connsiteY4" fmla="*/ 58694 h 72334"/>
                  <a:gd name="connsiteX5" fmla="*/ 38672 w 59721"/>
                  <a:gd name="connsiteY5" fmla="*/ 57837 h 72334"/>
                  <a:gd name="connsiteX6" fmla="*/ 42196 w 59721"/>
                  <a:gd name="connsiteY6" fmla="*/ 52884 h 72334"/>
                  <a:gd name="connsiteX7" fmla="*/ 40767 w 59721"/>
                  <a:gd name="connsiteY7" fmla="*/ 48502 h 72334"/>
                  <a:gd name="connsiteX8" fmla="*/ 36671 w 59721"/>
                  <a:gd name="connsiteY8" fmla="*/ 45740 h 72334"/>
                  <a:gd name="connsiteX9" fmla="*/ 29432 w 59721"/>
                  <a:gd name="connsiteY9" fmla="*/ 43263 h 72334"/>
                  <a:gd name="connsiteX10" fmla="*/ 26099 w 59721"/>
                  <a:gd name="connsiteY10" fmla="*/ 42216 h 72334"/>
                  <a:gd name="connsiteX11" fmla="*/ 14669 w 59721"/>
                  <a:gd name="connsiteY11" fmla="*/ 37453 h 72334"/>
                  <a:gd name="connsiteX12" fmla="*/ 7525 w 59721"/>
                  <a:gd name="connsiteY12" fmla="*/ 30595 h 72334"/>
                  <a:gd name="connsiteX13" fmla="*/ 5239 w 59721"/>
                  <a:gd name="connsiteY13" fmla="*/ 19451 h 72334"/>
                  <a:gd name="connsiteX14" fmla="*/ 9144 w 59721"/>
                  <a:gd name="connsiteY14" fmla="*/ 8402 h 72334"/>
                  <a:gd name="connsiteX15" fmla="*/ 18860 w 59721"/>
                  <a:gd name="connsiteY15" fmla="*/ 1734 h 72334"/>
                  <a:gd name="connsiteX16" fmla="*/ 33719 w 59721"/>
                  <a:gd name="connsiteY16" fmla="*/ 115 h 72334"/>
                  <a:gd name="connsiteX17" fmla="*/ 48577 w 59721"/>
                  <a:gd name="connsiteY17" fmla="*/ 3544 h 72334"/>
                  <a:gd name="connsiteX18" fmla="*/ 59722 w 59721"/>
                  <a:gd name="connsiteY18" fmla="*/ 11831 h 72334"/>
                  <a:gd name="connsiteX19" fmla="*/ 49816 w 59721"/>
                  <a:gd name="connsiteY19" fmla="*/ 21927 h 72334"/>
                  <a:gd name="connsiteX20" fmla="*/ 33052 w 59721"/>
                  <a:gd name="connsiteY20" fmla="*/ 13545 h 72334"/>
                  <a:gd name="connsiteX21" fmla="*/ 22003 w 59721"/>
                  <a:gd name="connsiteY21" fmla="*/ 19070 h 72334"/>
                  <a:gd name="connsiteX22" fmla="*/ 23146 w 59721"/>
                  <a:gd name="connsiteY22" fmla="*/ 22880 h 72334"/>
                  <a:gd name="connsiteX23" fmla="*/ 26670 w 59721"/>
                  <a:gd name="connsiteY23" fmla="*/ 25261 h 72334"/>
                  <a:gd name="connsiteX24" fmla="*/ 33052 w 59721"/>
                  <a:gd name="connsiteY24" fmla="*/ 27452 h 72334"/>
                  <a:gd name="connsiteX25" fmla="*/ 36290 w 59721"/>
                  <a:gd name="connsiteY25" fmla="*/ 28404 h 72334"/>
                  <a:gd name="connsiteX26" fmla="*/ 48673 w 59721"/>
                  <a:gd name="connsiteY26" fmla="*/ 33357 h 72334"/>
                  <a:gd name="connsiteX27" fmla="*/ 56483 w 59721"/>
                  <a:gd name="connsiteY27" fmla="*/ 40501 h 72334"/>
                  <a:gd name="connsiteX28" fmla="*/ 58960 w 59721"/>
                  <a:gd name="connsiteY28" fmla="*/ 52503 h 72334"/>
                  <a:gd name="connsiteX29" fmla="*/ 54864 w 59721"/>
                  <a:gd name="connsiteY29" fmla="*/ 63742 h 72334"/>
                  <a:gd name="connsiteX30" fmla="*/ 44577 w 59721"/>
                  <a:gd name="connsiteY30" fmla="*/ 70600 h 72334"/>
                  <a:gd name="connsiteX31" fmla="*/ 28956 w 59721"/>
                  <a:gd name="connsiteY31" fmla="*/ 72219 h 72334"/>
                  <a:gd name="connsiteX32" fmla="*/ 13049 w 59721"/>
                  <a:gd name="connsiteY32" fmla="*/ 68790 h 723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59721" h="72334">
                    <a:moveTo>
                      <a:pt x="12954" y="68886"/>
                    </a:moveTo>
                    <a:cubicBezTo>
                      <a:pt x="8382" y="66981"/>
                      <a:pt x="4000" y="64218"/>
                      <a:pt x="0" y="60408"/>
                    </a:cubicBezTo>
                    <a:lnTo>
                      <a:pt x="8954" y="48502"/>
                    </a:lnTo>
                    <a:cubicBezTo>
                      <a:pt x="12573" y="51741"/>
                      <a:pt x="16097" y="54122"/>
                      <a:pt x="19241" y="55836"/>
                    </a:cubicBezTo>
                    <a:cubicBezTo>
                      <a:pt x="22479" y="57551"/>
                      <a:pt x="25908" y="58503"/>
                      <a:pt x="29718" y="58694"/>
                    </a:cubicBezTo>
                    <a:cubicBezTo>
                      <a:pt x="33528" y="58980"/>
                      <a:pt x="36481" y="58694"/>
                      <a:pt x="38672" y="57837"/>
                    </a:cubicBezTo>
                    <a:cubicBezTo>
                      <a:pt x="40862" y="56979"/>
                      <a:pt x="42005" y="55360"/>
                      <a:pt x="42196" y="52884"/>
                    </a:cubicBezTo>
                    <a:cubicBezTo>
                      <a:pt x="42291" y="51074"/>
                      <a:pt x="41815" y="49645"/>
                      <a:pt x="40767" y="48502"/>
                    </a:cubicBezTo>
                    <a:cubicBezTo>
                      <a:pt x="39719" y="47359"/>
                      <a:pt x="38386" y="46407"/>
                      <a:pt x="36671" y="45740"/>
                    </a:cubicBezTo>
                    <a:cubicBezTo>
                      <a:pt x="34957" y="45073"/>
                      <a:pt x="32575" y="44216"/>
                      <a:pt x="29432" y="43263"/>
                    </a:cubicBezTo>
                    <a:lnTo>
                      <a:pt x="26099" y="42216"/>
                    </a:lnTo>
                    <a:cubicBezTo>
                      <a:pt x="21527" y="40692"/>
                      <a:pt x="17717" y="39168"/>
                      <a:pt x="14669" y="37453"/>
                    </a:cubicBezTo>
                    <a:cubicBezTo>
                      <a:pt x="11621" y="35739"/>
                      <a:pt x="9239" y="33453"/>
                      <a:pt x="7525" y="30595"/>
                    </a:cubicBezTo>
                    <a:cubicBezTo>
                      <a:pt x="5715" y="27642"/>
                      <a:pt x="4953" y="24023"/>
                      <a:pt x="5239" y="19451"/>
                    </a:cubicBezTo>
                    <a:cubicBezTo>
                      <a:pt x="5525" y="15069"/>
                      <a:pt x="6858" y="11355"/>
                      <a:pt x="9144" y="8402"/>
                    </a:cubicBezTo>
                    <a:cubicBezTo>
                      <a:pt x="11430" y="5449"/>
                      <a:pt x="14669" y="3163"/>
                      <a:pt x="18860" y="1734"/>
                    </a:cubicBezTo>
                    <a:cubicBezTo>
                      <a:pt x="23050" y="306"/>
                      <a:pt x="28004" y="-266"/>
                      <a:pt x="33719" y="115"/>
                    </a:cubicBezTo>
                    <a:cubicBezTo>
                      <a:pt x="39243" y="496"/>
                      <a:pt x="44101" y="1639"/>
                      <a:pt x="48577" y="3544"/>
                    </a:cubicBezTo>
                    <a:cubicBezTo>
                      <a:pt x="52959" y="5544"/>
                      <a:pt x="56674" y="8211"/>
                      <a:pt x="59722" y="11831"/>
                    </a:cubicBezTo>
                    <a:lnTo>
                      <a:pt x="49816" y="21927"/>
                    </a:lnTo>
                    <a:cubicBezTo>
                      <a:pt x="45244" y="16784"/>
                      <a:pt x="39624" y="14022"/>
                      <a:pt x="33052" y="13545"/>
                    </a:cubicBezTo>
                    <a:cubicBezTo>
                      <a:pt x="25908" y="13069"/>
                      <a:pt x="22289" y="14879"/>
                      <a:pt x="22003" y="19070"/>
                    </a:cubicBezTo>
                    <a:cubicBezTo>
                      <a:pt x="21908" y="20689"/>
                      <a:pt x="22289" y="21927"/>
                      <a:pt x="23146" y="22880"/>
                    </a:cubicBezTo>
                    <a:cubicBezTo>
                      <a:pt x="24003" y="23832"/>
                      <a:pt x="25146" y="24690"/>
                      <a:pt x="26670" y="25261"/>
                    </a:cubicBezTo>
                    <a:cubicBezTo>
                      <a:pt x="28099" y="25833"/>
                      <a:pt x="30290" y="26595"/>
                      <a:pt x="33052" y="27452"/>
                    </a:cubicBezTo>
                    <a:lnTo>
                      <a:pt x="36290" y="28404"/>
                    </a:lnTo>
                    <a:cubicBezTo>
                      <a:pt x="41339" y="30024"/>
                      <a:pt x="45434" y="31643"/>
                      <a:pt x="48673" y="33357"/>
                    </a:cubicBezTo>
                    <a:cubicBezTo>
                      <a:pt x="51911" y="35072"/>
                      <a:pt x="54483" y="37453"/>
                      <a:pt x="56483" y="40501"/>
                    </a:cubicBezTo>
                    <a:cubicBezTo>
                      <a:pt x="58483" y="43549"/>
                      <a:pt x="59246" y="47550"/>
                      <a:pt x="58960" y="52503"/>
                    </a:cubicBezTo>
                    <a:cubicBezTo>
                      <a:pt x="58674" y="56884"/>
                      <a:pt x="57341" y="60694"/>
                      <a:pt x="54864" y="63742"/>
                    </a:cubicBezTo>
                    <a:cubicBezTo>
                      <a:pt x="52388" y="66790"/>
                      <a:pt x="48958" y="69076"/>
                      <a:pt x="44577" y="70600"/>
                    </a:cubicBezTo>
                    <a:cubicBezTo>
                      <a:pt x="40196" y="72029"/>
                      <a:pt x="34957" y="72600"/>
                      <a:pt x="28956" y="72219"/>
                    </a:cubicBezTo>
                    <a:cubicBezTo>
                      <a:pt x="22955" y="71838"/>
                      <a:pt x="17717" y="70695"/>
                      <a:pt x="13049" y="68790"/>
                    </a:cubicBezTo>
                    <a:close/>
                  </a:path>
                </a:pathLst>
              </a:custGeom>
              <a:solidFill>
                <a:srgbClr val="000000"/>
              </a:solidFill>
              <a:ln w="9525" cap="flat">
                <a:noFill/>
                <a:prstDash val="solid"/>
                <a:miter/>
              </a:ln>
            </p:spPr>
            <p:txBody>
              <a:bodyPr rtlCol="0" anchor="ctr"/>
              <a:lstStyle/>
              <a:p>
                <a:pPr marL="0" marR="0" lvl="0" indent="0" algn="l" defTabSz="911991" rtl="0" eaLnBrk="1" fontAlgn="auto" latinLnBrk="0" hangingPunct="1">
                  <a:lnSpc>
                    <a:spcPct val="100000"/>
                  </a:lnSpc>
                  <a:spcBef>
                    <a:spcPts val="0"/>
                  </a:spcBef>
                  <a:spcAft>
                    <a:spcPts val="0"/>
                  </a:spcAft>
                  <a:buClrTx/>
                  <a:buSzTx/>
                  <a:buFontTx/>
                  <a:buNone/>
                  <a:tabLst/>
                  <a:defRPr/>
                </a:pPr>
                <a:endParaRPr kumimoji="0" lang="en-US" sz="16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294" name="Freeform: Shape 119">
                <a:extLst>
                  <a:ext uri="{FF2B5EF4-FFF2-40B4-BE49-F238E27FC236}">
                    <a16:creationId xmlns:a16="http://schemas.microsoft.com/office/drawing/2014/main" id="{119165D6-BAA5-1920-4621-F87E82151645}"/>
                  </a:ext>
                </a:extLst>
              </p:cNvPr>
              <p:cNvSpPr/>
              <p:nvPr/>
            </p:nvSpPr>
            <p:spPr>
              <a:xfrm>
                <a:off x="6346031" y="906504"/>
                <a:ext cx="60579" cy="72464"/>
              </a:xfrm>
              <a:custGeom>
                <a:avLst/>
                <a:gdLst>
                  <a:gd name="connsiteX0" fmla="*/ 12763 w 60579"/>
                  <a:gd name="connsiteY0" fmla="*/ 68379 h 72464"/>
                  <a:gd name="connsiteX1" fmla="*/ 0 w 60579"/>
                  <a:gd name="connsiteY1" fmla="*/ 59711 h 72464"/>
                  <a:gd name="connsiteX2" fmla="*/ 9144 w 60579"/>
                  <a:gd name="connsiteY2" fmla="*/ 47996 h 72464"/>
                  <a:gd name="connsiteX3" fmla="*/ 19336 w 60579"/>
                  <a:gd name="connsiteY3" fmla="*/ 55520 h 72464"/>
                  <a:gd name="connsiteX4" fmla="*/ 29718 w 60579"/>
                  <a:gd name="connsiteY4" fmla="*/ 58664 h 72464"/>
                  <a:gd name="connsiteX5" fmla="*/ 38767 w 60579"/>
                  <a:gd name="connsiteY5" fmla="*/ 57997 h 72464"/>
                  <a:gd name="connsiteX6" fmla="*/ 42386 w 60579"/>
                  <a:gd name="connsiteY6" fmla="*/ 53139 h 72464"/>
                  <a:gd name="connsiteX7" fmla="*/ 41053 w 60579"/>
                  <a:gd name="connsiteY7" fmla="*/ 48662 h 72464"/>
                  <a:gd name="connsiteX8" fmla="*/ 36957 w 60579"/>
                  <a:gd name="connsiteY8" fmla="*/ 45805 h 72464"/>
                  <a:gd name="connsiteX9" fmla="*/ 29813 w 60579"/>
                  <a:gd name="connsiteY9" fmla="*/ 43233 h 72464"/>
                  <a:gd name="connsiteX10" fmla="*/ 26479 w 60579"/>
                  <a:gd name="connsiteY10" fmla="*/ 42090 h 72464"/>
                  <a:gd name="connsiteX11" fmla="*/ 15145 w 60579"/>
                  <a:gd name="connsiteY11" fmla="*/ 37137 h 72464"/>
                  <a:gd name="connsiteX12" fmla="*/ 8096 w 60579"/>
                  <a:gd name="connsiteY12" fmla="*/ 30089 h 72464"/>
                  <a:gd name="connsiteX13" fmla="*/ 6096 w 60579"/>
                  <a:gd name="connsiteY13" fmla="*/ 18944 h 72464"/>
                  <a:gd name="connsiteX14" fmla="*/ 10192 w 60579"/>
                  <a:gd name="connsiteY14" fmla="*/ 7991 h 72464"/>
                  <a:gd name="connsiteX15" fmla="*/ 20003 w 60579"/>
                  <a:gd name="connsiteY15" fmla="*/ 1514 h 72464"/>
                  <a:gd name="connsiteX16" fmla="*/ 34862 w 60579"/>
                  <a:gd name="connsiteY16" fmla="*/ 180 h 72464"/>
                  <a:gd name="connsiteX17" fmla="*/ 49625 w 60579"/>
                  <a:gd name="connsiteY17" fmla="*/ 3990 h 72464"/>
                  <a:gd name="connsiteX18" fmla="*/ 60579 w 60579"/>
                  <a:gd name="connsiteY18" fmla="*/ 12467 h 72464"/>
                  <a:gd name="connsiteX19" fmla="*/ 50483 w 60579"/>
                  <a:gd name="connsiteY19" fmla="*/ 22373 h 72464"/>
                  <a:gd name="connsiteX20" fmla="*/ 33909 w 60579"/>
                  <a:gd name="connsiteY20" fmla="*/ 13706 h 72464"/>
                  <a:gd name="connsiteX21" fmla="*/ 22765 w 60579"/>
                  <a:gd name="connsiteY21" fmla="*/ 18944 h 72464"/>
                  <a:gd name="connsiteX22" fmla="*/ 23813 w 60579"/>
                  <a:gd name="connsiteY22" fmla="*/ 22850 h 72464"/>
                  <a:gd name="connsiteX23" fmla="*/ 27242 w 60579"/>
                  <a:gd name="connsiteY23" fmla="*/ 25326 h 72464"/>
                  <a:gd name="connsiteX24" fmla="*/ 33528 w 60579"/>
                  <a:gd name="connsiteY24" fmla="*/ 27612 h 72464"/>
                  <a:gd name="connsiteX25" fmla="*/ 36767 w 60579"/>
                  <a:gd name="connsiteY25" fmla="*/ 28660 h 72464"/>
                  <a:gd name="connsiteX26" fmla="*/ 49054 w 60579"/>
                  <a:gd name="connsiteY26" fmla="*/ 33899 h 72464"/>
                  <a:gd name="connsiteX27" fmla="*/ 56674 w 60579"/>
                  <a:gd name="connsiteY27" fmla="*/ 41233 h 72464"/>
                  <a:gd name="connsiteX28" fmla="*/ 58960 w 60579"/>
                  <a:gd name="connsiteY28" fmla="*/ 53234 h 72464"/>
                  <a:gd name="connsiteX29" fmla="*/ 54578 w 60579"/>
                  <a:gd name="connsiteY29" fmla="*/ 64379 h 72464"/>
                  <a:gd name="connsiteX30" fmla="*/ 44101 w 60579"/>
                  <a:gd name="connsiteY30" fmla="*/ 70951 h 72464"/>
                  <a:gd name="connsiteX31" fmla="*/ 28480 w 60579"/>
                  <a:gd name="connsiteY31" fmla="*/ 72284 h 72464"/>
                  <a:gd name="connsiteX32" fmla="*/ 12668 w 60579"/>
                  <a:gd name="connsiteY32" fmla="*/ 68570 h 724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0579" h="72464">
                    <a:moveTo>
                      <a:pt x="12763" y="68379"/>
                    </a:moveTo>
                    <a:cubicBezTo>
                      <a:pt x="8192" y="66379"/>
                      <a:pt x="4000" y="63521"/>
                      <a:pt x="0" y="59711"/>
                    </a:cubicBezTo>
                    <a:lnTo>
                      <a:pt x="9144" y="47996"/>
                    </a:lnTo>
                    <a:cubicBezTo>
                      <a:pt x="12763" y="51234"/>
                      <a:pt x="16097" y="53806"/>
                      <a:pt x="19336" y="55520"/>
                    </a:cubicBezTo>
                    <a:cubicBezTo>
                      <a:pt x="22479" y="57235"/>
                      <a:pt x="26003" y="58283"/>
                      <a:pt x="29718" y="58664"/>
                    </a:cubicBezTo>
                    <a:cubicBezTo>
                      <a:pt x="33528" y="58949"/>
                      <a:pt x="36481" y="58664"/>
                      <a:pt x="38767" y="57997"/>
                    </a:cubicBezTo>
                    <a:cubicBezTo>
                      <a:pt x="40958" y="57235"/>
                      <a:pt x="42196" y="55616"/>
                      <a:pt x="42386" y="53139"/>
                    </a:cubicBezTo>
                    <a:cubicBezTo>
                      <a:pt x="42577" y="51329"/>
                      <a:pt x="42100" y="49901"/>
                      <a:pt x="41053" y="48662"/>
                    </a:cubicBezTo>
                    <a:cubicBezTo>
                      <a:pt x="40005" y="47424"/>
                      <a:pt x="38671" y="46567"/>
                      <a:pt x="36957" y="45805"/>
                    </a:cubicBezTo>
                    <a:cubicBezTo>
                      <a:pt x="35242" y="45043"/>
                      <a:pt x="32861" y="44186"/>
                      <a:pt x="29813" y="43233"/>
                    </a:cubicBezTo>
                    <a:lnTo>
                      <a:pt x="26479" y="42090"/>
                    </a:lnTo>
                    <a:cubicBezTo>
                      <a:pt x="21908" y="40471"/>
                      <a:pt x="18193" y="38852"/>
                      <a:pt x="15145" y="37137"/>
                    </a:cubicBezTo>
                    <a:cubicBezTo>
                      <a:pt x="12192" y="35423"/>
                      <a:pt x="9811" y="33041"/>
                      <a:pt x="8096" y="30089"/>
                    </a:cubicBezTo>
                    <a:cubicBezTo>
                      <a:pt x="6382" y="27136"/>
                      <a:pt x="5715" y="23421"/>
                      <a:pt x="6096" y="18944"/>
                    </a:cubicBezTo>
                    <a:cubicBezTo>
                      <a:pt x="6477" y="14563"/>
                      <a:pt x="7811" y="10943"/>
                      <a:pt x="10192" y="7991"/>
                    </a:cubicBezTo>
                    <a:cubicBezTo>
                      <a:pt x="12573" y="5038"/>
                      <a:pt x="15812" y="2847"/>
                      <a:pt x="20003" y="1514"/>
                    </a:cubicBezTo>
                    <a:cubicBezTo>
                      <a:pt x="24193" y="180"/>
                      <a:pt x="29146" y="-296"/>
                      <a:pt x="34862" y="180"/>
                    </a:cubicBezTo>
                    <a:cubicBezTo>
                      <a:pt x="40291" y="656"/>
                      <a:pt x="45244" y="1895"/>
                      <a:pt x="49625" y="3990"/>
                    </a:cubicBezTo>
                    <a:cubicBezTo>
                      <a:pt x="54007" y="6086"/>
                      <a:pt x="57626" y="8848"/>
                      <a:pt x="60579" y="12467"/>
                    </a:cubicBezTo>
                    <a:lnTo>
                      <a:pt x="50483" y="22373"/>
                    </a:lnTo>
                    <a:cubicBezTo>
                      <a:pt x="46006" y="17135"/>
                      <a:pt x="40481" y="14182"/>
                      <a:pt x="33909" y="13706"/>
                    </a:cubicBezTo>
                    <a:cubicBezTo>
                      <a:pt x="26765" y="13134"/>
                      <a:pt x="23050" y="14849"/>
                      <a:pt x="22765" y="18944"/>
                    </a:cubicBezTo>
                    <a:cubicBezTo>
                      <a:pt x="22670" y="20564"/>
                      <a:pt x="22955" y="21802"/>
                      <a:pt x="23813" y="22850"/>
                    </a:cubicBezTo>
                    <a:cubicBezTo>
                      <a:pt x="24670" y="23802"/>
                      <a:pt x="25813" y="24659"/>
                      <a:pt x="27242" y="25326"/>
                    </a:cubicBezTo>
                    <a:cubicBezTo>
                      <a:pt x="28670" y="25993"/>
                      <a:pt x="30766" y="26755"/>
                      <a:pt x="33528" y="27612"/>
                    </a:cubicBezTo>
                    <a:lnTo>
                      <a:pt x="36767" y="28660"/>
                    </a:lnTo>
                    <a:cubicBezTo>
                      <a:pt x="41815" y="30374"/>
                      <a:pt x="45911" y="32089"/>
                      <a:pt x="49054" y="33899"/>
                    </a:cubicBezTo>
                    <a:cubicBezTo>
                      <a:pt x="52197" y="35613"/>
                      <a:pt x="54769" y="38090"/>
                      <a:pt x="56674" y="41233"/>
                    </a:cubicBezTo>
                    <a:cubicBezTo>
                      <a:pt x="58579" y="44376"/>
                      <a:pt x="59341" y="48377"/>
                      <a:pt x="58960" y="53234"/>
                    </a:cubicBezTo>
                    <a:cubicBezTo>
                      <a:pt x="58579" y="57616"/>
                      <a:pt x="57150" y="61331"/>
                      <a:pt x="54578" y="64379"/>
                    </a:cubicBezTo>
                    <a:cubicBezTo>
                      <a:pt x="52007" y="67427"/>
                      <a:pt x="48578" y="69617"/>
                      <a:pt x="44101" y="70951"/>
                    </a:cubicBezTo>
                    <a:cubicBezTo>
                      <a:pt x="39624" y="72284"/>
                      <a:pt x="34480" y="72761"/>
                      <a:pt x="28480" y="72284"/>
                    </a:cubicBezTo>
                    <a:cubicBezTo>
                      <a:pt x="22479" y="71808"/>
                      <a:pt x="17240" y="70570"/>
                      <a:pt x="12668" y="68570"/>
                    </a:cubicBezTo>
                    <a:close/>
                  </a:path>
                </a:pathLst>
              </a:custGeom>
              <a:solidFill>
                <a:srgbClr val="000000"/>
              </a:solidFill>
              <a:ln w="9525" cap="flat">
                <a:noFill/>
                <a:prstDash val="solid"/>
                <a:miter/>
              </a:ln>
            </p:spPr>
            <p:txBody>
              <a:bodyPr rtlCol="0" anchor="ctr"/>
              <a:lstStyle/>
              <a:p>
                <a:pPr marL="0" marR="0" lvl="0" indent="0" algn="l" defTabSz="911991" rtl="0" eaLnBrk="1" fontAlgn="auto" latinLnBrk="0" hangingPunct="1">
                  <a:lnSpc>
                    <a:spcPct val="100000"/>
                  </a:lnSpc>
                  <a:spcBef>
                    <a:spcPts val="0"/>
                  </a:spcBef>
                  <a:spcAft>
                    <a:spcPts val="0"/>
                  </a:spcAft>
                  <a:buClrTx/>
                  <a:buSzTx/>
                  <a:buFontTx/>
                  <a:buNone/>
                  <a:tabLst/>
                  <a:defRPr/>
                </a:pPr>
                <a:endParaRPr kumimoji="0" lang="en-US" sz="16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295" name="Freeform: Shape 120">
                <a:extLst>
                  <a:ext uri="{FF2B5EF4-FFF2-40B4-BE49-F238E27FC236}">
                    <a16:creationId xmlns:a16="http://schemas.microsoft.com/office/drawing/2014/main" id="{AD1C7A50-1F72-14C9-5E96-AAFE7EC87A45}"/>
                  </a:ext>
                </a:extLst>
              </p:cNvPr>
              <p:cNvSpPr/>
              <p:nvPr/>
            </p:nvSpPr>
            <p:spPr>
              <a:xfrm>
                <a:off x="6449187" y="915638"/>
                <a:ext cx="73878" cy="98393"/>
              </a:xfrm>
              <a:custGeom>
                <a:avLst/>
                <a:gdLst>
                  <a:gd name="connsiteX0" fmla="*/ 9525 w 73878"/>
                  <a:gd name="connsiteY0" fmla="*/ 15811 h 98393"/>
                  <a:gd name="connsiteX1" fmla="*/ 10858 w 73878"/>
                  <a:gd name="connsiteY1" fmla="*/ 0 h 98393"/>
                  <a:gd name="connsiteX2" fmla="*/ 28289 w 73878"/>
                  <a:gd name="connsiteY2" fmla="*/ 2095 h 98393"/>
                  <a:gd name="connsiteX3" fmla="*/ 28289 w 73878"/>
                  <a:gd name="connsiteY3" fmla="*/ 6191 h 98393"/>
                  <a:gd name="connsiteX4" fmla="*/ 27813 w 73878"/>
                  <a:gd name="connsiteY4" fmla="*/ 12097 h 98393"/>
                  <a:gd name="connsiteX5" fmla="*/ 28099 w 73878"/>
                  <a:gd name="connsiteY5" fmla="*/ 12097 h 98393"/>
                  <a:gd name="connsiteX6" fmla="*/ 51435 w 73878"/>
                  <a:gd name="connsiteY6" fmla="*/ 3334 h 98393"/>
                  <a:gd name="connsiteX7" fmla="*/ 65151 w 73878"/>
                  <a:gd name="connsiteY7" fmla="*/ 9620 h 98393"/>
                  <a:gd name="connsiteX8" fmla="*/ 72580 w 73878"/>
                  <a:gd name="connsiteY8" fmla="*/ 23241 h 98393"/>
                  <a:gd name="connsiteX9" fmla="*/ 73438 w 73878"/>
                  <a:gd name="connsiteY9" fmla="*/ 42005 h 98393"/>
                  <a:gd name="connsiteX10" fmla="*/ 67913 w 73878"/>
                  <a:gd name="connsiteY10" fmla="*/ 60389 h 98393"/>
                  <a:gd name="connsiteX11" fmla="*/ 56864 w 73878"/>
                  <a:gd name="connsiteY11" fmla="*/ 72104 h 98393"/>
                  <a:gd name="connsiteX12" fmla="*/ 41338 w 73878"/>
                  <a:gd name="connsiteY12" fmla="*/ 74867 h 98393"/>
                  <a:gd name="connsiteX13" fmla="*/ 29813 w 73878"/>
                  <a:gd name="connsiteY13" fmla="*/ 70866 h 98393"/>
                  <a:gd name="connsiteX14" fmla="*/ 22288 w 73878"/>
                  <a:gd name="connsiteY14" fmla="*/ 61436 h 98393"/>
                  <a:gd name="connsiteX15" fmla="*/ 21908 w 73878"/>
                  <a:gd name="connsiteY15" fmla="*/ 61436 h 98393"/>
                  <a:gd name="connsiteX16" fmla="*/ 21622 w 73878"/>
                  <a:gd name="connsiteY16" fmla="*/ 65627 h 98393"/>
                  <a:gd name="connsiteX17" fmla="*/ 21050 w 73878"/>
                  <a:gd name="connsiteY17" fmla="*/ 71819 h 98393"/>
                  <a:gd name="connsiteX18" fmla="*/ 17907 w 73878"/>
                  <a:gd name="connsiteY18" fmla="*/ 98393 h 98393"/>
                  <a:gd name="connsiteX19" fmla="*/ 0 w 73878"/>
                  <a:gd name="connsiteY19" fmla="*/ 96202 h 98393"/>
                  <a:gd name="connsiteX20" fmla="*/ 9620 w 73878"/>
                  <a:gd name="connsiteY20" fmla="*/ 15716 h 98393"/>
                  <a:gd name="connsiteX21" fmla="*/ 48863 w 73878"/>
                  <a:gd name="connsiteY21" fmla="*/ 55912 h 98393"/>
                  <a:gd name="connsiteX22" fmla="*/ 54769 w 73878"/>
                  <a:gd name="connsiteY22" fmla="*/ 39815 h 98393"/>
                  <a:gd name="connsiteX23" fmla="*/ 52864 w 73878"/>
                  <a:gd name="connsiteY23" fmla="*/ 23527 h 98393"/>
                  <a:gd name="connsiteX24" fmla="*/ 43053 w 73878"/>
                  <a:gd name="connsiteY24" fmla="*/ 16954 h 98393"/>
                  <a:gd name="connsiteX25" fmla="*/ 35338 w 73878"/>
                  <a:gd name="connsiteY25" fmla="*/ 18098 h 98393"/>
                  <a:gd name="connsiteX26" fmla="*/ 28766 w 73878"/>
                  <a:gd name="connsiteY26" fmla="*/ 24289 h 98393"/>
                  <a:gd name="connsiteX27" fmla="*/ 24955 w 73878"/>
                  <a:gd name="connsiteY27" fmla="*/ 36766 h 98393"/>
                  <a:gd name="connsiteX28" fmla="*/ 25622 w 73878"/>
                  <a:gd name="connsiteY28" fmla="*/ 49625 h 98393"/>
                  <a:gd name="connsiteX29" fmla="*/ 30480 w 73878"/>
                  <a:gd name="connsiteY29" fmla="*/ 57150 h 98393"/>
                  <a:gd name="connsiteX30" fmla="*/ 37624 w 73878"/>
                  <a:gd name="connsiteY30" fmla="*/ 60103 h 98393"/>
                  <a:gd name="connsiteX31" fmla="*/ 48768 w 73878"/>
                  <a:gd name="connsiteY31" fmla="*/ 55912 h 98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73878" h="98393">
                    <a:moveTo>
                      <a:pt x="9525" y="15811"/>
                    </a:moveTo>
                    <a:cubicBezTo>
                      <a:pt x="10287" y="9335"/>
                      <a:pt x="10763" y="4001"/>
                      <a:pt x="10858" y="0"/>
                    </a:cubicBezTo>
                    <a:lnTo>
                      <a:pt x="28289" y="2095"/>
                    </a:lnTo>
                    <a:cubicBezTo>
                      <a:pt x="28289" y="2095"/>
                      <a:pt x="28384" y="3905"/>
                      <a:pt x="28289" y="6191"/>
                    </a:cubicBezTo>
                    <a:cubicBezTo>
                      <a:pt x="28194" y="8477"/>
                      <a:pt x="28004" y="10382"/>
                      <a:pt x="27813" y="12097"/>
                    </a:cubicBezTo>
                    <a:lnTo>
                      <a:pt x="28099" y="12097"/>
                    </a:lnTo>
                    <a:cubicBezTo>
                      <a:pt x="33528" y="5048"/>
                      <a:pt x="41338" y="2191"/>
                      <a:pt x="51435" y="3334"/>
                    </a:cubicBezTo>
                    <a:cubicBezTo>
                      <a:pt x="57055" y="4001"/>
                      <a:pt x="61531" y="6096"/>
                      <a:pt x="65151" y="9620"/>
                    </a:cubicBezTo>
                    <a:cubicBezTo>
                      <a:pt x="68675" y="13145"/>
                      <a:pt x="71152" y="17716"/>
                      <a:pt x="72580" y="23241"/>
                    </a:cubicBezTo>
                    <a:cubicBezTo>
                      <a:pt x="74009" y="28861"/>
                      <a:pt x="74200" y="35052"/>
                      <a:pt x="73438" y="42005"/>
                    </a:cubicBezTo>
                    <a:cubicBezTo>
                      <a:pt x="72580" y="49054"/>
                      <a:pt x="70771" y="55245"/>
                      <a:pt x="67913" y="60389"/>
                    </a:cubicBezTo>
                    <a:cubicBezTo>
                      <a:pt x="65056" y="65627"/>
                      <a:pt x="61341" y="69533"/>
                      <a:pt x="56864" y="72104"/>
                    </a:cubicBezTo>
                    <a:cubicBezTo>
                      <a:pt x="52292" y="74676"/>
                      <a:pt x="47149" y="75628"/>
                      <a:pt x="41338" y="74867"/>
                    </a:cubicBezTo>
                    <a:cubicBezTo>
                      <a:pt x="37052" y="74390"/>
                      <a:pt x="33242" y="73057"/>
                      <a:pt x="29813" y="70866"/>
                    </a:cubicBezTo>
                    <a:cubicBezTo>
                      <a:pt x="26384" y="68675"/>
                      <a:pt x="23908" y="65532"/>
                      <a:pt x="22288" y="61436"/>
                    </a:cubicBezTo>
                    <a:lnTo>
                      <a:pt x="21908" y="61436"/>
                    </a:lnTo>
                    <a:cubicBezTo>
                      <a:pt x="21908" y="61436"/>
                      <a:pt x="21908" y="63246"/>
                      <a:pt x="21622" y="65627"/>
                    </a:cubicBezTo>
                    <a:cubicBezTo>
                      <a:pt x="21431" y="67913"/>
                      <a:pt x="21241" y="70009"/>
                      <a:pt x="21050" y="71819"/>
                    </a:cubicBezTo>
                    <a:lnTo>
                      <a:pt x="17907" y="98393"/>
                    </a:lnTo>
                    <a:lnTo>
                      <a:pt x="0" y="96202"/>
                    </a:lnTo>
                    <a:lnTo>
                      <a:pt x="9620" y="15716"/>
                    </a:lnTo>
                    <a:close/>
                    <a:moveTo>
                      <a:pt x="48863" y="55912"/>
                    </a:moveTo>
                    <a:cubicBezTo>
                      <a:pt x="51911" y="52578"/>
                      <a:pt x="53912" y="47244"/>
                      <a:pt x="54769" y="39815"/>
                    </a:cubicBezTo>
                    <a:cubicBezTo>
                      <a:pt x="55626" y="32861"/>
                      <a:pt x="54959" y="27432"/>
                      <a:pt x="52864" y="23527"/>
                    </a:cubicBezTo>
                    <a:cubicBezTo>
                      <a:pt x="50768" y="19622"/>
                      <a:pt x="47434" y="17431"/>
                      <a:pt x="43053" y="16954"/>
                    </a:cubicBezTo>
                    <a:cubicBezTo>
                      <a:pt x="40386" y="16669"/>
                      <a:pt x="37814" y="16954"/>
                      <a:pt x="35338" y="18098"/>
                    </a:cubicBezTo>
                    <a:cubicBezTo>
                      <a:pt x="32861" y="19145"/>
                      <a:pt x="30671" y="21241"/>
                      <a:pt x="28766" y="24289"/>
                    </a:cubicBezTo>
                    <a:cubicBezTo>
                      <a:pt x="26860" y="27337"/>
                      <a:pt x="25622" y="31528"/>
                      <a:pt x="24955" y="36766"/>
                    </a:cubicBezTo>
                    <a:cubicBezTo>
                      <a:pt x="24384" y="42005"/>
                      <a:pt x="24575" y="46291"/>
                      <a:pt x="25622" y="49625"/>
                    </a:cubicBezTo>
                    <a:cubicBezTo>
                      <a:pt x="26670" y="52959"/>
                      <a:pt x="28289" y="55531"/>
                      <a:pt x="30480" y="57150"/>
                    </a:cubicBezTo>
                    <a:cubicBezTo>
                      <a:pt x="32671" y="58769"/>
                      <a:pt x="34957" y="59722"/>
                      <a:pt x="37624" y="60103"/>
                    </a:cubicBezTo>
                    <a:cubicBezTo>
                      <a:pt x="42005" y="60674"/>
                      <a:pt x="45720" y="59246"/>
                      <a:pt x="48768" y="55912"/>
                    </a:cubicBezTo>
                    <a:close/>
                  </a:path>
                </a:pathLst>
              </a:custGeom>
              <a:solidFill>
                <a:srgbClr val="000000"/>
              </a:solidFill>
              <a:ln w="9525" cap="flat">
                <a:noFill/>
                <a:prstDash val="solid"/>
                <a:miter/>
              </a:ln>
            </p:spPr>
            <p:txBody>
              <a:bodyPr rtlCol="0" anchor="ctr"/>
              <a:lstStyle/>
              <a:p>
                <a:pPr marL="0" marR="0" lvl="0" indent="0" algn="l" defTabSz="911991" rtl="0" eaLnBrk="1" fontAlgn="auto" latinLnBrk="0" hangingPunct="1">
                  <a:lnSpc>
                    <a:spcPct val="100000"/>
                  </a:lnSpc>
                  <a:spcBef>
                    <a:spcPts val="0"/>
                  </a:spcBef>
                  <a:spcAft>
                    <a:spcPts val="0"/>
                  </a:spcAft>
                  <a:buClrTx/>
                  <a:buSzTx/>
                  <a:buFontTx/>
                  <a:buNone/>
                  <a:tabLst/>
                  <a:defRPr/>
                </a:pPr>
                <a:endParaRPr kumimoji="0" lang="en-US" sz="16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296" name="Freeform: Shape 121">
                <a:extLst>
                  <a:ext uri="{FF2B5EF4-FFF2-40B4-BE49-F238E27FC236}">
                    <a16:creationId xmlns:a16="http://schemas.microsoft.com/office/drawing/2014/main" id="{DD7C18FD-D445-BD90-D494-B988542A88E7}"/>
                  </a:ext>
                </a:extLst>
              </p:cNvPr>
              <p:cNvSpPr/>
              <p:nvPr/>
            </p:nvSpPr>
            <p:spPr>
              <a:xfrm>
                <a:off x="6532340" y="925734"/>
                <a:ext cx="49529" cy="71532"/>
              </a:xfrm>
              <a:custGeom>
                <a:avLst/>
                <a:gdLst>
                  <a:gd name="connsiteX0" fmla="*/ 7429 w 49529"/>
                  <a:gd name="connsiteY0" fmla="*/ 16192 h 71532"/>
                  <a:gd name="connsiteX1" fmla="*/ 8573 w 49529"/>
                  <a:gd name="connsiteY1" fmla="*/ 6667 h 71532"/>
                  <a:gd name="connsiteX2" fmla="*/ 9144 w 49529"/>
                  <a:gd name="connsiteY2" fmla="*/ 0 h 71532"/>
                  <a:gd name="connsiteX3" fmla="*/ 26194 w 49529"/>
                  <a:gd name="connsiteY3" fmla="*/ 2381 h 71532"/>
                  <a:gd name="connsiteX4" fmla="*/ 26003 w 49529"/>
                  <a:gd name="connsiteY4" fmla="*/ 7906 h 71532"/>
                  <a:gd name="connsiteX5" fmla="*/ 25337 w 49529"/>
                  <a:gd name="connsiteY5" fmla="*/ 14478 h 71532"/>
                  <a:gd name="connsiteX6" fmla="*/ 25622 w 49529"/>
                  <a:gd name="connsiteY6" fmla="*/ 14478 h 71532"/>
                  <a:gd name="connsiteX7" fmla="*/ 30575 w 49529"/>
                  <a:gd name="connsiteY7" fmla="*/ 7525 h 71532"/>
                  <a:gd name="connsiteX8" fmla="*/ 36004 w 49529"/>
                  <a:gd name="connsiteY8" fmla="*/ 3905 h 71532"/>
                  <a:gd name="connsiteX9" fmla="*/ 43910 w 49529"/>
                  <a:gd name="connsiteY9" fmla="*/ 3429 h 71532"/>
                  <a:gd name="connsiteX10" fmla="*/ 47244 w 49529"/>
                  <a:gd name="connsiteY10" fmla="*/ 4191 h 71532"/>
                  <a:gd name="connsiteX11" fmla="*/ 49530 w 49529"/>
                  <a:gd name="connsiteY11" fmla="*/ 5334 h 71532"/>
                  <a:gd name="connsiteX12" fmla="*/ 46863 w 49529"/>
                  <a:gd name="connsiteY12" fmla="*/ 20764 h 71532"/>
                  <a:gd name="connsiteX13" fmla="*/ 45529 w 49529"/>
                  <a:gd name="connsiteY13" fmla="*/ 20288 h 71532"/>
                  <a:gd name="connsiteX14" fmla="*/ 39719 w 49529"/>
                  <a:gd name="connsiteY14" fmla="*/ 18860 h 71532"/>
                  <a:gd name="connsiteX15" fmla="*/ 28575 w 49529"/>
                  <a:gd name="connsiteY15" fmla="*/ 22765 h 71532"/>
                  <a:gd name="connsiteX16" fmla="*/ 22670 w 49529"/>
                  <a:gd name="connsiteY16" fmla="*/ 37719 h 71532"/>
                  <a:gd name="connsiteX17" fmla="*/ 17907 w 49529"/>
                  <a:gd name="connsiteY17" fmla="*/ 71533 h 71532"/>
                  <a:gd name="connsiteX18" fmla="*/ 0 w 49529"/>
                  <a:gd name="connsiteY18" fmla="*/ 69056 h 71532"/>
                  <a:gd name="connsiteX19" fmla="*/ 7429 w 49529"/>
                  <a:gd name="connsiteY19" fmla="*/ 16383 h 71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9529" h="71532">
                    <a:moveTo>
                      <a:pt x="7429" y="16192"/>
                    </a:moveTo>
                    <a:cubicBezTo>
                      <a:pt x="7811" y="13240"/>
                      <a:pt x="8192" y="10001"/>
                      <a:pt x="8573" y="6667"/>
                    </a:cubicBezTo>
                    <a:cubicBezTo>
                      <a:pt x="8954" y="3239"/>
                      <a:pt x="9144" y="1048"/>
                      <a:pt x="9144" y="0"/>
                    </a:cubicBezTo>
                    <a:lnTo>
                      <a:pt x="26194" y="2381"/>
                    </a:lnTo>
                    <a:cubicBezTo>
                      <a:pt x="26194" y="3143"/>
                      <a:pt x="26194" y="5048"/>
                      <a:pt x="26003" y="7906"/>
                    </a:cubicBezTo>
                    <a:cubicBezTo>
                      <a:pt x="25813" y="10763"/>
                      <a:pt x="25622" y="13049"/>
                      <a:pt x="25337" y="14478"/>
                    </a:cubicBezTo>
                    <a:lnTo>
                      <a:pt x="25622" y="14478"/>
                    </a:lnTo>
                    <a:cubicBezTo>
                      <a:pt x="27432" y="11525"/>
                      <a:pt x="29051" y="9144"/>
                      <a:pt x="30575" y="7525"/>
                    </a:cubicBezTo>
                    <a:cubicBezTo>
                      <a:pt x="32099" y="5905"/>
                      <a:pt x="33814" y="4667"/>
                      <a:pt x="36004" y="3905"/>
                    </a:cubicBezTo>
                    <a:cubicBezTo>
                      <a:pt x="38100" y="3143"/>
                      <a:pt x="40767" y="2953"/>
                      <a:pt x="43910" y="3429"/>
                    </a:cubicBezTo>
                    <a:cubicBezTo>
                      <a:pt x="45053" y="3620"/>
                      <a:pt x="46196" y="3810"/>
                      <a:pt x="47244" y="4191"/>
                    </a:cubicBezTo>
                    <a:cubicBezTo>
                      <a:pt x="48292" y="4572"/>
                      <a:pt x="49054" y="4953"/>
                      <a:pt x="49530" y="5334"/>
                    </a:cubicBezTo>
                    <a:lnTo>
                      <a:pt x="46863" y="20764"/>
                    </a:lnTo>
                    <a:cubicBezTo>
                      <a:pt x="46292" y="20574"/>
                      <a:pt x="45815" y="20479"/>
                      <a:pt x="45529" y="20288"/>
                    </a:cubicBezTo>
                    <a:cubicBezTo>
                      <a:pt x="43339" y="19526"/>
                      <a:pt x="41338" y="19050"/>
                      <a:pt x="39719" y="18860"/>
                    </a:cubicBezTo>
                    <a:cubicBezTo>
                      <a:pt x="35338" y="18193"/>
                      <a:pt x="31623" y="19526"/>
                      <a:pt x="28575" y="22765"/>
                    </a:cubicBezTo>
                    <a:cubicBezTo>
                      <a:pt x="25622" y="26003"/>
                      <a:pt x="23622" y="31051"/>
                      <a:pt x="22670" y="37719"/>
                    </a:cubicBezTo>
                    <a:lnTo>
                      <a:pt x="17907" y="71533"/>
                    </a:lnTo>
                    <a:lnTo>
                      <a:pt x="0" y="69056"/>
                    </a:lnTo>
                    <a:lnTo>
                      <a:pt x="7429" y="16383"/>
                    </a:lnTo>
                    <a:close/>
                  </a:path>
                </a:pathLst>
              </a:custGeom>
              <a:solidFill>
                <a:srgbClr val="000000"/>
              </a:solidFill>
              <a:ln w="9525" cap="flat">
                <a:noFill/>
                <a:prstDash val="solid"/>
                <a:miter/>
              </a:ln>
            </p:spPr>
            <p:txBody>
              <a:bodyPr rtlCol="0" anchor="ctr"/>
              <a:lstStyle/>
              <a:p>
                <a:pPr marL="0" marR="0" lvl="0" indent="0" algn="l" defTabSz="911991" rtl="0" eaLnBrk="1" fontAlgn="auto" latinLnBrk="0" hangingPunct="1">
                  <a:lnSpc>
                    <a:spcPct val="100000"/>
                  </a:lnSpc>
                  <a:spcBef>
                    <a:spcPts val="0"/>
                  </a:spcBef>
                  <a:spcAft>
                    <a:spcPts val="0"/>
                  </a:spcAft>
                  <a:buClrTx/>
                  <a:buSzTx/>
                  <a:buFontTx/>
                  <a:buNone/>
                  <a:tabLst/>
                  <a:defRPr/>
                </a:pPr>
                <a:endParaRPr kumimoji="0" lang="en-US" sz="16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297" name="Freeform: Shape 122">
                <a:extLst>
                  <a:ext uri="{FF2B5EF4-FFF2-40B4-BE49-F238E27FC236}">
                    <a16:creationId xmlns:a16="http://schemas.microsoft.com/office/drawing/2014/main" id="{81175152-83D2-5AB4-4F97-6E1B024BFC37}"/>
                  </a:ext>
                </a:extLst>
              </p:cNvPr>
              <p:cNvSpPr/>
              <p:nvPr/>
            </p:nvSpPr>
            <p:spPr>
              <a:xfrm>
                <a:off x="6582460" y="935904"/>
                <a:ext cx="70593" cy="72479"/>
              </a:xfrm>
              <a:custGeom>
                <a:avLst/>
                <a:gdLst>
                  <a:gd name="connsiteX0" fmla="*/ 11411 w 70593"/>
                  <a:gd name="connsiteY0" fmla="*/ 64125 h 72479"/>
                  <a:gd name="connsiteX1" fmla="*/ 1696 w 70593"/>
                  <a:gd name="connsiteY1" fmla="*/ 49361 h 72479"/>
                  <a:gd name="connsiteX2" fmla="*/ 648 w 70593"/>
                  <a:gd name="connsiteY2" fmla="*/ 30502 h 72479"/>
                  <a:gd name="connsiteX3" fmla="*/ 7411 w 70593"/>
                  <a:gd name="connsiteY3" fmla="*/ 13261 h 72479"/>
                  <a:gd name="connsiteX4" fmla="*/ 21222 w 70593"/>
                  <a:gd name="connsiteY4" fmla="*/ 2308 h 72479"/>
                  <a:gd name="connsiteX5" fmla="*/ 41129 w 70593"/>
                  <a:gd name="connsiteY5" fmla="*/ 593 h 72479"/>
                  <a:gd name="connsiteX6" fmla="*/ 59989 w 70593"/>
                  <a:gd name="connsiteY6" fmla="*/ 8499 h 72479"/>
                  <a:gd name="connsiteX7" fmla="*/ 69228 w 70593"/>
                  <a:gd name="connsiteY7" fmla="*/ 23072 h 72479"/>
                  <a:gd name="connsiteX8" fmla="*/ 69895 w 70593"/>
                  <a:gd name="connsiteY8" fmla="*/ 41741 h 72479"/>
                  <a:gd name="connsiteX9" fmla="*/ 63037 w 70593"/>
                  <a:gd name="connsiteY9" fmla="*/ 59267 h 72479"/>
                  <a:gd name="connsiteX10" fmla="*/ 49130 w 70593"/>
                  <a:gd name="connsiteY10" fmla="*/ 70221 h 72479"/>
                  <a:gd name="connsiteX11" fmla="*/ 29223 w 70593"/>
                  <a:gd name="connsiteY11" fmla="*/ 71840 h 72479"/>
                  <a:gd name="connsiteX12" fmla="*/ 11411 w 70593"/>
                  <a:gd name="connsiteY12" fmla="*/ 64125 h 72479"/>
                  <a:gd name="connsiteX13" fmla="*/ 44463 w 70593"/>
                  <a:gd name="connsiteY13" fmla="*/ 54028 h 72479"/>
                  <a:gd name="connsiteX14" fmla="*/ 51321 w 70593"/>
                  <a:gd name="connsiteY14" fmla="*/ 38693 h 72479"/>
                  <a:gd name="connsiteX15" fmla="*/ 49892 w 70593"/>
                  <a:gd name="connsiteY15" fmla="*/ 22215 h 72479"/>
                  <a:gd name="connsiteX16" fmla="*/ 39129 w 70593"/>
                  <a:gd name="connsiteY16" fmla="*/ 14785 h 72479"/>
                  <a:gd name="connsiteX17" fmla="*/ 26175 w 70593"/>
                  <a:gd name="connsiteY17" fmla="*/ 18405 h 72479"/>
                  <a:gd name="connsiteX18" fmla="*/ 19412 w 70593"/>
                  <a:gd name="connsiteY18" fmla="*/ 33550 h 72479"/>
                  <a:gd name="connsiteX19" fmla="*/ 19412 w 70593"/>
                  <a:gd name="connsiteY19" fmla="*/ 45551 h 72479"/>
                  <a:gd name="connsiteX20" fmla="*/ 23603 w 70593"/>
                  <a:gd name="connsiteY20" fmla="*/ 53838 h 72479"/>
                  <a:gd name="connsiteX21" fmla="*/ 31319 w 70593"/>
                  <a:gd name="connsiteY21" fmla="*/ 57648 h 72479"/>
                  <a:gd name="connsiteX22" fmla="*/ 44463 w 70593"/>
                  <a:gd name="connsiteY22" fmla="*/ 54028 h 72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70593" h="72479">
                    <a:moveTo>
                      <a:pt x="11411" y="64125"/>
                    </a:moveTo>
                    <a:cubicBezTo>
                      <a:pt x="6744" y="60124"/>
                      <a:pt x="3506" y="55267"/>
                      <a:pt x="1696" y="49361"/>
                    </a:cubicBezTo>
                    <a:cubicBezTo>
                      <a:pt x="-114" y="43551"/>
                      <a:pt x="-495" y="37264"/>
                      <a:pt x="648" y="30502"/>
                    </a:cubicBezTo>
                    <a:cubicBezTo>
                      <a:pt x="1696" y="23929"/>
                      <a:pt x="3982" y="18214"/>
                      <a:pt x="7411" y="13261"/>
                    </a:cubicBezTo>
                    <a:cubicBezTo>
                      <a:pt x="10840" y="8308"/>
                      <a:pt x="15507" y="4689"/>
                      <a:pt x="21222" y="2308"/>
                    </a:cubicBezTo>
                    <a:cubicBezTo>
                      <a:pt x="26937" y="-74"/>
                      <a:pt x="33605" y="-550"/>
                      <a:pt x="41129" y="593"/>
                    </a:cubicBezTo>
                    <a:cubicBezTo>
                      <a:pt x="49035" y="1831"/>
                      <a:pt x="55322" y="4498"/>
                      <a:pt x="59989" y="8499"/>
                    </a:cubicBezTo>
                    <a:cubicBezTo>
                      <a:pt x="64656" y="12499"/>
                      <a:pt x="67704" y="17357"/>
                      <a:pt x="69228" y="23072"/>
                    </a:cubicBezTo>
                    <a:cubicBezTo>
                      <a:pt x="70752" y="28787"/>
                      <a:pt x="71038" y="34978"/>
                      <a:pt x="69895" y="41741"/>
                    </a:cubicBezTo>
                    <a:cubicBezTo>
                      <a:pt x="68847" y="48504"/>
                      <a:pt x="66466" y="54314"/>
                      <a:pt x="63037" y="59267"/>
                    </a:cubicBezTo>
                    <a:cubicBezTo>
                      <a:pt x="59608" y="64220"/>
                      <a:pt x="54845" y="67840"/>
                      <a:pt x="49130" y="70221"/>
                    </a:cubicBezTo>
                    <a:cubicBezTo>
                      <a:pt x="43415" y="72507"/>
                      <a:pt x="36748" y="73078"/>
                      <a:pt x="29223" y="71840"/>
                    </a:cubicBezTo>
                    <a:cubicBezTo>
                      <a:pt x="21984" y="70697"/>
                      <a:pt x="16078" y="68125"/>
                      <a:pt x="11411" y="64125"/>
                    </a:cubicBezTo>
                    <a:close/>
                    <a:moveTo>
                      <a:pt x="44463" y="54028"/>
                    </a:moveTo>
                    <a:cubicBezTo>
                      <a:pt x="47892" y="50790"/>
                      <a:pt x="50178" y="45646"/>
                      <a:pt x="51321" y="38693"/>
                    </a:cubicBezTo>
                    <a:cubicBezTo>
                      <a:pt x="52464" y="31835"/>
                      <a:pt x="51893" y="26311"/>
                      <a:pt x="49892" y="22215"/>
                    </a:cubicBezTo>
                    <a:cubicBezTo>
                      <a:pt x="47797" y="18119"/>
                      <a:pt x="44273" y="15643"/>
                      <a:pt x="39129" y="14785"/>
                    </a:cubicBezTo>
                    <a:cubicBezTo>
                      <a:pt x="33890" y="13928"/>
                      <a:pt x="29509" y="15166"/>
                      <a:pt x="26175" y="18405"/>
                    </a:cubicBezTo>
                    <a:cubicBezTo>
                      <a:pt x="22746" y="21643"/>
                      <a:pt x="20555" y="26692"/>
                      <a:pt x="19412" y="33550"/>
                    </a:cubicBezTo>
                    <a:cubicBezTo>
                      <a:pt x="18650" y="38122"/>
                      <a:pt x="18745" y="42027"/>
                      <a:pt x="19412" y="45551"/>
                    </a:cubicBezTo>
                    <a:cubicBezTo>
                      <a:pt x="20174" y="48980"/>
                      <a:pt x="21603" y="51742"/>
                      <a:pt x="23603" y="53838"/>
                    </a:cubicBezTo>
                    <a:cubicBezTo>
                      <a:pt x="25603" y="55933"/>
                      <a:pt x="28175" y="57172"/>
                      <a:pt x="31319" y="57648"/>
                    </a:cubicBezTo>
                    <a:cubicBezTo>
                      <a:pt x="36653" y="58505"/>
                      <a:pt x="40939" y="57267"/>
                      <a:pt x="44463" y="54028"/>
                    </a:cubicBezTo>
                    <a:close/>
                  </a:path>
                </a:pathLst>
              </a:custGeom>
              <a:solidFill>
                <a:srgbClr val="000000"/>
              </a:solidFill>
              <a:ln w="9525" cap="flat">
                <a:noFill/>
                <a:prstDash val="solid"/>
                <a:miter/>
              </a:ln>
            </p:spPr>
            <p:txBody>
              <a:bodyPr rtlCol="0" anchor="ctr"/>
              <a:lstStyle/>
              <a:p>
                <a:pPr marL="0" marR="0" lvl="0" indent="0" algn="l" defTabSz="911991" rtl="0" eaLnBrk="1" fontAlgn="auto" latinLnBrk="0" hangingPunct="1">
                  <a:lnSpc>
                    <a:spcPct val="100000"/>
                  </a:lnSpc>
                  <a:spcBef>
                    <a:spcPts val="0"/>
                  </a:spcBef>
                  <a:spcAft>
                    <a:spcPts val="0"/>
                  </a:spcAft>
                  <a:buClrTx/>
                  <a:buSzTx/>
                  <a:buFontTx/>
                  <a:buNone/>
                  <a:tabLst/>
                  <a:defRPr/>
                </a:pPr>
                <a:endParaRPr kumimoji="0" lang="en-US" sz="16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298" name="Freeform: Shape 123">
                <a:extLst>
                  <a:ext uri="{FF2B5EF4-FFF2-40B4-BE49-F238E27FC236}">
                    <a16:creationId xmlns:a16="http://schemas.microsoft.com/office/drawing/2014/main" id="{0C5A8646-1320-B2D7-8311-74F09F3583E4}"/>
                  </a:ext>
                </a:extLst>
              </p:cNvPr>
              <p:cNvSpPr/>
              <p:nvPr/>
            </p:nvSpPr>
            <p:spPr>
              <a:xfrm>
                <a:off x="6661663" y="949621"/>
                <a:ext cx="65653" cy="72447"/>
              </a:xfrm>
              <a:custGeom>
                <a:avLst/>
                <a:gdLst>
                  <a:gd name="connsiteX0" fmla="*/ 10599 w 65653"/>
                  <a:gd name="connsiteY0" fmla="*/ 63934 h 72447"/>
                  <a:gd name="connsiteX1" fmla="*/ 1360 w 65653"/>
                  <a:gd name="connsiteY1" fmla="*/ 49551 h 72447"/>
                  <a:gd name="connsiteX2" fmla="*/ 883 w 65653"/>
                  <a:gd name="connsiteY2" fmla="*/ 30311 h 72447"/>
                  <a:gd name="connsiteX3" fmla="*/ 8694 w 65653"/>
                  <a:gd name="connsiteY3" fmla="*/ 11737 h 72447"/>
                  <a:gd name="connsiteX4" fmla="*/ 22886 w 65653"/>
                  <a:gd name="connsiteY4" fmla="*/ 1640 h 72447"/>
                  <a:gd name="connsiteX5" fmla="*/ 41936 w 65653"/>
                  <a:gd name="connsiteY5" fmla="*/ 783 h 72447"/>
                  <a:gd name="connsiteX6" fmla="*/ 65653 w 65653"/>
                  <a:gd name="connsiteY6" fmla="*/ 20119 h 72447"/>
                  <a:gd name="connsiteX7" fmla="*/ 51652 w 65653"/>
                  <a:gd name="connsiteY7" fmla="*/ 26215 h 72447"/>
                  <a:gd name="connsiteX8" fmla="*/ 46889 w 65653"/>
                  <a:gd name="connsiteY8" fmla="*/ 18690 h 72447"/>
                  <a:gd name="connsiteX9" fmla="*/ 39269 w 65653"/>
                  <a:gd name="connsiteY9" fmla="*/ 14975 h 72447"/>
                  <a:gd name="connsiteX10" fmla="*/ 26601 w 65653"/>
                  <a:gd name="connsiteY10" fmla="*/ 18214 h 72447"/>
                  <a:gd name="connsiteX11" fmla="*/ 19743 w 65653"/>
                  <a:gd name="connsiteY11" fmla="*/ 33073 h 72447"/>
                  <a:gd name="connsiteX12" fmla="*/ 20886 w 65653"/>
                  <a:gd name="connsiteY12" fmla="*/ 49932 h 72447"/>
                  <a:gd name="connsiteX13" fmla="*/ 31554 w 65653"/>
                  <a:gd name="connsiteY13" fmla="*/ 57647 h 72447"/>
                  <a:gd name="connsiteX14" fmla="*/ 40698 w 65653"/>
                  <a:gd name="connsiteY14" fmla="*/ 56981 h 72447"/>
                  <a:gd name="connsiteX15" fmla="*/ 49747 w 65653"/>
                  <a:gd name="connsiteY15" fmla="*/ 51837 h 72447"/>
                  <a:gd name="connsiteX16" fmla="*/ 58510 w 65653"/>
                  <a:gd name="connsiteY16" fmla="*/ 64029 h 72447"/>
                  <a:gd name="connsiteX17" fmla="*/ 44793 w 65653"/>
                  <a:gd name="connsiteY17" fmla="*/ 71268 h 72447"/>
                  <a:gd name="connsiteX18" fmla="*/ 28220 w 65653"/>
                  <a:gd name="connsiteY18" fmla="*/ 71744 h 72447"/>
                  <a:gd name="connsiteX19" fmla="*/ 10599 w 65653"/>
                  <a:gd name="connsiteY19" fmla="*/ 63934 h 724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5653" h="72447">
                    <a:moveTo>
                      <a:pt x="10599" y="63934"/>
                    </a:moveTo>
                    <a:cubicBezTo>
                      <a:pt x="6122" y="60124"/>
                      <a:pt x="2979" y="55266"/>
                      <a:pt x="1360" y="49551"/>
                    </a:cubicBezTo>
                    <a:cubicBezTo>
                      <a:pt x="-260" y="43836"/>
                      <a:pt x="-450" y="37359"/>
                      <a:pt x="883" y="30311"/>
                    </a:cubicBezTo>
                    <a:cubicBezTo>
                      <a:pt x="2312" y="22786"/>
                      <a:pt x="4884" y="16595"/>
                      <a:pt x="8694" y="11737"/>
                    </a:cubicBezTo>
                    <a:cubicBezTo>
                      <a:pt x="12504" y="6879"/>
                      <a:pt x="17171" y="3545"/>
                      <a:pt x="22886" y="1640"/>
                    </a:cubicBezTo>
                    <a:cubicBezTo>
                      <a:pt x="28601" y="-265"/>
                      <a:pt x="34888" y="-455"/>
                      <a:pt x="41936" y="783"/>
                    </a:cubicBezTo>
                    <a:cubicBezTo>
                      <a:pt x="53652" y="2974"/>
                      <a:pt x="61558" y="9356"/>
                      <a:pt x="65653" y="20119"/>
                    </a:cubicBezTo>
                    <a:lnTo>
                      <a:pt x="51652" y="26215"/>
                    </a:lnTo>
                    <a:cubicBezTo>
                      <a:pt x="50318" y="23072"/>
                      <a:pt x="48699" y="20595"/>
                      <a:pt x="46889" y="18690"/>
                    </a:cubicBezTo>
                    <a:cubicBezTo>
                      <a:pt x="45079" y="16785"/>
                      <a:pt x="42508" y="15547"/>
                      <a:pt x="39269" y="14975"/>
                    </a:cubicBezTo>
                    <a:cubicBezTo>
                      <a:pt x="34126" y="14023"/>
                      <a:pt x="29935" y="15166"/>
                      <a:pt x="26601" y="18214"/>
                    </a:cubicBezTo>
                    <a:cubicBezTo>
                      <a:pt x="23267" y="21357"/>
                      <a:pt x="20981" y="26310"/>
                      <a:pt x="19743" y="33073"/>
                    </a:cubicBezTo>
                    <a:cubicBezTo>
                      <a:pt x="18409" y="40121"/>
                      <a:pt x="18790" y="45741"/>
                      <a:pt x="20886" y="49932"/>
                    </a:cubicBezTo>
                    <a:cubicBezTo>
                      <a:pt x="22981" y="54123"/>
                      <a:pt x="26506" y="56695"/>
                      <a:pt x="31554" y="57647"/>
                    </a:cubicBezTo>
                    <a:cubicBezTo>
                      <a:pt x="34888" y="58314"/>
                      <a:pt x="38031" y="58028"/>
                      <a:pt x="40698" y="56981"/>
                    </a:cubicBezTo>
                    <a:cubicBezTo>
                      <a:pt x="43460" y="55933"/>
                      <a:pt x="46508" y="54218"/>
                      <a:pt x="49747" y="51837"/>
                    </a:cubicBezTo>
                    <a:lnTo>
                      <a:pt x="58510" y="64029"/>
                    </a:lnTo>
                    <a:cubicBezTo>
                      <a:pt x="54509" y="67458"/>
                      <a:pt x="49937" y="69935"/>
                      <a:pt x="44793" y="71268"/>
                    </a:cubicBezTo>
                    <a:cubicBezTo>
                      <a:pt x="39745" y="72697"/>
                      <a:pt x="34126" y="72792"/>
                      <a:pt x="28220" y="71744"/>
                    </a:cubicBezTo>
                    <a:cubicBezTo>
                      <a:pt x="20981" y="70411"/>
                      <a:pt x="15171" y="67839"/>
                      <a:pt x="10599" y="63934"/>
                    </a:cubicBezTo>
                    <a:close/>
                  </a:path>
                </a:pathLst>
              </a:custGeom>
              <a:solidFill>
                <a:srgbClr val="000000"/>
              </a:solidFill>
              <a:ln w="9525" cap="flat">
                <a:noFill/>
                <a:prstDash val="solid"/>
                <a:miter/>
              </a:ln>
            </p:spPr>
            <p:txBody>
              <a:bodyPr rtlCol="0" anchor="ctr"/>
              <a:lstStyle/>
              <a:p>
                <a:pPr marL="0" marR="0" lvl="0" indent="0" algn="l" defTabSz="911991" rtl="0" eaLnBrk="1" fontAlgn="auto" latinLnBrk="0" hangingPunct="1">
                  <a:lnSpc>
                    <a:spcPct val="100000"/>
                  </a:lnSpc>
                  <a:spcBef>
                    <a:spcPts val="0"/>
                  </a:spcBef>
                  <a:spcAft>
                    <a:spcPts val="0"/>
                  </a:spcAft>
                  <a:buClrTx/>
                  <a:buSzTx/>
                  <a:buFontTx/>
                  <a:buNone/>
                  <a:tabLst/>
                  <a:defRPr/>
                </a:pPr>
                <a:endParaRPr kumimoji="0" lang="en-US" sz="16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299" name="Freeform: Shape 124">
                <a:extLst>
                  <a:ext uri="{FF2B5EF4-FFF2-40B4-BE49-F238E27FC236}">
                    <a16:creationId xmlns:a16="http://schemas.microsoft.com/office/drawing/2014/main" id="{8B58024C-D38E-D020-0762-165571910AFE}"/>
                  </a:ext>
                </a:extLst>
              </p:cNvPr>
              <p:cNvSpPr/>
              <p:nvPr/>
            </p:nvSpPr>
            <p:spPr>
              <a:xfrm>
                <a:off x="6729917" y="962981"/>
                <a:ext cx="65167" cy="72837"/>
              </a:xfrm>
              <a:custGeom>
                <a:avLst/>
                <a:gdLst>
                  <a:gd name="connsiteX0" fmla="*/ 4449 w 65167"/>
                  <a:gd name="connsiteY0" fmla="*/ 57717 h 72837"/>
                  <a:gd name="connsiteX1" fmla="*/ 1305 w 65167"/>
                  <a:gd name="connsiteY1" fmla="*/ 29333 h 72837"/>
                  <a:gd name="connsiteX2" fmla="*/ 9782 w 65167"/>
                  <a:gd name="connsiteY2" fmla="*/ 10473 h 72837"/>
                  <a:gd name="connsiteX3" fmla="*/ 23784 w 65167"/>
                  <a:gd name="connsiteY3" fmla="*/ 1234 h 72837"/>
                  <a:gd name="connsiteX4" fmla="*/ 40834 w 65167"/>
                  <a:gd name="connsiteY4" fmla="*/ 853 h 72837"/>
                  <a:gd name="connsiteX5" fmla="*/ 57026 w 65167"/>
                  <a:gd name="connsiteY5" fmla="*/ 8949 h 72837"/>
                  <a:gd name="connsiteX6" fmla="*/ 64456 w 65167"/>
                  <a:gd name="connsiteY6" fmla="*/ 22856 h 72837"/>
                  <a:gd name="connsiteX7" fmla="*/ 64075 w 65167"/>
                  <a:gd name="connsiteY7" fmla="*/ 40001 h 72837"/>
                  <a:gd name="connsiteX8" fmla="*/ 62170 w 65167"/>
                  <a:gd name="connsiteY8" fmla="*/ 47049 h 72837"/>
                  <a:gd name="connsiteX9" fmla="*/ 18831 w 65167"/>
                  <a:gd name="connsiteY9" fmla="*/ 38001 h 72837"/>
                  <a:gd name="connsiteX10" fmla="*/ 19974 w 65167"/>
                  <a:gd name="connsiteY10" fmla="*/ 51336 h 72837"/>
                  <a:gd name="connsiteX11" fmla="*/ 30737 w 65167"/>
                  <a:gd name="connsiteY11" fmla="*/ 58479 h 72837"/>
                  <a:gd name="connsiteX12" fmla="*/ 37405 w 65167"/>
                  <a:gd name="connsiteY12" fmla="*/ 59051 h 72837"/>
                  <a:gd name="connsiteX13" fmla="*/ 43596 w 65167"/>
                  <a:gd name="connsiteY13" fmla="*/ 57908 h 72837"/>
                  <a:gd name="connsiteX14" fmla="*/ 51311 w 65167"/>
                  <a:gd name="connsiteY14" fmla="*/ 54955 h 72837"/>
                  <a:gd name="connsiteX15" fmla="*/ 56074 w 65167"/>
                  <a:gd name="connsiteY15" fmla="*/ 67909 h 72837"/>
                  <a:gd name="connsiteX16" fmla="*/ 42549 w 65167"/>
                  <a:gd name="connsiteY16" fmla="*/ 72386 h 72837"/>
                  <a:gd name="connsiteX17" fmla="*/ 27023 w 65167"/>
                  <a:gd name="connsiteY17" fmla="*/ 71719 h 72837"/>
                  <a:gd name="connsiteX18" fmla="*/ 4449 w 65167"/>
                  <a:gd name="connsiteY18" fmla="*/ 57717 h 72837"/>
                  <a:gd name="connsiteX19" fmla="*/ 47978 w 65167"/>
                  <a:gd name="connsiteY19" fmla="*/ 31428 h 72837"/>
                  <a:gd name="connsiteX20" fmla="*/ 46740 w 65167"/>
                  <a:gd name="connsiteY20" fmla="*/ 19332 h 72837"/>
                  <a:gd name="connsiteX21" fmla="*/ 37976 w 65167"/>
                  <a:gd name="connsiteY21" fmla="*/ 13712 h 72837"/>
                  <a:gd name="connsiteX22" fmla="*/ 27690 w 65167"/>
                  <a:gd name="connsiteY22" fmla="*/ 15426 h 72837"/>
                  <a:gd name="connsiteX23" fmla="*/ 21498 w 65167"/>
                  <a:gd name="connsiteY23" fmla="*/ 25904 h 72837"/>
                  <a:gd name="connsiteX24" fmla="*/ 47978 w 65167"/>
                  <a:gd name="connsiteY24" fmla="*/ 31428 h 728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65167" h="72837">
                    <a:moveTo>
                      <a:pt x="4449" y="57717"/>
                    </a:moveTo>
                    <a:cubicBezTo>
                      <a:pt x="-124" y="50574"/>
                      <a:pt x="-1171" y="41144"/>
                      <a:pt x="1305" y="29333"/>
                    </a:cubicBezTo>
                    <a:cubicBezTo>
                      <a:pt x="2924" y="21427"/>
                      <a:pt x="5782" y="15141"/>
                      <a:pt x="9782" y="10473"/>
                    </a:cubicBezTo>
                    <a:cubicBezTo>
                      <a:pt x="13783" y="5806"/>
                      <a:pt x="18450" y="2758"/>
                      <a:pt x="23784" y="1234"/>
                    </a:cubicBezTo>
                    <a:cubicBezTo>
                      <a:pt x="29118" y="-290"/>
                      <a:pt x="34833" y="-385"/>
                      <a:pt x="40834" y="853"/>
                    </a:cubicBezTo>
                    <a:cubicBezTo>
                      <a:pt x="47787" y="2282"/>
                      <a:pt x="53121" y="4949"/>
                      <a:pt x="57026" y="8949"/>
                    </a:cubicBezTo>
                    <a:cubicBezTo>
                      <a:pt x="60932" y="12855"/>
                      <a:pt x="63408" y="17522"/>
                      <a:pt x="64456" y="22856"/>
                    </a:cubicBezTo>
                    <a:cubicBezTo>
                      <a:pt x="65504" y="28190"/>
                      <a:pt x="65408" y="34000"/>
                      <a:pt x="64075" y="40001"/>
                    </a:cubicBezTo>
                    <a:cubicBezTo>
                      <a:pt x="63599" y="42382"/>
                      <a:pt x="62932" y="44763"/>
                      <a:pt x="62170" y="47049"/>
                    </a:cubicBezTo>
                    <a:lnTo>
                      <a:pt x="18831" y="38001"/>
                    </a:lnTo>
                    <a:cubicBezTo>
                      <a:pt x="17688" y="43335"/>
                      <a:pt x="18069" y="47716"/>
                      <a:pt x="19974" y="51336"/>
                    </a:cubicBezTo>
                    <a:cubicBezTo>
                      <a:pt x="21879" y="54955"/>
                      <a:pt x="25403" y="57336"/>
                      <a:pt x="30737" y="58479"/>
                    </a:cubicBezTo>
                    <a:cubicBezTo>
                      <a:pt x="33119" y="58956"/>
                      <a:pt x="35309" y="59146"/>
                      <a:pt x="37405" y="59051"/>
                    </a:cubicBezTo>
                    <a:cubicBezTo>
                      <a:pt x="39405" y="58956"/>
                      <a:pt x="41501" y="58575"/>
                      <a:pt x="43596" y="57908"/>
                    </a:cubicBezTo>
                    <a:cubicBezTo>
                      <a:pt x="45692" y="57336"/>
                      <a:pt x="48263" y="56289"/>
                      <a:pt x="51311" y="54955"/>
                    </a:cubicBezTo>
                    <a:lnTo>
                      <a:pt x="56074" y="67909"/>
                    </a:lnTo>
                    <a:cubicBezTo>
                      <a:pt x="51407" y="70100"/>
                      <a:pt x="46930" y="71624"/>
                      <a:pt x="42549" y="72386"/>
                    </a:cubicBezTo>
                    <a:cubicBezTo>
                      <a:pt x="38167" y="73148"/>
                      <a:pt x="32928" y="72957"/>
                      <a:pt x="27023" y="71719"/>
                    </a:cubicBezTo>
                    <a:cubicBezTo>
                      <a:pt x="16545" y="69528"/>
                      <a:pt x="9020" y="64861"/>
                      <a:pt x="4449" y="57717"/>
                    </a:cubicBezTo>
                    <a:close/>
                    <a:moveTo>
                      <a:pt x="47978" y="31428"/>
                    </a:moveTo>
                    <a:cubicBezTo>
                      <a:pt x="48835" y="26285"/>
                      <a:pt x="48454" y="22284"/>
                      <a:pt x="46740" y="19332"/>
                    </a:cubicBezTo>
                    <a:cubicBezTo>
                      <a:pt x="45025" y="16474"/>
                      <a:pt x="42072" y="14569"/>
                      <a:pt x="37976" y="13712"/>
                    </a:cubicBezTo>
                    <a:cubicBezTo>
                      <a:pt x="33976" y="12855"/>
                      <a:pt x="30642" y="13426"/>
                      <a:pt x="27690" y="15426"/>
                    </a:cubicBezTo>
                    <a:cubicBezTo>
                      <a:pt x="24737" y="17427"/>
                      <a:pt x="22736" y="20856"/>
                      <a:pt x="21498" y="25904"/>
                    </a:cubicBezTo>
                    <a:lnTo>
                      <a:pt x="47978" y="31428"/>
                    </a:lnTo>
                    <a:close/>
                  </a:path>
                </a:pathLst>
              </a:custGeom>
              <a:solidFill>
                <a:srgbClr val="000000"/>
              </a:solidFill>
              <a:ln w="9525" cap="flat">
                <a:noFill/>
                <a:prstDash val="solid"/>
                <a:miter/>
              </a:ln>
            </p:spPr>
            <p:txBody>
              <a:bodyPr rtlCol="0" anchor="ctr"/>
              <a:lstStyle/>
              <a:p>
                <a:pPr marL="0" marR="0" lvl="0" indent="0" algn="l" defTabSz="911991" rtl="0" eaLnBrk="1" fontAlgn="auto" latinLnBrk="0" hangingPunct="1">
                  <a:lnSpc>
                    <a:spcPct val="100000"/>
                  </a:lnSpc>
                  <a:spcBef>
                    <a:spcPts val="0"/>
                  </a:spcBef>
                  <a:spcAft>
                    <a:spcPts val="0"/>
                  </a:spcAft>
                  <a:buClrTx/>
                  <a:buSzTx/>
                  <a:buFontTx/>
                  <a:buNone/>
                  <a:tabLst/>
                  <a:defRPr/>
                </a:pPr>
                <a:endParaRPr kumimoji="0" lang="en-US" sz="16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300" name="Freeform: Shape 125">
                <a:extLst>
                  <a:ext uri="{FF2B5EF4-FFF2-40B4-BE49-F238E27FC236}">
                    <a16:creationId xmlns:a16="http://schemas.microsoft.com/office/drawing/2014/main" id="{2ECB517B-19E1-5A19-A765-C753547616DA}"/>
                  </a:ext>
                </a:extLst>
              </p:cNvPr>
              <p:cNvSpPr/>
              <p:nvPr/>
            </p:nvSpPr>
            <p:spPr>
              <a:xfrm>
                <a:off x="6795230" y="977367"/>
                <a:ext cx="66770" cy="72866"/>
              </a:xfrm>
              <a:custGeom>
                <a:avLst/>
                <a:gdLst>
                  <a:gd name="connsiteX0" fmla="*/ 11430 w 66770"/>
                  <a:gd name="connsiteY0" fmla="*/ 65620 h 72866"/>
                  <a:gd name="connsiteX1" fmla="*/ 0 w 66770"/>
                  <a:gd name="connsiteY1" fmla="*/ 55142 h 72866"/>
                  <a:gd name="connsiteX2" fmla="*/ 10763 w 66770"/>
                  <a:gd name="connsiteY2" fmla="*/ 44855 h 72866"/>
                  <a:gd name="connsiteX3" fmla="*/ 19717 w 66770"/>
                  <a:gd name="connsiteY3" fmla="*/ 53809 h 72866"/>
                  <a:gd name="connsiteX4" fmla="*/ 29527 w 66770"/>
                  <a:gd name="connsiteY4" fmla="*/ 58381 h 72866"/>
                  <a:gd name="connsiteX5" fmla="*/ 38576 w 66770"/>
                  <a:gd name="connsiteY5" fmla="*/ 58952 h 72866"/>
                  <a:gd name="connsiteX6" fmla="*/ 42863 w 66770"/>
                  <a:gd name="connsiteY6" fmla="*/ 54666 h 72866"/>
                  <a:gd name="connsiteX7" fmla="*/ 42196 w 66770"/>
                  <a:gd name="connsiteY7" fmla="*/ 50094 h 72866"/>
                  <a:gd name="connsiteX8" fmla="*/ 38576 w 66770"/>
                  <a:gd name="connsiteY8" fmla="*/ 46760 h 72866"/>
                  <a:gd name="connsiteX9" fmla="*/ 31813 w 66770"/>
                  <a:gd name="connsiteY9" fmla="*/ 43141 h 72866"/>
                  <a:gd name="connsiteX10" fmla="*/ 28670 w 66770"/>
                  <a:gd name="connsiteY10" fmla="*/ 41522 h 72866"/>
                  <a:gd name="connsiteX11" fmla="*/ 18193 w 66770"/>
                  <a:gd name="connsiteY11" fmla="*/ 34949 h 72866"/>
                  <a:gd name="connsiteX12" fmla="*/ 12192 w 66770"/>
                  <a:gd name="connsiteY12" fmla="*/ 26948 h 72866"/>
                  <a:gd name="connsiteX13" fmla="*/ 11811 w 66770"/>
                  <a:gd name="connsiteY13" fmla="*/ 15614 h 72866"/>
                  <a:gd name="connsiteX14" fmla="*/ 17431 w 66770"/>
                  <a:gd name="connsiteY14" fmla="*/ 5327 h 72866"/>
                  <a:gd name="connsiteX15" fmla="*/ 28099 w 66770"/>
                  <a:gd name="connsiteY15" fmla="*/ 374 h 72866"/>
                  <a:gd name="connsiteX16" fmla="*/ 43053 w 66770"/>
                  <a:gd name="connsiteY16" fmla="*/ 1231 h 72866"/>
                  <a:gd name="connsiteX17" fmla="*/ 57150 w 66770"/>
                  <a:gd name="connsiteY17" fmla="*/ 7041 h 72866"/>
                  <a:gd name="connsiteX18" fmla="*/ 66770 w 66770"/>
                  <a:gd name="connsiteY18" fmla="*/ 16947 h 72866"/>
                  <a:gd name="connsiteX19" fmla="*/ 55340 w 66770"/>
                  <a:gd name="connsiteY19" fmla="*/ 25234 h 72866"/>
                  <a:gd name="connsiteX20" fmla="*/ 40196 w 66770"/>
                  <a:gd name="connsiteY20" fmla="*/ 14280 h 72866"/>
                  <a:gd name="connsiteX21" fmla="*/ 28384 w 66770"/>
                  <a:gd name="connsiteY21" fmla="*/ 17900 h 72866"/>
                  <a:gd name="connsiteX22" fmla="*/ 28861 w 66770"/>
                  <a:gd name="connsiteY22" fmla="*/ 21900 h 72866"/>
                  <a:gd name="connsiteX23" fmla="*/ 31909 w 66770"/>
                  <a:gd name="connsiteY23" fmla="*/ 24853 h 72866"/>
                  <a:gd name="connsiteX24" fmla="*/ 37814 w 66770"/>
                  <a:gd name="connsiteY24" fmla="*/ 27996 h 72866"/>
                  <a:gd name="connsiteX25" fmla="*/ 40862 w 66770"/>
                  <a:gd name="connsiteY25" fmla="*/ 29520 h 72866"/>
                  <a:gd name="connsiteX26" fmla="*/ 52292 w 66770"/>
                  <a:gd name="connsiteY26" fmla="*/ 36473 h 72866"/>
                  <a:gd name="connsiteX27" fmla="*/ 58769 w 66770"/>
                  <a:gd name="connsiteY27" fmla="*/ 44855 h 72866"/>
                  <a:gd name="connsiteX28" fmla="*/ 59246 w 66770"/>
                  <a:gd name="connsiteY28" fmla="*/ 57047 h 72866"/>
                  <a:gd name="connsiteX29" fmla="*/ 53340 w 66770"/>
                  <a:gd name="connsiteY29" fmla="*/ 67430 h 72866"/>
                  <a:gd name="connsiteX30" fmla="*/ 42100 w 66770"/>
                  <a:gd name="connsiteY30" fmla="*/ 72478 h 72866"/>
                  <a:gd name="connsiteX31" fmla="*/ 26479 w 66770"/>
                  <a:gd name="connsiteY31" fmla="*/ 71525 h 72866"/>
                  <a:gd name="connsiteX32" fmla="*/ 11430 w 66770"/>
                  <a:gd name="connsiteY32" fmla="*/ 65620 h 728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6770" h="72866">
                    <a:moveTo>
                      <a:pt x="11430" y="65620"/>
                    </a:moveTo>
                    <a:cubicBezTo>
                      <a:pt x="7239" y="63048"/>
                      <a:pt x="3429" y="59524"/>
                      <a:pt x="0" y="55142"/>
                    </a:cubicBezTo>
                    <a:lnTo>
                      <a:pt x="10763" y="44855"/>
                    </a:lnTo>
                    <a:cubicBezTo>
                      <a:pt x="13906" y="48570"/>
                      <a:pt x="16859" y="51618"/>
                      <a:pt x="19717" y="53809"/>
                    </a:cubicBezTo>
                    <a:cubicBezTo>
                      <a:pt x="22574" y="56000"/>
                      <a:pt x="25908" y="57524"/>
                      <a:pt x="29527" y="58381"/>
                    </a:cubicBezTo>
                    <a:cubicBezTo>
                      <a:pt x="33242" y="59238"/>
                      <a:pt x="36290" y="59429"/>
                      <a:pt x="38576" y="58952"/>
                    </a:cubicBezTo>
                    <a:cubicBezTo>
                      <a:pt x="40862" y="58476"/>
                      <a:pt x="42291" y="57047"/>
                      <a:pt x="42863" y="54666"/>
                    </a:cubicBezTo>
                    <a:cubicBezTo>
                      <a:pt x="43243" y="52952"/>
                      <a:pt x="43053" y="51428"/>
                      <a:pt x="42196" y="50094"/>
                    </a:cubicBezTo>
                    <a:cubicBezTo>
                      <a:pt x="41338" y="48761"/>
                      <a:pt x="40196" y="47713"/>
                      <a:pt x="38576" y="46760"/>
                    </a:cubicBezTo>
                    <a:cubicBezTo>
                      <a:pt x="37052" y="45808"/>
                      <a:pt x="34766" y="44570"/>
                      <a:pt x="31813" y="43141"/>
                    </a:cubicBezTo>
                    <a:lnTo>
                      <a:pt x="28670" y="41522"/>
                    </a:lnTo>
                    <a:cubicBezTo>
                      <a:pt x="24384" y="39331"/>
                      <a:pt x="20860" y="37140"/>
                      <a:pt x="18193" y="34949"/>
                    </a:cubicBezTo>
                    <a:cubicBezTo>
                      <a:pt x="15526" y="32759"/>
                      <a:pt x="13525" y="30187"/>
                      <a:pt x="12192" y="26948"/>
                    </a:cubicBezTo>
                    <a:cubicBezTo>
                      <a:pt x="10858" y="23710"/>
                      <a:pt x="10763" y="19995"/>
                      <a:pt x="11811" y="15614"/>
                    </a:cubicBezTo>
                    <a:cubicBezTo>
                      <a:pt x="12763" y="11327"/>
                      <a:pt x="14668" y="7898"/>
                      <a:pt x="17431" y="5327"/>
                    </a:cubicBezTo>
                    <a:cubicBezTo>
                      <a:pt x="20193" y="2755"/>
                      <a:pt x="23717" y="1040"/>
                      <a:pt x="28099" y="374"/>
                    </a:cubicBezTo>
                    <a:cubicBezTo>
                      <a:pt x="32480" y="-293"/>
                      <a:pt x="37433" y="-103"/>
                      <a:pt x="43053" y="1231"/>
                    </a:cubicBezTo>
                    <a:cubicBezTo>
                      <a:pt x="48387" y="2469"/>
                      <a:pt x="53054" y="4374"/>
                      <a:pt x="57150" y="7041"/>
                    </a:cubicBezTo>
                    <a:cubicBezTo>
                      <a:pt x="61150" y="9708"/>
                      <a:pt x="64389" y="13042"/>
                      <a:pt x="66770" y="16947"/>
                    </a:cubicBezTo>
                    <a:lnTo>
                      <a:pt x="55340" y="25234"/>
                    </a:lnTo>
                    <a:cubicBezTo>
                      <a:pt x="51625" y="19424"/>
                      <a:pt x="46577" y="15709"/>
                      <a:pt x="40196" y="14280"/>
                    </a:cubicBezTo>
                    <a:cubicBezTo>
                      <a:pt x="33242" y="12661"/>
                      <a:pt x="29337" y="13899"/>
                      <a:pt x="28384" y="17900"/>
                    </a:cubicBezTo>
                    <a:cubicBezTo>
                      <a:pt x="28004" y="19424"/>
                      <a:pt x="28194" y="20757"/>
                      <a:pt x="28861" y="21900"/>
                    </a:cubicBezTo>
                    <a:cubicBezTo>
                      <a:pt x="29527" y="23043"/>
                      <a:pt x="30575" y="23996"/>
                      <a:pt x="31909" y="24853"/>
                    </a:cubicBezTo>
                    <a:cubicBezTo>
                      <a:pt x="33242" y="25710"/>
                      <a:pt x="35242" y="26758"/>
                      <a:pt x="37814" y="27996"/>
                    </a:cubicBezTo>
                    <a:lnTo>
                      <a:pt x="40862" y="29520"/>
                    </a:lnTo>
                    <a:cubicBezTo>
                      <a:pt x="45625" y="31901"/>
                      <a:pt x="49435" y="34283"/>
                      <a:pt x="52292" y="36473"/>
                    </a:cubicBezTo>
                    <a:cubicBezTo>
                      <a:pt x="55150" y="38664"/>
                      <a:pt x="57340" y="41426"/>
                      <a:pt x="58769" y="44855"/>
                    </a:cubicBezTo>
                    <a:cubicBezTo>
                      <a:pt x="60198" y="48189"/>
                      <a:pt x="60388" y="52285"/>
                      <a:pt x="59246" y="57047"/>
                    </a:cubicBezTo>
                    <a:cubicBezTo>
                      <a:pt x="58293" y="61334"/>
                      <a:pt x="56293" y="64858"/>
                      <a:pt x="53340" y="67430"/>
                    </a:cubicBezTo>
                    <a:cubicBezTo>
                      <a:pt x="50387" y="70097"/>
                      <a:pt x="46672" y="71716"/>
                      <a:pt x="42100" y="72478"/>
                    </a:cubicBezTo>
                    <a:cubicBezTo>
                      <a:pt x="37529" y="73240"/>
                      <a:pt x="32290" y="72859"/>
                      <a:pt x="26479" y="71525"/>
                    </a:cubicBezTo>
                    <a:cubicBezTo>
                      <a:pt x="20669" y="70192"/>
                      <a:pt x="15621" y="68192"/>
                      <a:pt x="11430" y="65620"/>
                    </a:cubicBezTo>
                    <a:close/>
                  </a:path>
                </a:pathLst>
              </a:custGeom>
              <a:solidFill>
                <a:srgbClr val="000000"/>
              </a:solidFill>
              <a:ln w="9525" cap="flat">
                <a:noFill/>
                <a:prstDash val="solid"/>
                <a:miter/>
              </a:ln>
            </p:spPr>
            <p:txBody>
              <a:bodyPr rtlCol="0" anchor="ctr"/>
              <a:lstStyle/>
              <a:p>
                <a:pPr marL="0" marR="0" lvl="0" indent="0" algn="l" defTabSz="911991" rtl="0" eaLnBrk="1" fontAlgn="auto" latinLnBrk="0" hangingPunct="1">
                  <a:lnSpc>
                    <a:spcPct val="100000"/>
                  </a:lnSpc>
                  <a:spcBef>
                    <a:spcPts val="0"/>
                  </a:spcBef>
                  <a:spcAft>
                    <a:spcPts val="0"/>
                  </a:spcAft>
                  <a:buClrTx/>
                  <a:buSzTx/>
                  <a:buFontTx/>
                  <a:buNone/>
                  <a:tabLst/>
                  <a:defRPr/>
                </a:pPr>
                <a:endParaRPr kumimoji="0" lang="en-US" sz="16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301" name="Freeform: Shape 126">
                <a:extLst>
                  <a:ext uri="{FF2B5EF4-FFF2-40B4-BE49-F238E27FC236}">
                    <a16:creationId xmlns:a16="http://schemas.microsoft.com/office/drawing/2014/main" id="{1B55D890-73D3-543D-CFBB-09750FAA933F}"/>
                  </a:ext>
                </a:extLst>
              </p:cNvPr>
              <p:cNvSpPr/>
              <p:nvPr/>
            </p:nvSpPr>
            <p:spPr>
              <a:xfrm>
                <a:off x="6858571" y="992853"/>
                <a:ext cx="67437" cy="72909"/>
              </a:xfrm>
              <a:custGeom>
                <a:avLst/>
                <a:gdLst>
                  <a:gd name="connsiteX0" fmla="*/ 11240 w 67437"/>
                  <a:gd name="connsiteY0" fmla="*/ 65088 h 72909"/>
                  <a:gd name="connsiteX1" fmla="*/ 0 w 67437"/>
                  <a:gd name="connsiteY1" fmla="*/ 54420 h 72909"/>
                  <a:gd name="connsiteX2" fmla="*/ 10954 w 67437"/>
                  <a:gd name="connsiteY2" fmla="*/ 44419 h 72909"/>
                  <a:gd name="connsiteX3" fmla="*/ 19717 w 67437"/>
                  <a:gd name="connsiteY3" fmla="*/ 53563 h 72909"/>
                  <a:gd name="connsiteX4" fmla="*/ 29432 w 67437"/>
                  <a:gd name="connsiteY4" fmla="*/ 58325 h 72909"/>
                  <a:gd name="connsiteX5" fmla="*/ 38386 w 67437"/>
                  <a:gd name="connsiteY5" fmla="*/ 59087 h 72909"/>
                  <a:gd name="connsiteX6" fmla="*/ 42767 w 67437"/>
                  <a:gd name="connsiteY6" fmla="*/ 54801 h 72909"/>
                  <a:gd name="connsiteX7" fmla="*/ 42196 w 67437"/>
                  <a:gd name="connsiteY7" fmla="*/ 50229 h 72909"/>
                  <a:gd name="connsiteX8" fmla="*/ 38671 w 67437"/>
                  <a:gd name="connsiteY8" fmla="*/ 46800 h 72909"/>
                  <a:gd name="connsiteX9" fmla="*/ 32004 w 67437"/>
                  <a:gd name="connsiteY9" fmla="*/ 43085 h 72909"/>
                  <a:gd name="connsiteX10" fmla="*/ 28861 w 67437"/>
                  <a:gd name="connsiteY10" fmla="*/ 41466 h 72909"/>
                  <a:gd name="connsiteX11" fmla="*/ 18574 w 67437"/>
                  <a:gd name="connsiteY11" fmla="*/ 34703 h 72909"/>
                  <a:gd name="connsiteX12" fmla="*/ 12763 w 67437"/>
                  <a:gd name="connsiteY12" fmla="*/ 26607 h 72909"/>
                  <a:gd name="connsiteX13" fmla="*/ 12573 w 67437"/>
                  <a:gd name="connsiteY13" fmla="*/ 15272 h 72909"/>
                  <a:gd name="connsiteX14" fmla="*/ 18383 w 67437"/>
                  <a:gd name="connsiteY14" fmla="*/ 5081 h 72909"/>
                  <a:gd name="connsiteX15" fmla="*/ 29146 w 67437"/>
                  <a:gd name="connsiteY15" fmla="*/ 318 h 72909"/>
                  <a:gd name="connsiteX16" fmla="*/ 44101 w 67437"/>
                  <a:gd name="connsiteY16" fmla="*/ 1461 h 72909"/>
                  <a:gd name="connsiteX17" fmla="*/ 58007 w 67437"/>
                  <a:gd name="connsiteY17" fmla="*/ 7557 h 72909"/>
                  <a:gd name="connsiteX18" fmla="*/ 67437 w 67437"/>
                  <a:gd name="connsiteY18" fmla="*/ 17749 h 72909"/>
                  <a:gd name="connsiteX19" fmla="*/ 55817 w 67437"/>
                  <a:gd name="connsiteY19" fmla="*/ 25845 h 72909"/>
                  <a:gd name="connsiteX20" fmla="*/ 40862 w 67437"/>
                  <a:gd name="connsiteY20" fmla="*/ 14606 h 72909"/>
                  <a:gd name="connsiteX21" fmla="*/ 28956 w 67437"/>
                  <a:gd name="connsiteY21" fmla="*/ 17939 h 72909"/>
                  <a:gd name="connsiteX22" fmla="*/ 29337 w 67437"/>
                  <a:gd name="connsiteY22" fmla="*/ 21940 h 72909"/>
                  <a:gd name="connsiteX23" fmla="*/ 32290 w 67437"/>
                  <a:gd name="connsiteY23" fmla="*/ 24893 h 72909"/>
                  <a:gd name="connsiteX24" fmla="*/ 38195 w 67437"/>
                  <a:gd name="connsiteY24" fmla="*/ 28131 h 72909"/>
                  <a:gd name="connsiteX25" fmla="*/ 41148 w 67437"/>
                  <a:gd name="connsiteY25" fmla="*/ 29655 h 72909"/>
                  <a:gd name="connsiteX26" fmla="*/ 52483 w 67437"/>
                  <a:gd name="connsiteY26" fmla="*/ 36799 h 72909"/>
                  <a:gd name="connsiteX27" fmla="*/ 58865 w 67437"/>
                  <a:gd name="connsiteY27" fmla="*/ 45276 h 72909"/>
                  <a:gd name="connsiteX28" fmla="*/ 59150 w 67437"/>
                  <a:gd name="connsiteY28" fmla="*/ 57468 h 72909"/>
                  <a:gd name="connsiteX29" fmla="*/ 53054 w 67437"/>
                  <a:gd name="connsiteY29" fmla="*/ 67755 h 72909"/>
                  <a:gd name="connsiteX30" fmla="*/ 41720 w 67437"/>
                  <a:gd name="connsiteY30" fmla="*/ 72613 h 72909"/>
                  <a:gd name="connsiteX31" fmla="*/ 26099 w 67437"/>
                  <a:gd name="connsiteY31" fmla="*/ 71375 h 72909"/>
                  <a:gd name="connsiteX32" fmla="*/ 11144 w 67437"/>
                  <a:gd name="connsiteY32" fmla="*/ 65088 h 72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7437" h="72909">
                    <a:moveTo>
                      <a:pt x="11240" y="65088"/>
                    </a:moveTo>
                    <a:cubicBezTo>
                      <a:pt x="7049" y="62421"/>
                      <a:pt x="3334" y="58802"/>
                      <a:pt x="0" y="54420"/>
                    </a:cubicBezTo>
                    <a:lnTo>
                      <a:pt x="10954" y="44419"/>
                    </a:lnTo>
                    <a:cubicBezTo>
                      <a:pt x="14002" y="48229"/>
                      <a:pt x="16859" y="51277"/>
                      <a:pt x="19717" y="53563"/>
                    </a:cubicBezTo>
                    <a:cubicBezTo>
                      <a:pt x="22574" y="55849"/>
                      <a:pt x="25813" y="57373"/>
                      <a:pt x="29432" y="58325"/>
                    </a:cubicBezTo>
                    <a:cubicBezTo>
                      <a:pt x="33147" y="59278"/>
                      <a:pt x="36100" y="59564"/>
                      <a:pt x="38386" y="59087"/>
                    </a:cubicBezTo>
                    <a:cubicBezTo>
                      <a:pt x="40672" y="58706"/>
                      <a:pt x="42100" y="57278"/>
                      <a:pt x="42767" y="54801"/>
                    </a:cubicBezTo>
                    <a:cubicBezTo>
                      <a:pt x="43244" y="53087"/>
                      <a:pt x="43053" y="51563"/>
                      <a:pt x="42196" y="50229"/>
                    </a:cubicBezTo>
                    <a:cubicBezTo>
                      <a:pt x="41338" y="48896"/>
                      <a:pt x="40196" y="47753"/>
                      <a:pt x="38671" y="46800"/>
                    </a:cubicBezTo>
                    <a:cubicBezTo>
                      <a:pt x="37148" y="45848"/>
                      <a:pt x="34957" y="44609"/>
                      <a:pt x="32004" y="43085"/>
                    </a:cubicBezTo>
                    <a:lnTo>
                      <a:pt x="28861" y="41466"/>
                    </a:lnTo>
                    <a:cubicBezTo>
                      <a:pt x="24575" y="39180"/>
                      <a:pt x="21146" y="36894"/>
                      <a:pt x="18574" y="34703"/>
                    </a:cubicBezTo>
                    <a:cubicBezTo>
                      <a:pt x="15907" y="32513"/>
                      <a:pt x="14002" y="29846"/>
                      <a:pt x="12763" y="26607"/>
                    </a:cubicBezTo>
                    <a:cubicBezTo>
                      <a:pt x="11525" y="23464"/>
                      <a:pt x="11525" y="19654"/>
                      <a:pt x="12573" y="15272"/>
                    </a:cubicBezTo>
                    <a:cubicBezTo>
                      <a:pt x="13621" y="10986"/>
                      <a:pt x="15621" y="7652"/>
                      <a:pt x="18383" y="5081"/>
                    </a:cubicBezTo>
                    <a:cubicBezTo>
                      <a:pt x="21241" y="2509"/>
                      <a:pt x="24765" y="985"/>
                      <a:pt x="29146" y="318"/>
                    </a:cubicBezTo>
                    <a:cubicBezTo>
                      <a:pt x="33528" y="-349"/>
                      <a:pt x="38481" y="32"/>
                      <a:pt x="44101" y="1461"/>
                    </a:cubicBezTo>
                    <a:cubicBezTo>
                      <a:pt x="49435" y="2795"/>
                      <a:pt x="54102" y="4890"/>
                      <a:pt x="58007" y="7557"/>
                    </a:cubicBezTo>
                    <a:cubicBezTo>
                      <a:pt x="62008" y="10319"/>
                      <a:pt x="65151" y="13653"/>
                      <a:pt x="67437" y="17749"/>
                    </a:cubicBezTo>
                    <a:lnTo>
                      <a:pt x="55817" y="25845"/>
                    </a:lnTo>
                    <a:cubicBezTo>
                      <a:pt x="52197" y="19940"/>
                      <a:pt x="47244" y="16130"/>
                      <a:pt x="40862" y="14606"/>
                    </a:cubicBezTo>
                    <a:cubicBezTo>
                      <a:pt x="34004" y="12891"/>
                      <a:pt x="30004" y="13939"/>
                      <a:pt x="28956" y="17939"/>
                    </a:cubicBezTo>
                    <a:cubicBezTo>
                      <a:pt x="28575" y="19463"/>
                      <a:pt x="28670" y="20797"/>
                      <a:pt x="29337" y="21940"/>
                    </a:cubicBezTo>
                    <a:cubicBezTo>
                      <a:pt x="30004" y="23083"/>
                      <a:pt x="30956" y="24035"/>
                      <a:pt x="32290" y="24893"/>
                    </a:cubicBezTo>
                    <a:cubicBezTo>
                      <a:pt x="33623" y="25750"/>
                      <a:pt x="35624" y="26893"/>
                      <a:pt x="38195" y="28131"/>
                    </a:cubicBezTo>
                    <a:lnTo>
                      <a:pt x="41148" y="29655"/>
                    </a:lnTo>
                    <a:cubicBezTo>
                      <a:pt x="45815" y="32132"/>
                      <a:pt x="49625" y="34513"/>
                      <a:pt x="52483" y="36799"/>
                    </a:cubicBezTo>
                    <a:cubicBezTo>
                      <a:pt x="55340" y="39085"/>
                      <a:pt x="57436" y="41847"/>
                      <a:pt x="58865" y="45276"/>
                    </a:cubicBezTo>
                    <a:cubicBezTo>
                      <a:pt x="60198" y="48705"/>
                      <a:pt x="60293" y="52706"/>
                      <a:pt x="59150" y="57468"/>
                    </a:cubicBezTo>
                    <a:cubicBezTo>
                      <a:pt x="58103" y="61754"/>
                      <a:pt x="56007" y="65183"/>
                      <a:pt x="53054" y="67755"/>
                    </a:cubicBezTo>
                    <a:cubicBezTo>
                      <a:pt x="50102" y="70327"/>
                      <a:pt x="46292" y="71946"/>
                      <a:pt x="41720" y="72613"/>
                    </a:cubicBezTo>
                    <a:cubicBezTo>
                      <a:pt x="37148" y="73280"/>
                      <a:pt x="31909" y="72803"/>
                      <a:pt x="26099" y="71375"/>
                    </a:cubicBezTo>
                    <a:cubicBezTo>
                      <a:pt x="20288" y="69946"/>
                      <a:pt x="15240" y="67850"/>
                      <a:pt x="11144" y="65088"/>
                    </a:cubicBezTo>
                    <a:close/>
                  </a:path>
                </a:pathLst>
              </a:custGeom>
              <a:solidFill>
                <a:srgbClr val="000000"/>
              </a:solidFill>
              <a:ln w="9525" cap="flat">
                <a:noFill/>
                <a:prstDash val="solid"/>
                <a:miter/>
              </a:ln>
            </p:spPr>
            <p:txBody>
              <a:bodyPr rtlCol="0" anchor="ctr"/>
              <a:lstStyle/>
              <a:p>
                <a:pPr marL="0" marR="0" lvl="0" indent="0" algn="l" defTabSz="911991" rtl="0" eaLnBrk="1" fontAlgn="auto" latinLnBrk="0" hangingPunct="1">
                  <a:lnSpc>
                    <a:spcPct val="100000"/>
                  </a:lnSpc>
                  <a:spcBef>
                    <a:spcPts val="0"/>
                  </a:spcBef>
                  <a:spcAft>
                    <a:spcPts val="0"/>
                  </a:spcAft>
                  <a:buClrTx/>
                  <a:buSzTx/>
                  <a:buFontTx/>
                  <a:buNone/>
                  <a:tabLst/>
                  <a:defRPr/>
                </a:pPr>
                <a:endParaRPr kumimoji="0" lang="en-US" sz="16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302" name="Freeform: Shape 127">
                <a:extLst>
                  <a:ext uri="{FF2B5EF4-FFF2-40B4-BE49-F238E27FC236}">
                    <a16:creationId xmlns:a16="http://schemas.microsoft.com/office/drawing/2014/main" id="{015B2CD1-943F-F130-3A4E-E5401532723F}"/>
                  </a:ext>
                </a:extLst>
              </p:cNvPr>
              <p:cNvSpPr/>
              <p:nvPr/>
            </p:nvSpPr>
            <p:spPr>
              <a:xfrm>
                <a:off x="6928740" y="1011208"/>
                <a:ext cx="65758" cy="73101"/>
              </a:xfrm>
              <a:custGeom>
                <a:avLst/>
                <a:gdLst>
                  <a:gd name="connsiteX0" fmla="*/ 3459 w 65758"/>
                  <a:gd name="connsiteY0" fmla="*/ 55972 h 73101"/>
                  <a:gd name="connsiteX1" fmla="*/ 2125 w 65758"/>
                  <a:gd name="connsiteY1" fmla="*/ 27397 h 73101"/>
                  <a:gd name="connsiteX2" fmla="*/ 11746 w 65758"/>
                  <a:gd name="connsiteY2" fmla="*/ 9109 h 73101"/>
                  <a:gd name="connsiteX3" fmla="*/ 26319 w 65758"/>
                  <a:gd name="connsiteY3" fmla="*/ 727 h 73101"/>
                  <a:gd name="connsiteX4" fmla="*/ 43273 w 65758"/>
                  <a:gd name="connsiteY4" fmla="*/ 1394 h 73101"/>
                  <a:gd name="connsiteX5" fmla="*/ 58990 w 65758"/>
                  <a:gd name="connsiteY5" fmla="*/ 10443 h 73101"/>
                  <a:gd name="connsiteX6" fmla="*/ 65467 w 65758"/>
                  <a:gd name="connsiteY6" fmla="*/ 24826 h 73101"/>
                  <a:gd name="connsiteX7" fmla="*/ 64038 w 65758"/>
                  <a:gd name="connsiteY7" fmla="*/ 41971 h 73101"/>
                  <a:gd name="connsiteX8" fmla="*/ 61752 w 65758"/>
                  <a:gd name="connsiteY8" fmla="*/ 48924 h 73101"/>
                  <a:gd name="connsiteX9" fmla="*/ 19080 w 65758"/>
                  <a:gd name="connsiteY9" fmla="*/ 37113 h 73101"/>
                  <a:gd name="connsiteX10" fmla="*/ 19366 w 65758"/>
                  <a:gd name="connsiteY10" fmla="*/ 50543 h 73101"/>
                  <a:gd name="connsiteX11" fmla="*/ 29653 w 65758"/>
                  <a:gd name="connsiteY11" fmla="*/ 58354 h 73101"/>
                  <a:gd name="connsiteX12" fmla="*/ 36225 w 65758"/>
                  <a:gd name="connsiteY12" fmla="*/ 59306 h 73101"/>
                  <a:gd name="connsiteX13" fmla="*/ 42416 w 65758"/>
                  <a:gd name="connsiteY13" fmla="*/ 58544 h 73101"/>
                  <a:gd name="connsiteX14" fmla="*/ 50322 w 65758"/>
                  <a:gd name="connsiteY14" fmla="*/ 56163 h 73101"/>
                  <a:gd name="connsiteX15" fmla="*/ 54227 w 65758"/>
                  <a:gd name="connsiteY15" fmla="*/ 69403 h 73101"/>
                  <a:gd name="connsiteX16" fmla="*/ 40416 w 65758"/>
                  <a:gd name="connsiteY16" fmla="*/ 72927 h 73101"/>
                  <a:gd name="connsiteX17" fmla="*/ 24985 w 65758"/>
                  <a:gd name="connsiteY17" fmla="*/ 71212 h 73101"/>
                  <a:gd name="connsiteX18" fmla="*/ 3364 w 65758"/>
                  <a:gd name="connsiteY18" fmla="*/ 55782 h 73101"/>
                  <a:gd name="connsiteX19" fmla="*/ 48607 w 65758"/>
                  <a:gd name="connsiteY19" fmla="*/ 32541 h 73101"/>
                  <a:gd name="connsiteX20" fmla="*/ 48131 w 65758"/>
                  <a:gd name="connsiteY20" fmla="*/ 20444 h 73101"/>
                  <a:gd name="connsiteX21" fmla="*/ 39749 w 65758"/>
                  <a:gd name="connsiteY21" fmla="*/ 14253 h 73101"/>
                  <a:gd name="connsiteX22" fmla="*/ 29367 w 65758"/>
                  <a:gd name="connsiteY22" fmla="*/ 15301 h 73101"/>
                  <a:gd name="connsiteX23" fmla="*/ 22509 w 65758"/>
                  <a:gd name="connsiteY23" fmla="*/ 25397 h 73101"/>
                  <a:gd name="connsiteX24" fmla="*/ 48512 w 65758"/>
                  <a:gd name="connsiteY24" fmla="*/ 32636 h 731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65758" h="73101">
                    <a:moveTo>
                      <a:pt x="3459" y="55972"/>
                    </a:moveTo>
                    <a:cubicBezTo>
                      <a:pt x="-637" y="48543"/>
                      <a:pt x="-1113" y="39018"/>
                      <a:pt x="2125" y="27397"/>
                    </a:cubicBezTo>
                    <a:cubicBezTo>
                      <a:pt x="4316" y="19587"/>
                      <a:pt x="7460" y="13491"/>
                      <a:pt x="11746" y="9109"/>
                    </a:cubicBezTo>
                    <a:cubicBezTo>
                      <a:pt x="16032" y="4728"/>
                      <a:pt x="20890" y="1966"/>
                      <a:pt x="26319" y="727"/>
                    </a:cubicBezTo>
                    <a:cubicBezTo>
                      <a:pt x="31748" y="-416"/>
                      <a:pt x="37463" y="-225"/>
                      <a:pt x="43273" y="1394"/>
                    </a:cubicBezTo>
                    <a:cubicBezTo>
                      <a:pt x="50131" y="3299"/>
                      <a:pt x="55275" y="6347"/>
                      <a:pt x="58990" y="10443"/>
                    </a:cubicBezTo>
                    <a:cubicBezTo>
                      <a:pt x="62609" y="14634"/>
                      <a:pt x="64800" y="19396"/>
                      <a:pt x="65467" y="24826"/>
                    </a:cubicBezTo>
                    <a:cubicBezTo>
                      <a:pt x="66133" y="30255"/>
                      <a:pt x="65657" y="35970"/>
                      <a:pt x="64038" y="41971"/>
                    </a:cubicBezTo>
                    <a:cubicBezTo>
                      <a:pt x="63371" y="44352"/>
                      <a:pt x="62609" y="46638"/>
                      <a:pt x="61752" y="48924"/>
                    </a:cubicBezTo>
                    <a:lnTo>
                      <a:pt x="19080" y="37113"/>
                    </a:lnTo>
                    <a:cubicBezTo>
                      <a:pt x="17651" y="42352"/>
                      <a:pt x="17746" y="46828"/>
                      <a:pt x="19366" y="50543"/>
                    </a:cubicBezTo>
                    <a:cubicBezTo>
                      <a:pt x="20985" y="54258"/>
                      <a:pt x="24414" y="56925"/>
                      <a:pt x="29653" y="58354"/>
                    </a:cubicBezTo>
                    <a:cubicBezTo>
                      <a:pt x="32034" y="59020"/>
                      <a:pt x="34225" y="59306"/>
                      <a:pt x="36225" y="59306"/>
                    </a:cubicBezTo>
                    <a:cubicBezTo>
                      <a:pt x="38225" y="59306"/>
                      <a:pt x="40321" y="59116"/>
                      <a:pt x="42416" y="58544"/>
                    </a:cubicBezTo>
                    <a:cubicBezTo>
                      <a:pt x="44512" y="58068"/>
                      <a:pt x="47179" y="57211"/>
                      <a:pt x="50322" y="56163"/>
                    </a:cubicBezTo>
                    <a:lnTo>
                      <a:pt x="54227" y="69403"/>
                    </a:lnTo>
                    <a:cubicBezTo>
                      <a:pt x="49465" y="71308"/>
                      <a:pt x="44893" y="72451"/>
                      <a:pt x="40416" y="72927"/>
                    </a:cubicBezTo>
                    <a:cubicBezTo>
                      <a:pt x="35939" y="73403"/>
                      <a:pt x="30796" y="72927"/>
                      <a:pt x="24985" y="71212"/>
                    </a:cubicBezTo>
                    <a:cubicBezTo>
                      <a:pt x="14698" y="68355"/>
                      <a:pt x="7460" y="63211"/>
                      <a:pt x="3364" y="55782"/>
                    </a:cubicBezTo>
                    <a:close/>
                    <a:moveTo>
                      <a:pt x="48607" y="32541"/>
                    </a:moveTo>
                    <a:cubicBezTo>
                      <a:pt x="49846" y="27493"/>
                      <a:pt x="49655" y="23397"/>
                      <a:pt x="48131" y="20444"/>
                    </a:cubicBezTo>
                    <a:cubicBezTo>
                      <a:pt x="46607" y="17491"/>
                      <a:pt x="43750" y="15396"/>
                      <a:pt x="39749" y="14253"/>
                    </a:cubicBezTo>
                    <a:cubicBezTo>
                      <a:pt x="35844" y="13205"/>
                      <a:pt x="32415" y="13491"/>
                      <a:pt x="29367" y="15301"/>
                    </a:cubicBezTo>
                    <a:cubicBezTo>
                      <a:pt x="26319" y="17110"/>
                      <a:pt x="24128" y="20444"/>
                      <a:pt x="22509" y="25397"/>
                    </a:cubicBezTo>
                    <a:lnTo>
                      <a:pt x="48512" y="32636"/>
                    </a:lnTo>
                    <a:close/>
                  </a:path>
                </a:pathLst>
              </a:custGeom>
              <a:solidFill>
                <a:srgbClr val="000000"/>
              </a:solidFill>
              <a:ln w="9525" cap="flat">
                <a:noFill/>
                <a:prstDash val="solid"/>
                <a:miter/>
              </a:ln>
            </p:spPr>
            <p:txBody>
              <a:bodyPr rtlCol="0" anchor="ctr"/>
              <a:lstStyle/>
              <a:p>
                <a:pPr marL="0" marR="0" lvl="0" indent="0" algn="l" defTabSz="911991" rtl="0" eaLnBrk="1" fontAlgn="auto" latinLnBrk="0" hangingPunct="1">
                  <a:lnSpc>
                    <a:spcPct val="100000"/>
                  </a:lnSpc>
                  <a:spcBef>
                    <a:spcPts val="0"/>
                  </a:spcBef>
                  <a:spcAft>
                    <a:spcPts val="0"/>
                  </a:spcAft>
                  <a:buClrTx/>
                  <a:buSzTx/>
                  <a:buFontTx/>
                  <a:buNone/>
                  <a:tabLst/>
                  <a:defRPr/>
                </a:pPr>
                <a:endParaRPr kumimoji="0" lang="en-US" sz="16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303" name="Freeform: Shape 128">
                <a:extLst>
                  <a:ext uri="{FF2B5EF4-FFF2-40B4-BE49-F238E27FC236}">
                    <a16:creationId xmlns:a16="http://schemas.microsoft.com/office/drawing/2014/main" id="{F0E24D19-E95F-1E3E-BFC0-E14CB9BEBDA4}"/>
                  </a:ext>
                </a:extLst>
              </p:cNvPr>
              <p:cNvSpPr/>
              <p:nvPr/>
            </p:nvSpPr>
            <p:spPr>
              <a:xfrm>
                <a:off x="6992207" y="1029882"/>
                <a:ext cx="69151" cy="73128"/>
              </a:xfrm>
              <a:custGeom>
                <a:avLst/>
                <a:gdLst>
                  <a:gd name="connsiteX0" fmla="*/ 10763 w 69151"/>
                  <a:gd name="connsiteY0" fmla="*/ 64159 h 73128"/>
                  <a:gd name="connsiteX1" fmla="*/ 0 w 69151"/>
                  <a:gd name="connsiteY1" fmla="*/ 53014 h 73128"/>
                  <a:gd name="connsiteX2" fmla="*/ 11430 w 69151"/>
                  <a:gd name="connsiteY2" fmla="*/ 43489 h 73128"/>
                  <a:gd name="connsiteX3" fmla="*/ 19812 w 69151"/>
                  <a:gd name="connsiteY3" fmla="*/ 52919 h 73128"/>
                  <a:gd name="connsiteX4" fmla="*/ 29337 w 69151"/>
                  <a:gd name="connsiteY4" fmla="*/ 58063 h 73128"/>
                  <a:gd name="connsiteX5" fmla="*/ 38291 w 69151"/>
                  <a:gd name="connsiteY5" fmla="*/ 59206 h 73128"/>
                  <a:gd name="connsiteX6" fmla="*/ 42863 w 69151"/>
                  <a:gd name="connsiteY6" fmla="*/ 55205 h 73128"/>
                  <a:gd name="connsiteX7" fmla="*/ 42482 w 69151"/>
                  <a:gd name="connsiteY7" fmla="*/ 50633 h 73128"/>
                  <a:gd name="connsiteX8" fmla="*/ 39148 w 69151"/>
                  <a:gd name="connsiteY8" fmla="*/ 47014 h 73128"/>
                  <a:gd name="connsiteX9" fmla="*/ 32671 w 69151"/>
                  <a:gd name="connsiteY9" fmla="*/ 43013 h 73128"/>
                  <a:gd name="connsiteX10" fmla="*/ 29623 w 69151"/>
                  <a:gd name="connsiteY10" fmla="*/ 41203 h 73128"/>
                  <a:gd name="connsiteX11" fmla="*/ 19621 w 69151"/>
                  <a:gd name="connsiteY11" fmla="*/ 33964 h 73128"/>
                  <a:gd name="connsiteX12" fmla="*/ 14192 w 69151"/>
                  <a:gd name="connsiteY12" fmla="*/ 25678 h 73128"/>
                  <a:gd name="connsiteX13" fmla="*/ 14478 w 69151"/>
                  <a:gd name="connsiteY13" fmla="*/ 14343 h 73128"/>
                  <a:gd name="connsiteX14" fmla="*/ 20765 w 69151"/>
                  <a:gd name="connsiteY14" fmla="*/ 4437 h 73128"/>
                  <a:gd name="connsiteX15" fmla="*/ 31718 w 69151"/>
                  <a:gd name="connsiteY15" fmla="*/ 151 h 73128"/>
                  <a:gd name="connsiteX16" fmla="*/ 46577 w 69151"/>
                  <a:gd name="connsiteY16" fmla="*/ 1960 h 73128"/>
                  <a:gd name="connsiteX17" fmla="*/ 60198 w 69151"/>
                  <a:gd name="connsiteY17" fmla="*/ 8723 h 73128"/>
                  <a:gd name="connsiteX18" fmla="*/ 69152 w 69151"/>
                  <a:gd name="connsiteY18" fmla="*/ 19296 h 73128"/>
                  <a:gd name="connsiteX19" fmla="*/ 57245 w 69151"/>
                  <a:gd name="connsiteY19" fmla="*/ 26821 h 73128"/>
                  <a:gd name="connsiteX20" fmla="*/ 42863 w 69151"/>
                  <a:gd name="connsiteY20" fmla="*/ 14914 h 73128"/>
                  <a:gd name="connsiteX21" fmla="*/ 30861 w 69151"/>
                  <a:gd name="connsiteY21" fmla="*/ 17772 h 73128"/>
                  <a:gd name="connsiteX22" fmla="*/ 31147 w 69151"/>
                  <a:gd name="connsiteY22" fmla="*/ 21772 h 73128"/>
                  <a:gd name="connsiteX23" fmla="*/ 34004 w 69151"/>
                  <a:gd name="connsiteY23" fmla="*/ 24916 h 73128"/>
                  <a:gd name="connsiteX24" fmla="*/ 39719 w 69151"/>
                  <a:gd name="connsiteY24" fmla="*/ 28440 h 73128"/>
                  <a:gd name="connsiteX25" fmla="*/ 42672 w 69151"/>
                  <a:gd name="connsiteY25" fmla="*/ 30154 h 73128"/>
                  <a:gd name="connsiteX26" fmla="*/ 53626 w 69151"/>
                  <a:gd name="connsiteY26" fmla="*/ 37774 h 73128"/>
                  <a:gd name="connsiteX27" fmla="*/ 59627 w 69151"/>
                  <a:gd name="connsiteY27" fmla="*/ 46537 h 73128"/>
                  <a:gd name="connsiteX28" fmla="*/ 59341 w 69151"/>
                  <a:gd name="connsiteY28" fmla="*/ 58729 h 73128"/>
                  <a:gd name="connsiteX29" fmla="*/ 52769 w 69151"/>
                  <a:gd name="connsiteY29" fmla="*/ 68731 h 73128"/>
                  <a:gd name="connsiteX30" fmla="*/ 41243 w 69151"/>
                  <a:gd name="connsiteY30" fmla="*/ 73017 h 73128"/>
                  <a:gd name="connsiteX31" fmla="*/ 25717 w 69151"/>
                  <a:gd name="connsiteY31" fmla="*/ 71017 h 73128"/>
                  <a:gd name="connsiteX32" fmla="*/ 11049 w 69151"/>
                  <a:gd name="connsiteY32" fmla="*/ 64159 h 73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9151" h="73128">
                    <a:moveTo>
                      <a:pt x="10763" y="64159"/>
                    </a:moveTo>
                    <a:cubicBezTo>
                      <a:pt x="6763" y="61301"/>
                      <a:pt x="3143" y="57586"/>
                      <a:pt x="0" y="53014"/>
                    </a:cubicBezTo>
                    <a:lnTo>
                      <a:pt x="11430" y="43489"/>
                    </a:lnTo>
                    <a:cubicBezTo>
                      <a:pt x="14288" y="47395"/>
                      <a:pt x="17050" y="50633"/>
                      <a:pt x="19812" y="52919"/>
                    </a:cubicBezTo>
                    <a:cubicBezTo>
                      <a:pt x="22574" y="55300"/>
                      <a:pt x="25717" y="57015"/>
                      <a:pt x="29337" y="58063"/>
                    </a:cubicBezTo>
                    <a:cubicBezTo>
                      <a:pt x="32957" y="59206"/>
                      <a:pt x="36004" y="59587"/>
                      <a:pt x="38291" y="59206"/>
                    </a:cubicBezTo>
                    <a:cubicBezTo>
                      <a:pt x="40577" y="58920"/>
                      <a:pt x="42100" y="57586"/>
                      <a:pt x="42863" y="55205"/>
                    </a:cubicBezTo>
                    <a:cubicBezTo>
                      <a:pt x="43339" y="53491"/>
                      <a:pt x="43244" y="51967"/>
                      <a:pt x="42482" y="50633"/>
                    </a:cubicBezTo>
                    <a:cubicBezTo>
                      <a:pt x="41720" y="49300"/>
                      <a:pt x="40577" y="48061"/>
                      <a:pt x="39148" y="47014"/>
                    </a:cubicBezTo>
                    <a:cubicBezTo>
                      <a:pt x="37719" y="45966"/>
                      <a:pt x="35528" y="44632"/>
                      <a:pt x="32671" y="43013"/>
                    </a:cubicBezTo>
                    <a:lnTo>
                      <a:pt x="29623" y="41203"/>
                    </a:lnTo>
                    <a:cubicBezTo>
                      <a:pt x="25527" y="38727"/>
                      <a:pt x="22193" y="36346"/>
                      <a:pt x="19621" y="33964"/>
                    </a:cubicBezTo>
                    <a:cubicBezTo>
                      <a:pt x="17050" y="31678"/>
                      <a:pt x="15240" y="28916"/>
                      <a:pt x="14192" y="25678"/>
                    </a:cubicBezTo>
                    <a:cubicBezTo>
                      <a:pt x="13145" y="22439"/>
                      <a:pt x="13240" y="18629"/>
                      <a:pt x="14478" y="14343"/>
                    </a:cubicBezTo>
                    <a:cubicBezTo>
                      <a:pt x="15716" y="10152"/>
                      <a:pt x="17812" y="6818"/>
                      <a:pt x="20765" y="4437"/>
                    </a:cubicBezTo>
                    <a:cubicBezTo>
                      <a:pt x="23717" y="2056"/>
                      <a:pt x="27337" y="627"/>
                      <a:pt x="31718" y="151"/>
                    </a:cubicBezTo>
                    <a:cubicBezTo>
                      <a:pt x="36100" y="-326"/>
                      <a:pt x="41053" y="341"/>
                      <a:pt x="46577" y="1960"/>
                    </a:cubicBezTo>
                    <a:cubicBezTo>
                      <a:pt x="51816" y="3580"/>
                      <a:pt x="56388" y="5770"/>
                      <a:pt x="60198" y="8723"/>
                    </a:cubicBezTo>
                    <a:cubicBezTo>
                      <a:pt x="64008" y="11676"/>
                      <a:pt x="67056" y="15105"/>
                      <a:pt x="69152" y="19296"/>
                    </a:cubicBezTo>
                    <a:lnTo>
                      <a:pt x="57245" y="26821"/>
                    </a:lnTo>
                    <a:cubicBezTo>
                      <a:pt x="53912" y="20725"/>
                      <a:pt x="49149" y="16819"/>
                      <a:pt x="42863" y="14914"/>
                    </a:cubicBezTo>
                    <a:cubicBezTo>
                      <a:pt x="36004" y="12914"/>
                      <a:pt x="32004" y="13771"/>
                      <a:pt x="30861" y="17772"/>
                    </a:cubicBezTo>
                    <a:cubicBezTo>
                      <a:pt x="30385" y="19296"/>
                      <a:pt x="30480" y="20629"/>
                      <a:pt x="31147" y="21772"/>
                    </a:cubicBezTo>
                    <a:cubicBezTo>
                      <a:pt x="31718" y="22915"/>
                      <a:pt x="32766" y="23963"/>
                      <a:pt x="34004" y="24916"/>
                    </a:cubicBezTo>
                    <a:cubicBezTo>
                      <a:pt x="35242" y="25868"/>
                      <a:pt x="37148" y="27011"/>
                      <a:pt x="39719" y="28440"/>
                    </a:cubicBezTo>
                    <a:lnTo>
                      <a:pt x="42672" y="30154"/>
                    </a:lnTo>
                    <a:cubicBezTo>
                      <a:pt x="47244" y="32917"/>
                      <a:pt x="50863" y="35393"/>
                      <a:pt x="53626" y="37774"/>
                    </a:cubicBezTo>
                    <a:cubicBezTo>
                      <a:pt x="56388" y="40156"/>
                      <a:pt x="58388" y="43108"/>
                      <a:pt x="59627" y="46537"/>
                    </a:cubicBezTo>
                    <a:cubicBezTo>
                      <a:pt x="60865" y="49966"/>
                      <a:pt x="60770" y="54062"/>
                      <a:pt x="59341" y="58729"/>
                    </a:cubicBezTo>
                    <a:cubicBezTo>
                      <a:pt x="58103" y="62920"/>
                      <a:pt x="55912" y="66349"/>
                      <a:pt x="52769" y="68731"/>
                    </a:cubicBezTo>
                    <a:cubicBezTo>
                      <a:pt x="49721" y="71207"/>
                      <a:pt x="45815" y="72636"/>
                      <a:pt x="41243" y="73017"/>
                    </a:cubicBezTo>
                    <a:cubicBezTo>
                      <a:pt x="36576" y="73398"/>
                      <a:pt x="31433" y="72826"/>
                      <a:pt x="25717" y="71017"/>
                    </a:cubicBezTo>
                    <a:cubicBezTo>
                      <a:pt x="20003" y="69302"/>
                      <a:pt x="15050" y="67016"/>
                      <a:pt x="11049" y="64159"/>
                    </a:cubicBezTo>
                    <a:close/>
                  </a:path>
                </a:pathLst>
              </a:custGeom>
              <a:solidFill>
                <a:srgbClr val="000000"/>
              </a:solidFill>
              <a:ln w="9525" cap="flat">
                <a:noFill/>
                <a:prstDash val="solid"/>
                <a:miter/>
              </a:ln>
            </p:spPr>
            <p:txBody>
              <a:bodyPr rtlCol="0" anchor="ctr"/>
              <a:lstStyle/>
              <a:p>
                <a:pPr marL="0" marR="0" lvl="0" indent="0" algn="l" defTabSz="911991" rtl="0" eaLnBrk="1" fontAlgn="auto" latinLnBrk="0" hangingPunct="1">
                  <a:lnSpc>
                    <a:spcPct val="100000"/>
                  </a:lnSpc>
                  <a:spcBef>
                    <a:spcPts val="0"/>
                  </a:spcBef>
                  <a:spcAft>
                    <a:spcPts val="0"/>
                  </a:spcAft>
                  <a:buClrTx/>
                  <a:buSzTx/>
                  <a:buFontTx/>
                  <a:buNone/>
                  <a:tabLst/>
                  <a:defRPr/>
                </a:pPr>
                <a:endParaRPr kumimoji="0" lang="en-US" sz="16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grpSp>
      </p:grpSp>
      <p:grpSp>
        <p:nvGrpSpPr>
          <p:cNvPr id="471" name="Gruppieren 462">
            <a:extLst>
              <a:ext uri="{FF2B5EF4-FFF2-40B4-BE49-F238E27FC236}">
                <a16:creationId xmlns:a16="http://schemas.microsoft.com/office/drawing/2014/main" id="{9B95E7D5-28C9-ACCA-D785-F62B64E42A59}"/>
              </a:ext>
            </a:extLst>
          </p:cNvPr>
          <p:cNvGrpSpPr/>
          <p:nvPr/>
        </p:nvGrpSpPr>
        <p:grpSpPr>
          <a:xfrm>
            <a:off x="1940759" y="6161069"/>
            <a:ext cx="8312815" cy="540490"/>
            <a:chOff x="3374798" y="5594663"/>
            <a:chExt cx="7213512" cy="540490"/>
          </a:xfrm>
        </p:grpSpPr>
        <p:grpSp>
          <p:nvGrpSpPr>
            <p:cNvPr id="472" name="Gruppieren 463">
              <a:extLst>
                <a:ext uri="{FF2B5EF4-FFF2-40B4-BE49-F238E27FC236}">
                  <a16:creationId xmlns:a16="http://schemas.microsoft.com/office/drawing/2014/main" id="{19D75D33-F704-606F-2D6D-3570A3F6CB58}"/>
                </a:ext>
              </a:extLst>
            </p:cNvPr>
            <p:cNvGrpSpPr/>
            <p:nvPr/>
          </p:nvGrpSpPr>
          <p:grpSpPr>
            <a:xfrm>
              <a:off x="3374798" y="5594663"/>
              <a:ext cx="1410590" cy="540490"/>
              <a:chOff x="3374798" y="5594663"/>
              <a:chExt cx="1410590" cy="540490"/>
            </a:xfrm>
          </p:grpSpPr>
          <p:sp>
            <p:nvSpPr>
              <p:cNvPr id="489" name="Freeform: Shape 32">
                <a:extLst>
                  <a:ext uri="{FF2B5EF4-FFF2-40B4-BE49-F238E27FC236}">
                    <a16:creationId xmlns:a16="http://schemas.microsoft.com/office/drawing/2014/main" id="{EEC3658C-6C94-11FB-5C97-CA3009CDD00A}"/>
                  </a:ext>
                </a:extLst>
              </p:cNvPr>
              <p:cNvSpPr/>
              <p:nvPr/>
            </p:nvSpPr>
            <p:spPr>
              <a:xfrm>
                <a:off x="3374798" y="5594663"/>
                <a:ext cx="1410590" cy="540490"/>
              </a:xfrm>
              <a:prstGeom prst="roundRect">
                <a:avLst>
                  <a:gd name="adj" fmla="val 7557"/>
                </a:avLst>
              </a:prstGeom>
              <a:solidFill>
                <a:srgbClr val="0070F2">
                  <a:lumMod val="20000"/>
                  <a:lumOff val="80000"/>
                </a:srgbClr>
              </a:solidFill>
              <a:ln w="12673" cap="flat">
                <a:noFill/>
                <a:prstDash val="solid"/>
                <a:miter/>
              </a:ln>
            </p:spPr>
            <p:txBody>
              <a:bodyPr rtlCol="0" anchor="ctr"/>
              <a:lstStyle/>
              <a:p>
                <a:pPr marL="0" marR="0" lvl="0" indent="0" algn="l" defTabSz="1088449" rtl="0" eaLnBrk="1" fontAlgn="auto" latinLnBrk="0" hangingPunct="1">
                  <a:lnSpc>
                    <a:spcPct val="100000"/>
                  </a:lnSpc>
                  <a:spcBef>
                    <a:spcPts val="0"/>
                  </a:spcBef>
                  <a:spcAft>
                    <a:spcPts val="0"/>
                  </a:spcAft>
                  <a:buClrTx/>
                  <a:buSzTx/>
                  <a:buFontTx/>
                  <a:buNone/>
                  <a:tabLst/>
                  <a:defRPr/>
                </a:pPr>
                <a:endParaRPr kumimoji="0" lang="en-US" sz="2099" b="0" i="0" u="none" strike="noStrike" kern="0" cap="none" spc="0" normalizeH="0" baseline="0">
                  <a:ln>
                    <a:noFill/>
                  </a:ln>
                  <a:solidFill>
                    <a:srgbClr val="000000"/>
                  </a:solidFill>
                  <a:effectLst/>
                  <a:uLnTx/>
                  <a:uFillTx/>
                  <a:latin typeface="72 Brand" panose="020B0504030603020204" pitchFamily="34" charset="0"/>
                  <a:ea typeface="+mn-ea"/>
                  <a:cs typeface="+mn-cs"/>
                </a:endParaRPr>
              </a:p>
            </p:txBody>
          </p:sp>
          <p:sp>
            <p:nvSpPr>
              <p:cNvPr id="490" name="Textfeld 7">
                <a:extLst>
                  <a:ext uri="{FF2B5EF4-FFF2-40B4-BE49-F238E27FC236}">
                    <a16:creationId xmlns:a16="http://schemas.microsoft.com/office/drawing/2014/main" id="{D9129F0A-2931-DA7D-900D-BD0B4052AC6A}"/>
                  </a:ext>
                </a:extLst>
              </p:cNvPr>
              <p:cNvSpPr txBox="1"/>
              <p:nvPr/>
            </p:nvSpPr>
            <p:spPr>
              <a:xfrm>
                <a:off x="3408277" y="5711020"/>
                <a:ext cx="1348043" cy="153888"/>
              </a:xfrm>
              <a:prstGeom prst="rect">
                <a:avLst/>
              </a:prstGeom>
              <a:noFill/>
            </p:spPr>
            <p:txBody>
              <a:bodyPr wrap="square" lIns="0" tIns="0" rIns="0" bIns="0" rtlCol="0" anchor="ctr" anchorCtr="0">
                <a:spAutoFit/>
              </a:bodyP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marL="0" marR="0" lvl="0" indent="0" algn="ctr" defTabSz="1088449"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a:ln>
                      <a:noFill/>
                    </a:ln>
                    <a:solidFill>
                      <a:srgbClr val="000000"/>
                    </a:solidFill>
                    <a:effectLst/>
                    <a:uLnTx/>
                    <a:uFillTx/>
                    <a:latin typeface="72 Brand" panose="020B0504030603020204" pitchFamily="34" charset="0"/>
                    <a:ea typeface="+mn-ea"/>
                    <a:cs typeface="Arial"/>
                  </a:rPr>
                  <a:t>App Dev</a:t>
                </a:r>
              </a:p>
            </p:txBody>
          </p:sp>
          <p:sp>
            <p:nvSpPr>
              <p:cNvPr id="491" name="Textfeld 11">
                <a:extLst>
                  <a:ext uri="{FF2B5EF4-FFF2-40B4-BE49-F238E27FC236}">
                    <a16:creationId xmlns:a16="http://schemas.microsoft.com/office/drawing/2014/main" id="{F50FB7A4-0D1E-45A0-1B47-4A01008A8541}"/>
                  </a:ext>
                </a:extLst>
              </p:cNvPr>
              <p:cNvSpPr txBox="1"/>
              <p:nvPr/>
            </p:nvSpPr>
            <p:spPr>
              <a:xfrm>
                <a:off x="3384503" y="5899799"/>
                <a:ext cx="1395591" cy="138463"/>
              </a:xfrm>
              <a:prstGeom prst="rect">
                <a:avLst/>
              </a:prstGeom>
              <a:noFill/>
            </p:spPr>
            <p:txBody>
              <a:bodyPr wrap="square" lIns="0" tIns="0" rIns="0" bIns="0" rtlCol="0" anchor="ctr" anchorCtr="0">
                <a:spAutoFit/>
              </a:bodyP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marL="0" marR="0" lvl="0" indent="0" algn="ctr" defTabSz="1088449"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a:ln>
                      <a:noFill/>
                    </a:ln>
                    <a:solidFill>
                      <a:srgbClr val="000000"/>
                    </a:solidFill>
                    <a:effectLst/>
                    <a:uLnTx/>
                    <a:uFillTx/>
                    <a:latin typeface="72 Brand" panose="020B0504030603020204" pitchFamily="34" charset="0"/>
                    <a:ea typeface="+mn-ea"/>
                    <a:cs typeface="Arial"/>
                  </a:rPr>
                  <a:t>Build and innovate</a:t>
                </a:r>
              </a:p>
            </p:txBody>
          </p:sp>
        </p:grpSp>
        <p:grpSp>
          <p:nvGrpSpPr>
            <p:cNvPr id="473" name="Gruppieren 464">
              <a:extLst>
                <a:ext uri="{FF2B5EF4-FFF2-40B4-BE49-F238E27FC236}">
                  <a16:creationId xmlns:a16="http://schemas.microsoft.com/office/drawing/2014/main" id="{D0E0EFEA-30FD-9B91-8559-5A4FA34FD8FB}"/>
                </a:ext>
              </a:extLst>
            </p:cNvPr>
            <p:cNvGrpSpPr/>
            <p:nvPr/>
          </p:nvGrpSpPr>
          <p:grpSpPr>
            <a:xfrm>
              <a:off x="6276258" y="5594663"/>
              <a:ext cx="1410590" cy="540490"/>
              <a:chOff x="6276258" y="5594663"/>
              <a:chExt cx="1410590" cy="540490"/>
            </a:xfrm>
          </p:grpSpPr>
          <p:sp>
            <p:nvSpPr>
              <p:cNvPr id="486" name="Freeform: Shape 32">
                <a:extLst>
                  <a:ext uri="{FF2B5EF4-FFF2-40B4-BE49-F238E27FC236}">
                    <a16:creationId xmlns:a16="http://schemas.microsoft.com/office/drawing/2014/main" id="{E40B2989-99FC-3329-1192-E6C91550F0A8}"/>
                  </a:ext>
                </a:extLst>
              </p:cNvPr>
              <p:cNvSpPr/>
              <p:nvPr/>
            </p:nvSpPr>
            <p:spPr>
              <a:xfrm>
                <a:off x="6276258" y="5594663"/>
                <a:ext cx="1410590" cy="540490"/>
              </a:xfrm>
              <a:prstGeom prst="roundRect">
                <a:avLst>
                  <a:gd name="adj" fmla="val 7557"/>
                </a:avLst>
              </a:prstGeom>
              <a:solidFill>
                <a:srgbClr val="0070F2">
                  <a:lumMod val="20000"/>
                  <a:lumOff val="80000"/>
                </a:srgbClr>
              </a:solidFill>
              <a:ln w="12673" cap="flat">
                <a:noFill/>
                <a:prstDash val="solid"/>
                <a:miter/>
              </a:ln>
            </p:spPr>
            <p:txBody>
              <a:bodyPr rtlCol="0" anchor="ctr"/>
              <a:lstStyle/>
              <a:p>
                <a:pPr marL="0" marR="0" lvl="0" indent="0" algn="l" defTabSz="1088449" rtl="0" eaLnBrk="1" fontAlgn="auto" latinLnBrk="0" hangingPunct="1">
                  <a:lnSpc>
                    <a:spcPct val="100000"/>
                  </a:lnSpc>
                  <a:spcBef>
                    <a:spcPts val="0"/>
                  </a:spcBef>
                  <a:spcAft>
                    <a:spcPts val="0"/>
                  </a:spcAft>
                  <a:buClrTx/>
                  <a:buSzTx/>
                  <a:buFontTx/>
                  <a:buNone/>
                  <a:tabLst/>
                  <a:defRPr/>
                </a:pPr>
                <a:endParaRPr kumimoji="0" lang="en-US" sz="2099" b="0" i="0" u="none" strike="noStrike" kern="0" cap="none" spc="0" normalizeH="0" baseline="0">
                  <a:ln>
                    <a:noFill/>
                  </a:ln>
                  <a:solidFill>
                    <a:srgbClr val="000000"/>
                  </a:solidFill>
                  <a:effectLst/>
                  <a:uLnTx/>
                  <a:uFillTx/>
                  <a:latin typeface="72 Brand" panose="020B0504030603020204" pitchFamily="34" charset="0"/>
                  <a:ea typeface="+mn-ea"/>
                  <a:cs typeface="+mn-cs"/>
                </a:endParaRPr>
              </a:p>
            </p:txBody>
          </p:sp>
          <p:sp>
            <p:nvSpPr>
              <p:cNvPr id="487" name="Textfeld 12">
                <a:extLst>
                  <a:ext uri="{FF2B5EF4-FFF2-40B4-BE49-F238E27FC236}">
                    <a16:creationId xmlns:a16="http://schemas.microsoft.com/office/drawing/2014/main" id="{15579FFD-F997-2815-171E-F58FD6ED089A}"/>
                  </a:ext>
                </a:extLst>
              </p:cNvPr>
              <p:cNvSpPr txBox="1"/>
              <p:nvPr/>
            </p:nvSpPr>
            <p:spPr>
              <a:xfrm>
                <a:off x="6316313" y="5899799"/>
                <a:ext cx="1348210" cy="138463"/>
              </a:xfrm>
              <a:prstGeom prst="rect">
                <a:avLst/>
              </a:prstGeom>
              <a:noFill/>
            </p:spPr>
            <p:txBody>
              <a:bodyPr wrap="square" lIns="0" tIns="0" rIns="0" bIns="0" rtlCol="0" anchor="ctr" anchorCtr="0">
                <a:spAutoFit/>
              </a:bodyP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marL="0" marR="0" lvl="0" indent="0" algn="ctr" defTabSz="1088449"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a:ln>
                      <a:noFill/>
                    </a:ln>
                    <a:solidFill>
                      <a:srgbClr val="000000"/>
                    </a:solidFill>
                    <a:effectLst/>
                    <a:uLnTx/>
                    <a:uFillTx/>
                    <a:latin typeface="72 Brand" panose="020B0504030603020204" pitchFamily="34" charset="0"/>
                    <a:ea typeface="+mn-ea"/>
                    <a:cs typeface="Arial"/>
                  </a:rPr>
                  <a:t>Connect and simplify</a:t>
                </a:r>
              </a:p>
            </p:txBody>
          </p:sp>
          <p:sp>
            <p:nvSpPr>
              <p:cNvPr id="488" name="Textfeld 8">
                <a:extLst>
                  <a:ext uri="{FF2B5EF4-FFF2-40B4-BE49-F238E27FC236}">
                    <a16:creationId xmlns:a16="http://schemas.microsoft.com/office/drawing/2014/main" id="{9CB46895-3460-CBA5-2023-175E498C46FA}"/>
                  </a:ext>
                </a:extLst>
              </p:cNvPr>
              <p:cNvSpPr txBox="1"/>
              <p:nvPr/>
            </p:nvSpPr>
            <p:spPr>
              <a:xfrm>
                <a:off x="6315573" y="5714297"/>
                <a:ext cx="1348043" cy="153888"/>
              </a:xfrm>
              <a:prstGeom prst="rect">
                <a:avLst/>
              </a:prstGeom>
              <a:noFill/>
            </p:spPr>
            <p:txBody>
              <a:bodyPr wrap="square" lIns="0" tIns="0" rIns="0" bIns="0" rtlCol="0" anchor="ctr" anchorCtr="0">
                <a:spAutoFit/>
              </a:bodyP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marL="0" marR="0" lvl="0" indent="0" algn="ctr" defTabSz="1088449"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a:ln>
                      <a:noFill/>
                    </a:ln>
                    <a:solidFill>
                      <a:srgbClr val="000000"/>
                    </a:solidFill>
                    <a:effectLst/>
                    <a:uLnTx/>
                    <a:uFillTx/>
                    <a:latin typeface="72 Brand" panose="020B0504030603020204" pitchFamily="34" charset="0"/>
                    <a:ea typeface="+mn-ea"/>
                    <a:cs typeface="Arial"/>
                  </a:rPr>
                  <a:t>Integration</a:t>
                </a:r>
              </a:p>
            </p:txBody>
          </p:sp>
        </p:grpSp>
        <p:grpSp>
          <p:nvGrpSpPr>
            <p:cNvPr id="474" name="Gruppieren 465">
              <a:extLst>
                <a:ext uri="{FF2B5EF4-FFF2-40B4-BE49-F238E27FC236}">
                  <a16:creationId xmlns:a16="http://schemas.microsoft.com/office/drawing/2014/main" id="{BA63217B-8B33-05DB-8EE8-A0E28E50DD90}"/>
                </a:ext>
              </a:extLst>
            </p:cNvPr>
            <p:cNvGrpSpPr/>
            <p:nvPr/>
          </p:nvGrpSpPr>
          <p:grpSpPr>
            <a:xfrm>
              <a:off x="7726988" y="5594663"/>
              <a:ext cx="1410590" cy="540490"/>
              <a:chOff x="7726988" y="5594663"/>
              <a:chExt cx="1410590" cy="540490"/>
            </a:xfrm>
          </p:grpSpPr>
          <p:sp>
            <p:nvSpPr>
              <p:cNvPr id="483" name="Freeform: Shape 32">
                <a:extLst>
                  <a:ext uri="{FF2B5EF4-FFF2-40B4-BE49-F238E27FC236}">
                    <a16:creationId xmlns:a16="http://schemas.microsoft.com/office/drawing/2014/main" id="{44DE5F64-57FC-A328-3857-8839BA864441}"/>
                  </a:ext>
                </a:extLst>
              </p:cNvPr>
              <p:cNvSpPr/>
              <p:nvPr/>
            </p:nvSpPr>
            <p:spPr>
              <a:xfrm>
                <a:off x="7726988" y="5594663"/>
                <a:ext cx="1410590" cy="540490"/>
              </a:xfrm>
              <a:prstGeom prst="roundRect">
                <a:avLst>
                  <a:gd name="adj" fmla="val 7557"/>
                </a:avLst>
              </a:prstGeom>
              <a:solidFill>
                <a:srgbClr val="0070F2">
                  <a:lumMod val="20000"/>
                  <a:lumOff val="80000"/>
                </a:srgbClr>
              </a:solidFill>
              <a:ln w="12673" cap="flat">
                <a:noFill/>
                <a:prstDash val="solid"/>
                <a:miter/>
              </a:ln>
            </p:spPr>
            <p:txBody>
              <a:bodyPr rtlCol="0" anchor="ctr"/>
              <a:lstStyle/>
              <a:p>
                <a:pPr marL="0" marR="0" lvl="0" indent="0" algn="l" defTabSz="1088449" rtl="0" eaLnBrk="1" fontAlgn="auto" latinLnBrk="0" hangingPunct="1">
                  <a:lnSpc>
                    <a:spcPct val="100000"/>
                  </a:lnSpc>
                  <a:spcBef>
                    <a:spcPts val="0"/>
                  </a:spcBef>
                  <a:spcAft>
                    <a:spcPts val="0"/>
                  </a:spcAft>
                  <a:buClrTx/>
                  <a:buSzTx/>
                  <a:buFontTx/>
                  <a:buNone/>
                  <a:tabLst/>
                  <a:defRPr/>
                </a:pPr>
                <a:endParaRPr kumimoji="0" lang="en-US" sz="2099" b="0" i="0" u="none" strike="noStrike" kern="0" cap="none" spc="0" normalizeH="0" baseline="0">
                  <a:ln>
                    <a:noFill/>
                  </a:ln>
                  <a:solidFill>
                    <a:srgbClr val="000000"/>
                  </a:solidFill>
                  <a:effectLst/>
                  <a:uLnTx/>
                  <a:uFillTx/>
                  <a:latin typeface="72 Brand" panose="020B0504030603020204" pitchFamily="34" charset="0"/>
                  <a:ea typeface="+mn-ea"/>
                  <a:cs typeface="+mn-cs"/>
                </a:endParaRPr>
              </a:p>
            </p:txBody>
          </p:sp>
          <p:sp>
            <p:nvSpPr>
              <p:cNvPr id="484" name="Textfeld 13">
                <a:extLst>
                  <a:ext uri="{FF2B5EF4-FFF2-40B4-BE49-F238E27FC236}">
                    <a16:creationId xmlns:a16="http://schemas.microsoft.com/office/drawing/2014/main" id="{1B2B09D4-DEE2-7661-5AFF-6AB54BFBB2A5}"/>
                  </a:ext>
                </a:extLst>
              </p:cNvPr>
              <p:cNvSpPr txBox="1"/>
              <p:nvPr/>
            </p:nvSpPr>
            <p:spPr>
              <a:xfrm>
                <a:off x="7767494" y="5899799"/>
                <a:ext cx="1329579" cy="138463"/>
              </a:xfrm>
              <a:prstGeom prst="rect">
                <a:avLst/>
              </a:prstGeom>
              <a:noFill/>
            </p:spPr>
            <p:txBody>
              <a:bodyPr wrap="square" lIns="0" tIns="0" rIns="0" bIns="0" rtlCol="0" anchor="ctr" anchorCtr="0">
                <a:spAutoFit/>
              </a:bodyP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marL="0" marR="0" lvl="0" indent="0" algn="ctr" defTabSz="1088449"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a:ln>
                      <a:noFill/>
                    </a:ln>
                    <a:solidFill>
                      <a:srgbClr val="000000"/>
                    </a:solidFill>
                    <a:effectLst/>
                    <a:uLnTx/>
                    <a:uFillTx/>
                    <a:latin typeface="72 Brand" panose="020B0504030603020204" pitchFamily="34" charset="0"/>
                    <a:ea typeface="+mn-ea"/>
                    <a:cs typeface="Arial"/>
                  </a:rPr>
                  <a:t>Give</a:t>
                </a:r>
                <a:r>
                  <a:rPr kumimoji="0" lang="en-US" sz="900" b="1" i="0" u="none" strike="noStrike" kern="1200" cap="none" spc="0" normalizeH="0" baseline="0">
                    <a:ln>
                      <a:noFill/>
                    </a:ln>
                    <a:solidFill>
                      <a:srgbClr val="000000"/>
                    </a:solidFill>
                    <a:effectLst/>
                    <a:uLnTx/>
                    <a:uFillTx/>
                    <a:latin typeface="72 Brand" panose="020B0504030603020204" pitchFamily="34" charset="0"/>
                    <a:ea typeface="+mn-ea"/>
                    <a:cs typeface="Arial"/>
                  </a:rPr>
                  <a:t> </a:t>
                </a:r>
                <a:r>
                  <a:rPr kumimoji="0" lang="en-US" sz="900" b="0" i="0" u="none" strike="noStrike" kern="1200" cap="none" spc="0" normalizeH="0" baseline="0">
                    <a:ln>
                      <a:noFill/>
                    </a:ln>
                    <a:solidFill>
                      <a:srgbClr val="000000"/>
                    </a:solidFill>
                    <a:effectLst/>
                    <a:uLnTx/>
                    <a:uFillTx/>
                    <a:latin typeface="72 Brand" panose="020B0504030603020204" pitchFamily="34" charset="0"/>
                    <a:ea typeface="+mn-ea"/>
                    <a:cs typeface="Arial"/>
                  </a:rPr>
                  <a:t>data</a:t>
                </a:r>
                <a:r>
                  <a:rPr kumimoji="0" lang="en-US" sz="900" b="1" i="0" u="none" strike="noStrike" kern="1200" cap="none" spc="0" normalizeH="0" baseline="0">
                    <a:ln>
                      <a:noFill/>
                    </a:ln>
                    <a:solidFill>
                      <a:srgbClr val="000000"/>
                    </a:solidFill>
                    <a:effectLst/>
                    <a:uLnTx/>
                    <a:uFillTx/>
                    <a:latin typeface="72 Brand" panose="020B0504030603020204" pitchFamily="34" charset="0"/>
                    <a:ea typeface="+mn-ea"/>
                    <a:cs typeface="Arial"/>
                  </a:rPr>
                  <a:t> </a:t>
                </a:r>
                <a:r>
                  <a:rPr kumimoji="0" lang="en-US" sz="900" b="0" i="0" u="none" strike="noStrike" kern="1200" cap="none" spc="0" normalizeH="0" baseline="0">
                    <a:ln>
                      <a:noFill/>
                    </a:ln>
                    <a:solidFill>
                      <a:srgbClr val="000000"/>
                    </a:solidFill>
                    <a:effectLst/>
                    <a:uLnTx/>
                    <a:uFillTx/>
                    <a:latin typeface="72 Brand" panose="020B0504030603020204" pitchFamily="34" charset="0"/>
                    <a:ea typeface="+mn-ea"/>
                    <a:cs typeface="Arial"/>
                  </a:rPr>
                  <a:t>purpose</a:t>
                </a:r>
              </a:p>
            </p:txBody>
          </p:sp>
          <p:sp>
            <p:nvSpPr>
              <p:cNvPr id="485" name="Textfeld 9">
                <a:extLst>
                  <a:ext uri="{FF2B5EF4-FFF2-40B4-BE49-F238E27FC236}">
                    <a16:creationId xmlns:a16="http://schemas.microsoft.com/office/drawing/2014/main" id="{10ADFFAD-E786-04BB-03D6-27C339366807}"/>
                  </a:ext>
                </a:extLst>
              </p:cNvPr>
              <p:cNvSpPr txBox="1"/>
              <p:nvPr/>
            </p:nvSpPr>
            <p:spPr>
              <a:xfrm>
                <a:off x="7753966" y="5714297"/>
                <a:ext cx="1356634" cy="153888"/>
              </a:xfrm>
              <a:prstGeom prst="rect">
                <a:avLst/>
              </a:prstGeom>
              <a:noFill/>
            </p:spPr>
            <p:txBody>
              <a:bodyPr wrap="square" lIns="0" tIns="0" rIns="0" bIns="0" rtlCol="0" anchor="ctr" anchorCtr="0">
                <a:spAutoFit/>
              </a:bodyP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marL="0" marR="0" lvl="0" indent="0" algn="ctr" defTabSz="1088449"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a:ln>
                      <a:noFill/>
                    </a:ln>
                    <a:solidFill>
                      <a:srgbClr val="000000"/>
                    </a:solidFill>
                    <a:effectLst/>
                    <a:uLnTx/>
                    <a:uFillTx/>
                    <a:latin typeface="72 Brand" panose="020B0504030603020204" pitchFamily="34" charset="0"/>
                    <a:ea typeface="+mn-ea"/>
                    <a:cs typeface="Arial"/>
                  </a:rPr>
                  <a:t>Data and Analytics</a:t>
                </a:r>
              </a:p>
            </p:txBody>
          </p:sp>
        </p:grpSp>
        <p:grpSp>
          <p:nvGrpSpPr>
            <p:cNvPr id="475" name="Gruppieren 466">
              <a:extLst>
                <a:ext uri="{FF2B5EF4-FFF2-40B4-BE49-F238E27FC236}">
                  <a16:creationId xmlns:a16="http://schemas.microsoft.com/office/drawing/2014/main" id="{293257F7-13A5-5F70-3925-F03AA9304C82}"/>
                </a:ext>
              </a:extLst>
            </p:cNvPr>
            <p:cNvGrpSpPr/>
            <p:nvPr/>
          </p:nvGrpSpPr>
          <p:grpSpPr>
            <a:xfrm>
              <a:off x="9177720" y="5594663"/>
              <a:ext cx="1410590" cy="540490"/>
              <a:chOff x="9177720" y="5594663"/>
              <a:chExt cx="1410590" cy="540490"/>
            </a:xfrm>
          </p:grpSpPr>
          <p:sp>
            <p:nvSpPr>
              <p:cNvPr id="480" name="Freeform: Shape 32">
                <a:extLst>
                  <a:ext uri="{FF2B5EF4-FFF2-40B4-BE49-F238E27FC236}">
                    <a16:creationId xmlns:a16="http://schemas.microsoft.com/office/drawing/2014/main" id="{A361F07A-7DE4-345D-BCB5-E3467A74D1C5}"/>
                  </a:ext>
                </a:extLst>
              </p:cNvPr>
              <p:cNvSpPr/>
              <p:nvPr/>
            </p:nvSpPr>
            <p:spPr>
              <a:xfrm>
                <a:off x="9177720" y="5594663"/>
                <a:ext cx="1410590" cy="540490"/>
              </a:xfrm>
              <a:prstGeom prst="roundRect">
                <a:avLst>
                  <a:gd name="adj" fmla="val 7557"/>
                </a:avLst>
              </a:prstGeom>
              <a:solidFill>
                <a:srgbClr val="0070F2">
                  <a:lumMod val="20000"/>
                  <a:lumOff val="80000"/>
                </a:srgbClr>
              </a:solidFill>
              <a:ln w="12673" cap="flat">
                <a:noFill/>
                <a:prstDash val="solid"/>
                <a:miter/>
              </a:ln>
            </p:spPr>
            <p:txBody>
              <a:bodyPr rtlCol="0" anchor="ctr"/>
              <a:lstStyle/>
              <a:p>
                <a:pPr marL="0" marR="0" lvl="0" indent="0" algn="l" defTabSz="1088449" rtl="0" eaLnBrk="1" fontAlgn="auto" latinLnBrk="0" hangingPunct="1">
                  <a:lnSpc>
                    <a:spcPct val="100000"/>
                  </a:lnSpc>
                  <a:spcBef>
                    <a:spcPts val="0"/>
                  </a:spcBef>
                  <a:spcAft>
                    <a:spcPts val="0"/>
                  </a:spcAft>
                  <a:buClrTx/>
                  <a:buSzTx/>
                  <a:buFontTx/>
                  <a:buNone/>
                  <a:tabLst/>
                  <a:defRPr/>
                </a:pPr>
                <a:endParaRPr kumimoji="0" lang="en-US" sz="2099" b="0" i="0" u="none" strike="noStrike" kern="0" cap="none" spc="0" normalizeH="0" baseline="0">
                  <a:ln>
                    <a:noFill/>
                  </a:ln>
                  <a:solidFill>
                    <a:srgbClr val="000000"/>
                  </a:solidFill>
                  <a:effectLst/>
                  <a:uLnTx/>
                  <a:uFillTx/>
                  <a:latin typeface="72 Brand" panose="020B0504030603020204" pitchFamily="34" charset="0"/>
                  <a:ea typeface="+mn-ea"/>
                  <a:cs typeface="+mn-cs"/>
                </a:endParaRPr>
              </a:p>
            </p:txBody>
          </p:sp>
          <p:sp>
            <p:nvSpPr>
              <p:cNvPr id="481" name="Textfeld 14">
                <a:extLst>
                  <a:ext uri="{FF2B5EF4-FFF2-40B4-BE49-F238E27FC236}">
                    <a16:creationId xmlns:a16="http://schemas.microsoft.com/office/drawing/2014/main" id="{AF9BF498-388A-B25D-4894-069D1B48B197}"/>
                  </a:ext>
                </a:extLst>
              </p:cNvPr>
              <p:cNvSpPr txBox="1"/>
              <p:nvPr/>
            </p:nvSpPr>
            <p:spPr>
              <a:xfrm>
                <a:off x="9199191" y="5899799"/>
                <a:ext cx="1367649" cy="138463"/>
              </a:xfrm>
              <a:prstGeom prst="rect">
                <a:avLst/>
              </a:prstGeom>
              <a:noFill/>
            </p:spPr>
            <p:txBody>
              <a:bodyPr wrap="square" lIns="0" tIns="0" rIns="0" bIns="0" rtlCol="0" anchor="ctr" anchorCtr="0">
                <a:spAutoFit/>
              </a:bodyP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marL="0" marR="0" lvl="0" indent="0" algn="ctr" defTabSz="1088449"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a:ln>
                      <a:noFill/>
                    </a:ln>
                    <a:solidFill>
                      <a:srgbClr val="000000"/>
                    </a:solidFill>
                    <a:effectLst/>
                    <a:uLnTx/>
                    <a:uFillTx/>
                    <a:latin typeface="72 Brand" panose="020B0504030603020204" pitchFamily="34" charset="0"/>
                    <a:ea typeface="+mn-ea"/>
                    <a:cs typeface="Arial"/>
                  </a:rPr>
                  <a:t>Infuse</a:t>
                </a:r>
                <a:r>
                  <a:rPr kumimoji="0" lang="en-US" sz="900" b="1" i="0" u="none" strike="noStrike" kern="1200" cap="none" spc="0" normalizeH="0" baseline="0">
                    <a:ln>
                      <a:noFill/>
                    </a:ln>
                    <a:solidFill>
                      <a:srgbClr val="000000"/>
                    </a:solidFill>
                    <a:effectLst/>
                    <a:uLnTx/>
                    <a:uFillTx/>
                    <a:latin typeface="72 Brand" panose="020B0504030603020204" pitchFamily="34" charset="0"/>
                    <a:ea typeface="+mn-ea"/>
                    <a:cs typeface="Arial"/>
                  </a:rPr>
                  <a:t> </a:t>
                </a:r>
                <a:r>
                  <a:rPr kumimoji="0" lang="en-US" sz="900" b="0" i="0" u="none" strike="noStrike" kern="1200" cap="none" spc="0" normalizeH="0" baseline="0">
                    <a:ln>
                      <a:noFill/>
                    </a:ln>
                    <a:solidFill>
                      <a:srgbClr val="000000"/>
                    </a:solidFill>
                    <a:effectLst/>
                    <a:uLnTx/>
                    <a:uFillTx/>
                    <a:latin typeface="72 Brand" panose="020B0504030603020204" pitchFamily="34" charset="0"/>
                    <a:ea typeface="+mn-ea"/>
                    <a:cs typeface="Arial"/>
                  </a:rPr>
                  <a:t>intelligence</a:t>
                </a:r>
              </a:p>
            </p:txBody>
          </p:sp>
          <p:sp>
            <p:nvSpPr>
              <p:cNvPr id="482" name="Textfeld 10">
                <a:extLst>
                  <a:ext uri="{FF2B5EF4-FFF2-40B4-BE49-F238E27FC236}">
                    <a16:creationId xmlns:a16="http://schemas.microsoft.com/office/drawing/2014/main" id="{C7720459-5558-271C-7D4A-B255EE1B1128}"/>
                  </a:ext>
                </a:extLst>
              </p:cNvPr>
              <p:cNvSpPr txBox="1"/>
              <p:nvPr/>
            </p:nvSpPr>
            <p:spPr>
              <a:xfrm>
                <a:off x="9208994" y="5711020"/>
                <a:ext cx="1348043" cy="153888"/>
              </a:xfrm>
              <a:prstGeom prst="rect">
                <a:avLst/>
              </a:prstGeom>
              <a:noFill/>
            </p:spPr>
            <p:txBody>
              <a:bodyPr wrap="square" lIns="0" tIns="0" rIns="0" bIns="0" rtlCol="0" anchor="ctr" anchorCtr="0">
                <a:spAutoFit/>
              </a:bodyP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marL="0" marR="0" lvl="0" indent="0" algn="ctr" defTabSz="1088449"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a:ln>
                      <a:noFill/>
                    </a:ln>
                    <a:solidFill>
                      <a:srgbClr val="000000"/>
                    </a:solidFill>
                    <a:effectLst/>
                    <a:uLnTx/>
                    <a:uFillTx/>
                    <a:latin typeface="72 Brand" panose="020B0504030603020204" pitchFamily="34" charset="0"/>
                    <a:ea typeface="+mn-ea"/>
                    <a:cs typeface="Arial"/>
                  </a:rPr>
                  <a:t>AI</a:t>
                </a:r>
              </a:p>
            </p:txBody>
          </p:sp>
        </p:grpSp>
        <p:grpSp>
          <p:nvGrpSpPr>
            <p:cNvPr id="476" name="Gruppieren 467">
              <a:extLst>
                <a:ext uri="{FF2B5EF4-FFF2-40B4-BE49-F238E27FC236}">
                  <a16:creationId xmlns:a16="http://schemas.microsoft.com/office/drawing/2014/main" id="{D532C2A2-72A8-86A4-569F-CC70BF1D25B6}"/>
                </a:ext>
              </a:extLst>
            </p:cNvPr>
            <p:cNvGrpSpPr/>
            <p:nvPr/>
          </p:nvGrpSpPr>
          <p:grpSpPr>
            <a:xfrm>
              <a:off x="4825528" y="5594663"/>
              <a:ext cx="1410590" cy="540490"/>
              <a:chOff x="4825528" y="5594663"/>
              <a:chExt cx="1410590" cy="540490"/>
            </a:xfrm>
          </p:grpSpPr>
          <p:sp>
            <p:nvSpPr>
              <p:cNvPr id="477" name="Freeform: Shape 32">
                <a:extLst>
                  <a:ext uri="{FF2B5EF4-FFF2-40B4-BE49-F238E27FC236}">
                    <a16:creationId xmlns:a16="http://schemas.microsoft.com/office/drawing/2014/main" id="{05EB0605-B5B6-C3E1-8934-05D4D132526F}"/>
                  </a:ext>
                </a:extLst>
              </p:cNvPr>
              <p:cNvSpPr/>
              <p:nvPr/>
            </p:nvSpPr>
            <p:spPr>
              <a:xfrm>
                <a:off x="4825528" y="5594663"/>
                <a:ext cx="1410590" cy="540490"/>
              </a:xfrm>
              <a:prstGeom prst="roundRect">
                <a:avLst>
                  <a:gd name="adj" fmla="val 7557"/>
                </a:avLst>
              </a:prstGeom>
              <a:solidFill>
                <a:srgbClr val="0070F2">
                  <a:lumMod val="20000"/>
                  <a:lumOff val="80000"/>
                </a:srgbClr>
              </a:solidFill>
              <a:ln w="12673" cap="flat">
                <a:noFill/>
                <a:prstDash val="solid"/>
                <a:miter/>
              </a:ln>
            </p:spPr>
            <p:txBody>
              <a:bodyPr rtlCol="0" anchor="ctr"/>
              <a:lstStyle/>
              <a:p>
                <a:pPr marL="0" marR="0" lvl="0" indent="0" algn="l" defTabSz="1088449" rtl="0" eaLnBrk="1" fontAlgn="auto" latinLnBrk="0" hangingPunct="1">
                  <a:lnSpc>
                    <a:spcPct val="100000"/>
                  </a:lnSpc>
                  <a:spcBef>
                    <a:spcPts val="0"/>
                  </a:spcBef>
                  <a:spcAft>
                    <a:spcPts val="0"/>
                  </a:spcAft>
                  <a:buClrTx/>
                  <a:buSzTx/>
                  <a:buFontTx/>
                  <a:buNone/>
                  <a:tabLst/>
                  <a:defRPr/>
                </a:pPr>
                <a:endParaRPr kumimoji="0" lang="en-US" sz="2099" b="0" i="0" u="none" strike="noStrike" kern="0" cap="none" spc="0" normalizeH="0" baseline="0">
                  <a:ln>
                    <a:noFill/>
                  </a:ln>
                  <a:solidFill>
                    <a:srgbClr val="000000"/>
                  </a:solidFill>
                  <a:effectLst/>
                  <a:uLnTx/>
                  <a:uFillTx/>
                  <a:latin typeface="72 Brand" panose="020B0504030603020204" pitchFamily="34" charset="0"/>
                  <a:ea typeface="+mn-ea"/>
                  <a:cs typeface="+mn-cs"/>
                </a:endParaRPr>
              </a:p>
            </p:txBody>
          </p:sp>
          <p:sp>
            <p:nvSpPr>
              <p:cNvPr id="478" name="Textfeld 11">
                <a:extLst>
                  <a:ext uri="{FF2B5EF4-FFF2-40B4-BE49-F238E27FC236}">
                    <a16:creationId xmlns:a16="http://schemas.microsoft.com/office/drawing/2014/main" id="{3AA23007-6512-3C1D-C4F3-F8B8D6F42CA8}"/>
                  </a:ext>
                </a:extLst>
              </p:cNvPr>
              <p:cNvSpPr txBox="1"/>
              <p:nvPr/>
            </p:nvSpPr>
            <p:spPr>
              <a:xfrm>
                <a:off x="4867496" y="5899799"/>
                <a:ext cx="1342483" cy="138463"/>
              </a:xfrm>
              <a:prstGeom prst="rect">
                <a:avLst/>
              </a:prstGeom>
              <a:noFill/>
            </p:spPr>
            <p:txBody>
              <a:bodyPr wrap="square" lIns="0" tIns="0" rIns="0" bIns="0" rtlCol="0" anchor="ctr" anchorCtr="0">
                <a:spAutoFit/>
              </a:bodyP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marL="0" marR="0" lvl="0" indent="0" algn="ctr" defTabSz="1088449"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a:ln>
                      <a:noFill/>
                    </a:ln>
                    <a:solidFill>
                      <a:srgbClr val="000000"/>
                    </a:solidFill>
                    <a:effectLst/>
                    <a:uLnTx/>
                    <a:uFillTx/>
                    <a:latin typeface="72 Brand" panose="020B0504030603020204" pitchFamily="34" charset="0"/>
                    <a:ea typeface="+mn-ea"/>
                    <a:cs typeface="Arial"/>
                  </a:rPr>
                  <a:t>Optimize and automate</a:t>
                </a:r>
              </a:p>
            </p:txBody>
          </p:sp>
          <p:sp>
            <p:nvSpPr>
              <p:cNvPr id="479" name="Textfeld 9">
                <a:extLst>
                  <a:ext uri="{FF2B5EF4-FFF2-40B4-BE49-F238E27FC236}">
                    <a16:creationId xmlns:a16="http://schemas.microsoft.com/office/drawing/2014/main" id="{83BCFFCB-11A2-1BD2-E2E3-9EBD83A4597E}"/>
                  </a:ext>
                </a:extLst>
              </p:cNvPr>
              <p:cNvSpPr txBox="1"/>
              <p:nvPr/>
            </p:nvSpPr>
            <p:spPr>
              <a:xfrm>
                <a:off x="4864716" y="5711020"/>
                <a:ext cx="1348042" cy="153888"/>
              </a:xfrm>
              <a:prstGeom prst="rect">
                <a:avLst/>
              </a:prstGeom>
              <a:noFill/>
            </p:spPr>
            <p:txBody>
              <a:bodyPr wrap="square" lIns="0" tIns="0" rIns="0" bIns="0" rtlCol="0" anchor="ctr" anchorCtr="0">
                <a:spAutoFit/>
              </a:bodyP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marL="0" marR="0" lvl="0" indent="0" algn="ctr" defTabSz="1088449"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a:ln>
                      <a:noFill/>
                    </a:ln>
                    <a:solidFill>
                      <a:srgbClr val="000000"/>
                    </a:solidFill>
                    <a:effectLst/>
                    <a:uLnTx/>
                    <a:uFillTx/>
                    <a:latin typeface="72 Brand" panose="020B0504030603020204" pitchFamily="34" charset="0"/>
                    <a:ea typeface="+mn-ea"/>
                    <a:cs typeface="Arial"/>
                  </a:rPr>
                  <a:t>Automation</a:t>
                </a:r>
              </a:p>
            </p:txBody>
          </p:sp>
        </p:grpSp>
      </p:grpSp>
    </p:spTree>
    <p:custDataLst>
      <p:custData r:id="rId1"/>
      <p:custData r:id="rId2"/>
    </p:custDataLst>
    <p:extLst>
      <p:ext uri="{BB962C8B-B14F-4D97-AF65-F5344CB8AC3E}">
        <p14:creationId xmlns:p14="http://schemas.microsoft.com/office/powerpoint/2010/main" val="191851984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38E81FA-BD36-D246-A0BA-94256E3D831A}"/>
              </a:ext>
            </a:extLst>
          </p:cNvPr>
          <p:cNvSpPr>
            <a:spLocks noGrp="1"/>
          </p:cNvSpPr>
          <p:nvPr>
            <p:ph type="body" sz="quarter" idx="10"/>
          </p:nvPr>
        </p:nvSpPr>
        <p:spPr>
          <a:xfrm>
            <a:off x="504000" y="1566100"/>
            <a:ext cx="11186477" cy="4787900"/>
          </a:xfrm>
        </p:spPr>
        <p:txBody>
          <a:bodyPr>
            <a:noAutofit/>
          </a:bodyPr>
          <a:lstStyle/>
          <a:p>
            <a:pPr>
              <a:buNone/>
            </a:pPr>
            <a:r>
              <a:rPr lang="en-US" dirty="0"/>
              <a:t>What you will learn/see today:</a:t>
            </a:r>
          </a:p>
          <a:p>
            <a:pPr marL="342900" indent="-342900">
              <a:buFont typeface="Wingdings" panose="05000000000000000000" pitchFamily="2" charset="2"/>
              <a:buChar char="q"/>
            </a:pPr>
            <a:r>
              <a:rPr lang="en-US" sz="1600" dirty="0"/>
              <a:t>Configuration of queues and topic subscriptions in AEM</a:t>
            </a:r>
          </a:p>
          <a:p>
            <a:pPr marL="342900" indent="-342900">
              <a:buFont typeface="Wingdings" panose="05000000000000000000" pitchFamily="2" charset="2"/>
              <a:buChar char="q"/>
            </a:pPr>
            <a:r>
              <a:rPr lang="en-US" sz="1600" dirty="0"/>
              <a:t>Event enabling IFlows in SAP Integration Suite by connecting them to AEM (SMF Protocol)</a:t>
            </a:r>
          </a:p>
          <a:p>
            <a:pPr marL="342900" indent="-342900">
              <a:buFont typeface="Wingdings" panose="05000000000000000000" pitchFamily="2" charset="2"/>
              <a:buChar char="q"/>
            </a:pPr>
            <a:r>
              <a:rPr lang="en-US" sz="1600" dirty="0"/>
              <a:t>Understand how to handle exceptions in Dead Message Queues</a:t>
            </a:r>
          </a:p>
          <a:p>
            <a:pPr marL="342900" indent="-342900">
              <a:buFont typeface="Wingdings" panose="05000000000000000000" pitchFamily="2" charset="2"/>
              <a:buChar char="q"/>
            </a:pPr>
            <a:r>
              <a:rPr lang="en-US" sz="1600" dirty="0"/>
              <a:t>Understand how to use SAP Build Process Automation to review event exceptions (REST Protocol)</a:t>
            </a:r>
          </a:p>
          <a:p>
            <a:pPr marL="342900" indent="-342900">
              <a:buFont typeface="Wingdings" panose="05000000000000000000" pitchFamily="2" charset="2"/>
              <a:buChar char="q"/>
            </a:pPr>
            <a:r>
              <a:rPr lang="en-US" sz="1600" dirty="0"/>
              <a:t>Small outlook on Day 4: Using the brokers APIs to automate configuration and enable CI/CD pipelines</a:t>
            </a:r>
          </a:p>
        </p:txBody>
      </p:sp>
      <p:sp>
        <p:nvSpPr>
          <p:cNvPr id="24" name="Title"/>
          <p:cNvSpPr>
            <a:spLocks noGrp="1"/>
          </p:cNvSpPr>
          <p:nvPr>
            <p:ph type="title"/>
          </p:nvPr>
        </p:nvSpPr>
        <p:spPr bwMode="gray">
          <a:noFill/>
        </p:spPr>
        <p:txBody>
          <a:bodyPr/>
          <a:lstStyle/>
          <a:p>
            <a:r>
              <a:rPr lang="en-US" dirty="0"/>
              <a:t>Goals</a:t>
            </a:r>
          </a:p>
        </p:txBody>
      </p:sp>
    </p:spTree>
    <p:custDataLst>
      <p:custData r:id="rId1"/>
      <p:custData r:id="rId2"/>
    </p:custDataLst>
    <p:extLst>
      <p:ext uri="{BB962C8B-B14F-4D97-AF65-F5344CB8AC3E}">
        <p14:creationId xmlns:p14="http://schemas.microsoft.com/office/powerpoint/2010/main" val="19866657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AC4922A-EDF6-C978-369A-1956BA7C40B6}"/>
              </a:ext>
            </a:extLst>
          </p:cNvPr>
          <p:cNvSpPr>
            <a:spLocks noGrp="1"/>
          </p:cNvSpPr>
          <p:nvPr>
            <p:ph type="title"/>
          </p:nvPr>
        </p:nvSpPr>
        <p:spPr/>
        <p:txBody>
          <a:bodyPr/>
          <a:lstStyle/>
          <a:p>
            <a:r>
              <a:rPr lang="de-DE" dirty="0"/>
              <a:t>SAP TEAM</a:t>
            </a:r>
            <a:endParaRPr lang="en-US" dirty="0"/>
          </a:p>
        </p:txBody>
      </p:sp>
      <p:pic>
        <p:nvPicPr>
          <p:cNvPr id="4" name="Picture 3">
            <a:extLst>
              <a:ext uri="{FF2B5EF4-FFF2-40B4-BE49-F238E27FC236}">
                <a16:creationId xmlns:a16="http://schemas.microsoft.com/office/drawing/2014/main" id="{8C2F716D-685A-42A9-4D41-F95FBB16A097}"/>
              </a:ext>
            </a:extLst>
          </p:cNvPr>
          <p:cNvPicPr>
            <a:picLocks noChangeAspect="1"/>
          </p:cNvPicPr>
          <p:nvPr/>
        </p:nvPicPr>
        <p:blipFill>
          <a:blip r:embed="rId3"/>
          <a:stretch>
            <a:fillRect/>
          </a:stretch>
        </p:blipFill>
        <p:spPr>
          <a:xfrm>
            <a:off x="585013" y="1663087"/>
            <a:ext cx="2278107" cy="2278107"/>
          </a:xfrm>
          <a:prstGeom prst="rect">
            <a:avLst/>
          </a:prstGeom>
        </p:spPr>
      </p:pic>
      <p:sp>
        <p:nvSpPr>
          <p:cNvPr id="6" name="Textfeld 5">
            <a:extLst>
              <a:ext uri="{FF2B5EF4-FFF2-40B4-BE49-F238E27FC236}">
                <a16:creationId xmlns:a16="http://schemas.microsoft.com/office/drawing/2014/main" id="{A827E358-7347-AE60-A471-F1280A9750E3}"/>
              </a:ext>
            </a:extLst>
          </p:cNvPr>
          <p:cNvSpPr txBox="1"/>
          <p:nvPr/>
        </p:nvSpPr>
        <p:spPr>
          <a:xfrm>
            <a:off x="1246960" y="4262024"/>
            <a:ext cx="954212" cy="276999"/>
          </a:xfrm>
          <a:prstGeom prst="rect">
            <a:avLst/>
          </a:prstGeom>
          <a:noFill/>
        </p:spPr>
        <p:txBody>
          <a:bodyPr wrap="square" lIns="0" tIns="0" rIns="0" bIns="0" rtlCol="0">
            <a:spAutoFit/>
          </a:bodyPr>
          <a:lstStyle/>
          <a:p>
            <a:pPr algn="l" fontAlgn="base">
              <a:spcBef>
                <a:spcPct val="50000"/>
              </a:spcBef>
              <a:spcAft>
                <a:spcPct val="0"/>
              </a:spcAft>
              <a:buClr>
                <a:schemeClr val="tx1"/>
              </a:buClr>
              <a:buSzPct val="100000"/>
            </a:pPr>
            <a:r>
              <a:rPr lang="en-US" sz="1800" kern="0" dirty="0">
                <a:latin typeface="72 Brand" panose="020B0504030603020204" pitchFamily="34" charset="0"/>
                <a:ea typeface="Arial Unicode MS" pitchFamily="34" charset="-128"/>
                <a:cs typeface="Arial Unicode MS" pitchFamily="34" charset="-128"/>
              </a:rPr>
              <a:t>Alex </a:t>
            </a:r>
            <a:r>
              <a:rPr lang="en-US" sz="1800" kern="0" dirty="0" err="1">
                <a:latin typeface="72 Brand" panose="020B0504030603020204" pitchFamily="34" charset="0"/>
                <a:ea typeface="Arial Unicode MS" pitchFamily="34" charset="-128"/>
                <a:cs typeface="Arial Unicode MS" pitchFamily="34" charset="-128"/>
              </a:rPr>
              <a:t>Pfeil</a:t>
            </a:r>
            <a:endParaRPr lang="en-US" sz="1800" kern="0" dirty="0">
              <a:latin typeface="72 Brand" panose="020B0504030603020204" pitchFamily="34" charset="0"/>
              <a:ea typeface="Arial Unicode MS" pitchFamily="34" charset="-128"/>
              <a:cs typeface="Arial Unicode MS" pitchFamily="34" charset="-128"/>
            </a:endParaRPr>
          </a:p>
        </p:txBody>
      </p:sp>
      <p:pic>
        <p:nvPicPr>
          <p:cNvPr id="8" name="Picture 7">
            <a:extLst>
              <a:ext uri="{FF2B5EF4-FFF2-40B4-BE49-F238E27FC236}">
                <a16:creationId xmlns:a16="http://schemas.microsoft.com/office/drawing/2014/main" id="{0914704B-7091-FF18-1836-A0241E6F3245}"/>
              </a:ext>
            </a:extLst>
          </p:cNvPr>
          <p:cNvPicPr>
            <a:picLocks noChangeAspect="1"/>
          </p:cNvPicPr>
          <p:nvPr/>
        </p:nvPicPr>
        <p:blipFill>
          <a:blip r:embed="rId4"/>
          <a:stretch>
            <a:fillRect/>
          </a:stretch>
        </p:blipFill>
        <p:spPr>
          <a:xfrm>
            <a:off x="3823693" y="1432135"/>
            <a:ext cx="1889999" cy="2519680"/>
          </a:xfrm>
          <a:prstGeom prst="rect">
            <a:avLst/>
          </a:prstGeom>
        </p:spPr>
      </p:pic>
      <p:sp>
        <p:nvSpPr>
          <p:cNvPr id="9" name="Textfeld 5">
            <a:extLst>
              <a:ext uri="{FF2B5EF4-FFF2-40B4-BE49-F238E27FC236}">
                <a16:creationId xmlns:a16="http://schemas.microsoft.com/office/drawing/2014/main" id="{A8E6D2A5-9C5D-A661-B371-2A4A8B036DB9}"/>
              </a:ext>
            </a:extLst>
          </p:cNvPr>
          <p:cNvSpPr txBox="1"/>
          <p:nvPr/>
        </p:nvSpPr>
        <p:spPr>
          <a:xfrm>
            <a:off x="4135518" y="4262024"/>
            <a:ext cx="1266347" cy="276999"/>
          </a:xfrm>
          <a:prstGeom prst="rect">
            <a:avLst/>
          </a:prstGeom>
          <a:noFill/>
        </p:spPr>
        <p:txBody>
          <a:bodyPr wrap="square" lIns="0" tIns="0" rIns="0" bIns="0" rtlCol="0">
            <a:spAutoFit/>
          </a:bodyPr>
          <a:lstStyle/>
          <a:p>
            <a:pPr algn="l" fontAlgn="base">
              <a:spcBef>
                <a:spcPct val="50000"/>
              </a:spcBef>
              <a:spcAft>
                <a:spcPct val="0"/>
              </a:spcAft>
              <a:buClr>
                <a:schemeClr val="tx1"/>
              </a:buClr>
              <a:buSzPct val="100000"/>
            </a:pPr>
            <a:r>
              <a:rPr lang="en-US" sz="1800" kern="0" dirty="0">
                <a:latin typeface="72 Brand" panose="020B0504030603020204" pitchFamily="34" charset="0"/>
                <a:ea typeface="Arial Unicode MS" pitchFamily="34" charset="-128"/>
                <a:cs typeface="Arial Unicode MS" pitchFamily="34" charset="-128"/>
              </a:rPr>
              <a:t>Erik Heinrich</a:t>
            </a:r>
          </a:p>
        </p:txBody>
      </p:sp>
      <p:pic>
        <p:nvPicPr>
          <p:cNvPr id="10" name="Picture 9">
            <a:extLst>
              <a:ext uri="{FF2B5EF4-FFF2-40B4-BE49-F238E27FC236}">
                <a16:creationId xmlns:a16="http://schemas.microsoft.com/office/drawing/2014/main" id="{4F367F08-78B5-2C46-D845-B57F9785256F}"/>
              </a:ext>
            </a:extLst>
          </p:cNvPr>
          <p:cNvPicPr>
            <a:picLocks noChangeAspect="1"/>
          </p:cNvPicPr>
          <p:nvPr/>
        </p:nvPicPr>
        <p:blipFill>
          <a:blip r:embed="rId5"/>
          <a:srcRect l="6600" r="10436"/>
          <a:stretch/>
        </p:blipFill>
        <p:spPr>
          <a:xfrm>
            <a:off x="6674265" y="1432135"/>
            <a:ext cx="1915616" cy="2519680"/>
          </a:xfrm>
          <a:prstGeom prst="rect">
            <a:avLst/>
          </a:prstGeom>
        </p:spPr>
      </p:pic>
      <p:pic>
        <p:nvPicPr>
          <p:cNvPr id="12" name="Picture 11">
            <a:extLst>
              <a:ext uri="{FF2B5EF4-FFF2-40B4-BE49-F238E27FC236}">
                <a16:creationId xmlns:a16="http://schemas.microsoft.com/office/drawing/2014/main" id="{07D51734-CE1A-EF84-51FC-187B4C533E7D}"/>
              </a:ext>
            </a:extLst>
          </p:cNvPr>
          <p:cNvPicPr>
            <a:picLocks noChangeAspect="1"/>
          </p:cNvPicPr>
          <p:nvPr/>
        </p:nvPicPr>
        <p:blipFill>
          <a:blip r:embed="rId6"/>
          <a:stretch>
            <a:fillRect/>
          </a:stretch>
        </p:blipFill>
        <p:spPr>
          <a:xfrm>
            <a:off x="9550454" y="1432135"/>
            <a:ext cx="2065345" cy="2509059"/>
          </a:xfrm>
          <a:prstGeom prst="rect">
            <a:avLst/>
          </a:prstGeom>
        </p:spPr>
      </p:pic>
      <p:sp>
        <p:nvSpPr>
          <p:cNvPr id="13" name="Textfeld 5">
            <a:extLst>
              <a:ext uri="{FF2B5EF4-FFF2-40B4-BE49-F238E27FC236}">
                <a16:creationId xmlns:a16="http://schemas.microsoft.com/office/drawing/2014/main" id="{4139AE6A-F3FB-2269-1412-A3DAE01668AA}"/>
              </a:ext>
            </a:extLst>
          </p:cNvPr>
          <p:cNvSpPr txBox="1"/>
          <p:nvPr/>
        </p:nvSpPr>
        <p:spPr>
          <a:xfrm>
            <a:off x="10015557" y="4267897"/>
            <a:ext cx="1135137" cy="276999"/>
          </a:xfrm>
          <a:prstGeom prst="rect">
            <a:avLst/>
          </a:prstGeom>
          <a:noFill/>
        </p:spPr>
        <p:txBody>
          <a:bodyPr wrap="square" lIns="0" tIns="0" rIns="0" bIns="0" rtlCol="0">
            <a:spAutoFit/>
          </a:bodyPr>
          <a:lstStyle/>
          <a:p>
            <a:pPr algn="l" fontAlgn="base">
              <a:spcBef>
                <a:spcPct val="50000"/>
              </a:spcBef>
              <a:spcAft>
                <a:spcPct val="0"/>
              </a:spcAft>
              <a:buClr>
                <a:schemeClr val="tx1"/>
              </a:buClr>
              <a:buSzPct val="100000"/>
            </a:pPr>
            <a:r>
              <a:rPr lang="en-US" sz="1800" kern="0" dirty="0">
                <a:latin typeface="72 Brand" panose="020B0504030603020204" pitchFamily="34" charset="0"/>
                <a:ea typeface="Arial Unicode MS" pitchFamily="34" charset="-128"/>
                <a:cs typeface="Arial Unicode MS" pitchFamily="34" charset="-128"/>
              </a:rPr>
              <a:t>Nils Lorenz</a:t>
            </a:r>
          </a:p>
        </p:txBody>
      </p:sp>
      <p:sp>
        <p:nvSpPr>
          <p:cNvPr id="14" name="Textfeld 5">
            <a:extLst>
              <a:ext uri="{FF2B5EF4-FFF2-40B4-BE49-F238E27FC236}">
                <a16:creationId xmlns:a16="http://schemas.microsoft.com/office/drawing/2014/main" id="{3C4A7A86-8E40-3A76-F4EE-8098499D1444}"/>
              </a:ext>
            </a:extLst>
          </p:cNvPr>
          <p:cNvSpPr txBox="1"/>
          <p:nvPr/>
        </p:nvSpPr>
        <p:spPr>
          <a:xfrm>
            <a:off x="7064504" y="4262025"/>
            <a:ext cx="1135137" cy="276999"/>
          </a:xfrm>
          <a:prstGeom prst="rect">
            <a:avLst/>
          </a:prstGeom>
          <a:noFill/>
        </p:spPr>
        <p:txBody>
          <a:bodyPr wrap="square" lIns="0" tIns="0" rIns="0" bIns="0" rtlCol="0">
            <a:spAutoFit/>
          </a:bodyPr>
          <a:lstStyle/>
          <a:p>
            <a:pPr algn="l" fontAlgn="base">
              <a:spcBef>
                <a:spcPct val="50000"/>
              </a:spcBef>
              <a:spcAft>
                <a:spcPct val="0"/>
              </a:spcAft>
              <a:buClr>
                <a:schemeClr val="tx1"/>
              </a:buClr>
              <a:buSzPct val="100000"/>
            </a:pPr>
            <a:r>
              <a:rPr lang="en-US" sz="1800" kern="0" dirty="0">
                <a:latin typeface="72 Brand" panose="020B0504030603020204" pitchFamily="34" charset="0"/>
                <a:ea typeface="Arial Unicode MS" pitchFamily="34" charset="-128"/>
                <a:cs typeface="Arial Unicode MS" pitchFamily="34" charset="-128"/>
              </a:rPr>
              <a:t>Timo Maier</a:t>
            </a:r>
          </a:p>
        </p:txBody>
      </p:sp>
    </p:spTree>
    <p:extLst>
      <p:ext uri="{BB962C8B-B14F-4D97-AF65-F5344CB8AC3E}">
        <p14:creationId xmlns:p14="http://schemas.microsoft.com/office/powerpoint/2010/main" val="508763584"/>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39B8BF-B54F-6D93-9EDD-0168FB52AFAA}"/>
              </a:ext>
            </a:extLst>
          </p:cNvPr>
          <p:cNvSpPr>
            <a:spLocks noGrp="1"/>
          </p:cNvSpPr>
          <p:nvPr>
            <p:ph type="title"/>
          </p:nvPr>
        </p:nvSpPr>
        <p:spPr>
          <a:xfrm>
            <a:off x="504001" y="504000"/>
            <a:ext cx="11186476" cy="677108"/>
          </a:xfrm>
        </p:spPr>
        <p:txBody>
          <a:bodyPr/>
          <a:lstStyle/>
          <a:p>
            <a:r>
              <a:rPr lang="en-US" noProof="0" dirty="0">
                <a:sym typeface="72" panose="020B0503030000000003" pitchFamily="34" charset="0"/>
              </a:rPr>
              <a:t>SAP Integration Suite</a:t>
            </a:r>
            <a:br>
              <a:rPr lang="en-US" noProof="0" dirty="0"/>
            </a:br>
            <a:r>
              <a:rPr lang="en-US" sz="2000" noProof="0" dirty="0">
                <a:latin typeface="72 Brand" panose="020B0504030603020204" pitchFamily="34" charset="0"/>
                <a:sym typeface="72" panose="020B0503030000000003" pitchFamily="34" charset="0"/>
              </a:rPr>
              <a:t>SAP’s hybrid integration </a:t>
            </a:r>
            <a:r>
              <a:rPr lang="en-US" sz="2000" dirty="0">
                <a:latin typeface="72 Brand" panose="020B0504030603020204" pitchFamily="34" charset="0"/>
                <a:sym typeface="72" panose="020B0503030000000003" pitchFamily="34" charset="0"/>
              </a:rPr>
              <a:t>platform for</a:t>
            </a:r>
            <a:r>
              <a:rPr lang="en-US" sz="2000" noProof="0" dirty="0">
                <a:latin typeface="72 Brand" panose="020B0504030603020204" pitchFamily="34" charset="0"/>
                <a:sym typeface="72" panose="020B0503030000000003" pitchFamily="34" charset="0"/>
              </a:rPr>
              <a:t> the Intelligent Enterprise</a:t>
            </a:r>
            <a:endParaRPr lang="en-US" dirty="0">
              <a:latin typeface="72 Brand" panose="020B0504030603020204" pitchFamily="34" charset="0"/>
            </a:endParaRPr>
          </a:p>
        </p:txBody>
      </p:sp>
      <p:sp>
        <p:nvSpPr>
          <p:cNvPr id="54" name="Shape 2158">
            <a:extLst>
              <a:ext uri="{FF2B5EF4-FFF2-40B4-BE49-F238E27FC236}">
                <a16:creationId xmlns:a16="http://schemas.microsoft.com/office/drawing/2014/main" id="{B604C2D5-2AD2-E43A-2944-2CD014F0C906}"/>
              </a:ext>
            </a:extLst>
          </p:cNvPr>
          <p:cNvSpPr/>
          <p:nvPr/>
        </p:nvSpPr>
        <p:spPr bwMode="gray">
          <a:xfrm>
            <a:off x="2744064" y="5251059"/>
            <a:ext cx="3390966" cy="1027030"/>
          </a:xfrm>
          <a:prstGeom prst="roundRect">
            <a:avLst>
              <a:gd name="adj" fmla="val 9893"/>
            </a:avLst>
          </a:prstGeom>
          <a:solidFill>
            <a:schemeClr val="bg1">
              <a:lumMod val="95000"/>
            </a:schemeClr>
          </a:solidFill>
          <a:ln w="6350">
            <a:noFill/>
            <a:round/>
            <a:headEnd/>
            <a:tailEnd/>
          </a:ln>
        </p:spPr>
        <p:txBody>
          <a:bodyPr vert="horz" wrap="square" lIns="91344" tIns="45672" rIns="91344" bIns="45672" numCol="1" anchor="t" anchorCtr="0" compatLnSpc="1">
            <a:prstTxWarp prst="textNoShape">
              <a:avLst/>
            </a:prstTxWarp>
          </a:bodyPr>
          <a:lstStyle/>
          <a:p>
            <a:pPr marL="0" marR="0" lvl="0" indent="0" algn="l" defTabSz="1087479" rtl="0" eaLnBrk="1" fontAlgn="auto" latinLnBrk="0" hangingPunct="1">
              <a:lnSpc>
                <a:spcPct val="100000"/>
              </a:lnSpc>
              <a:spcBef>
                <a:spcPts val="0"/>
              </a:spcBef>
              <a:spcAft>
                <a:spcPts val="0"/>
              </a:spcAft>
              <a:buClrTx/>
              <a:buSzTx/>
              <a:buFontTx/>
              <a:buNone/>
              <a:tabLst/>
              <a:defRPr/>
            </a:pPr>
            <a:endParaRPr kumimoji="0" lang="en-US" sz="2096" b="0" i="0" u="none" strike="noStrike" kern="0" cap="none" spc="0" normalizeH="0" baseline="0" noProof="0">
              <a:ln>
                <a:noFill/>
              </a:ln>
              <a:solidFill>
                <a:srgbClr val="000000"/>
              </a:solidFill>
              <a:effectLst/>
              <a:uLnTx/>
              <a:uFillTx/>
              <a:latin typeface="72 Brand" panose="020B0504030603020204" pitchFamily="34" charset="0"/>
              <a:ea typeface="+mn-ea"/>
              <a:cs typeface="72" panose="020B0503030000000003" pitchFamily="34" charset="0"/>
              <a:sym typeface="Arial"/>
            </a:endParaRPr>
          </a:p>
        </p:txBody>
      </p:sp>
      <p:sp>
        <p:nvSpPr>
          <p:cNvPr id="125" name="Freeform 7">
            <a:extLst>
              <a:ext uri="{FF2B5EF4-FFF2-40B4-BE49-F238E27FC236}">
                <a16:creationId xmlns:a16="http://schemas.microsoft.com/office/drawing/2014/main" id="{29D56E62-09B4-42FD-637E-D6139ABDBB3B}"/>
              </a:ext>
            </a:extLst>
          </p:cNvPr>
          <p:cNvSpPr>
            <a:spLocks/>
          </p:cNvSpPr>
          <p:nvPr/>
        </p:nvSpPr>
        <p:spPr bwMode="auto">
          <a:xfrm>
            <a:off x="2685355" y="1565866"/>
            <a:ext cx="6620477" cy="3781811"/>
          </a:xfrm>
          <a:custGeom>
            <a:avLst/>
            <a:gdLst>
              <a:gd name="T0" fmla="*/ 13637 w 15733"/>
              <a:gd name="T1" fmla="*/ 2603 h 7288"/>
              <a:gd name="T2" fmla="*/ 14701 w 15733"/>
              <a:gd name="T3" fmla="*/ 3973 h 7288"/>
              <a:gd name="T4" fmla="*/ 15431 w 15733"/>
              <a:gd name="T5" fmla="*/ 7288 h 7288"/>
              <a:gd name="T6" fmla="*/ 281 w 15733"/>
              <a:gd name="T7" fmla="*/ 7288 h 7288"/>
              <a:gd name="T8" fmla="*/ 865 w 15733"/>
              <a:gd name="T9" fmla="*/ 4154 h 7288"/>
              <a:gd name="T10" fmla="*/ 916 w 15733"/>
              <a:gd name="T11" fmla="*/ 4088 h 7288"/>
              <a:gd name="T12" fmla="*/ 2090 w 15733"/>
              <a:gd name="T13" fmla="*/ 2573 h 7288"/>
              <a:gd name="T14" fmla="*/ 5460 w 15733"/>
              <a:gd name="T15" fmla="*/ 606 h 7288"/>
              <a:gd name="T16" fmla="*/ 5685 w 15733"/>
              <a:gd name="T17" fmla="*/ 613 h 7288"/>
              <a:gd name="T18" fmla="*/ 8020 w 15733"/>
              <a:gd name="T19" fmla="*/ 27 h 7288"/>
              <a:gd name="T20" fmla="*/ 10026 w 15733"/>
              <a:gd name="T21" fmla="*/ 616 h 7288"/>
              <a:gd name="T22" fmla="*/ 12433 w 15733"/>
              <a:gd name="T23" fmla="*/ 1284 h 7288"/>
              <a:gd name="T24" fmla="*/ 12492 w 15733"/>
              <a:gd name="T25" fmla="*/ 1325 h 7288"/>
              <a:gd name="T26" fmla="*/ 13637 w 15733"/>
              <a:gd name="T27" fmla="*/ 2603 h 7288"/>
              <a:gd name="connsiteX0" fmla="*/ 8570 w 9787"/>
              <a:gd name="connsiteY0" fmla="*/ 3539 h 9992"/>
              <a:gd name="connsiteX1" fmla="*/ 9246 w 9787"/>
              <a:gd name="connsiteY1" fmla="*/ 5418 h 9992"/>
              <a:gd name="connsiteX2" fmla="*/ 9710 w 9787"/>
              <a:gd name="connsiteY2" fmla="*/ 9967 h 9992"/>
              <a:gd name="connsiteX3" fmla="*/ 5044 w 9787"/>
              <a:gd name="connsiteY3" fmla="*/ 9992 h 9992"/>
              <a:gd name="connsiteX4" fmla="*/ 81 w 9787"/>
              <a:gd name="connsiteY4" fmla="*/ 9967 h 9992"/>
              <a:gd name="connsiteX5" fmla="*/ 452 w 9787"/>
              <a:gd name="connsiteY5" fmla="*/ 5667 h 9992"/>
              <a:gd name="connsiteX6" fmla="*/ 484 w 9787"/>
              <a:gd name="connsiteY6" fmla="*/ 5576 h 9992"/>
              <a:gd name="connsiteX7" fmla="*/ 1230 w 9787"/>
              <a:gd name="connsiteY7" fmla="*/ 3497 h 9992"/>
              <a:gd name="connsiteX8" fmla="*/ 3372 w 9787"/>
              <a:gd name="connsiteY8" fmla="*/ 799 h 9992"/>
              <a:gd name="connsiteX9" fmla="*/ 3515 w 9787"/>
              <a:gd name="connsiteY9" fmla="*/ 808 h 9992"/>
              <a:gd name="connsiteX10" fmla="*/ 5000 w 9787"/>
              <a:gd name="connsiteY10" fmla="*/ 4 h 9992"/>
              <a:gd name="connsiteX11" fmla="*/ 6275 w 9787"/>
              <a:gd name="connsiteY11" fmla="*/ 812 h 9992"/>
              <a:gd name="connsiteX12" fmla="*/ 7804 w 9787"/>
              <a:gd name="connsiteY12" fmla="*/ 1729 h 9992"/>
              <a:gd name="connsiteX13" fmla="*/ 7842 w 9787"/>
              <a:gd name="connsiteY13" fmla="*/ 1785 h 9992"/>
              <a:gd name="connsiteX14" fmla="*/ 8570 w 9787"/>
              <a:gd name="connsiteY14" fmla="*/ 3539 h 9992"/>
              <a:gd name="connsiteX0" fmla="*/ 5154 w 10000"/>
              <a:gd name="connsiteY0" fmla="*/ 10000 h 10313"/>
              <a:gd name="connsiteX1" fmla="*/ 83 w 10000"/>
              <a:gd name="connsiteY1" fmla="*/ 9975 h 10313"/>
              <a:gd name="connsiteX2" fmla="*/ 462 w 10000"/>
              <a:gd name="connsiteY2" fmla="*/ 5672 h 10313"/>
              <a:gd name="connsiteX3" fmla="*/ 495 w 10000"/>
              <a:gd name="connsiteY3" fmla="*/ 5580 h 10313"/>
              <a:gd name="connsiteX4" fmla="*/ 1257 w 10000"/>
              <a:gd name="connsiteY4" fmla="*/ 3500 h 10313"/>
              <a:gd name="connsiteX5" fmla="*/ 3445 w 10000"/>
              <a:gd name="connsiteY5" fmla="*/ 800 h 10313"/>
              <a:gd name="connsiteX6" fmla="*/ 3591 w 10000"/>
              <a:gd name="connsiteY6" fmla="*/ 809 h 10313"/>
              <a:gd name="connsiteX7" fmla="*/ 5109 w 10000"/>
              <a:gd name="connsiteY7" fmla="*/ 4 h 10313"/>
              <a:gd name="connsiteX8" fmla="*/ 6412 w 10000"/>
              <a:gd name="connsiteY8" fmla="*/ 813 h 10313"/>
              <a:gd name="connsiteX9" fmla="*/ 7974 w 10000"/>
              <a:gd name="connsiteY9" fmla="*/ 1730 h 10313"/>
              <a:gd name="connsiteX10" fmla="*/ 8013 w 10000"/>
              <a:gd name="connsiteY10" fmla="*/ 1786 h 10313"/>
              <a:gd name="connsiteX11" fmla="*/ 8757 w 10000"/>
              <a:gd name="connsiteY11" fmla="*/ 3542 h 10313"/>
              <a:gd name="connsiteX12" fmla="*/ 9447 w 10000"/>
              <a:gd name="connsiteY12" fmla="*/ 5422 h 10313"/>
              <a:gd name="connsiteX13" fmla="*/ 9921 w 10000"/>
              <a:gd name="connsiteY13" fmla="*/ 9975 h 10313"/>
              <a:gd name="connsiteX14" fmla="*/ 5302 w 10000"/>
              <a:gd name="connsiteY14" fmla="*/ 10313 h 10313"/>
              <a:gd name="connsiteX0" fmla="*/ 5154 w 10000"/>
              <a:gd name="connsiteY0" fmla="*/ 10000 h 10000"/>
              <a:gd name="connsiteX1" fmla="*/ 83 w 10000"/>
              <a:gd name="connsiteY1" fmla="*/ 9975 h 10000"/>
              <a:gd name="connsiteX2" fmla="*/ 462 w 10000"/>
              <a:gd name="connsiteY2" fmla="*/ 5672 h 10000"/>
              <a:gd name="connsiteX3" fmla="*/ 495 w 10000"/>
              <a:gd name="connsiteY3" fmla="*/ 5580 h 10000"/>
              <a:gd name="connsiteX4" fmla="*/ 1257 w 10000"/>
              <a:gd name="connsiteY4" fmla="*/ 3500 h 10000"/>
              <a:gd name="connsiteX5" fmla="*/ 3445 w 10000"/>
              <a:gd name="connsiteY5" fmla="*/ 800 h 10000"/>
              <a:gd name="connsiteX6" fmla="*/ 3591 w 10000"/>
              <a:gd name="connsiteY6" fmla="*/ 809 h 10000"/>
              <a:gd name="connsiteX7" fmla="*/ 5109 w 10000"/>
              <a:gd name="connsiteY7" fmla="*/ 4 h 10000"/>
              <a:gd name="connsiteX8" fmla="*/ 6412 w 10000"/>
              <a:gd name="connsiteY8" fmla="*/ 813 h 10000"/>
              <a:gd name="connsiteX9" fmla="*/ 7974 w 10000"/>
              <a:gd name="connsiteY9" fmla="*/ 1730 h 10000"/>
              <a:gd name="connsiteX10" fmla="*/ 8013 w 10000"/>
              <a:gd name="connsiteY10" fmla="*/ 1786 h 10000"/>
              <a:gd name="connsiteX11" fmla="*/ 8757 w 10000"/>
              <a:gd name="connsiteY11" fmla="*/ 3542 h 10000"/>
              <a:gd name="connsiteX12" fmla="*/ 9447 w 10000"/>
              <a:gd name="connsiteY12" fmla="*/ 5422 h 10000"/>
              <a:gd name="connsiteX13" fmla="*/ 9921 w 10000"/>
              <a:gd name="connsiteY13" fmla="*/ 9975 h 10000"/>
              <a:gd name="connsiteX0" fmla="*/ 83 w 10000"/>
              <a:gd name="connsiteY0" fmla="*/ 9975 h 9975"/>
              <a:gd name="connsiteX1" fmla="*/ 462 w 10000"/>
              <a:gd name="connsiteY1" fmla="*/ 5672 h 9975"/>
              <a:gd name="connsiteX2" fmla="*/ 495 w 10000"/>
              <a:gd name="connsiteY2" fmla="*/ 5580 h 9975"/>
              <a:gd name="connsiteX3" fmla="*/ 1257 w 10000"/>
              <a:gd name="connsiteY3" fmla="*/ 3500 h 9975"/>
              <a:gd name="connsiteX4" fmla="*/ 3445 w 10000"/>
              <a:gd name="connsiteY4" fmla="*/ 800 h 9975"/>
              <a:gd name="connsiteX5" fmla="*/ 3591 w 10000"/>
              <a:gd name="connsiteY5" fmla="*/ 809 h 9975"/>
              <a:gd name="connsiteX6" fmla="*/ 5109 w 10000"/>
              <a:gd name="connsiteY6" fmla="*/ 4 h 9975"/>
              <a:gd name="connsiteX7" fmla="*/ 6412 w 10000"/>
              <a:gd name="connsiteY7" fmla="*/ 813 h 9975"/>
              <a:gd name="connsiteX8" fmla="*/ 7974 w 10000"/>
              <a:gd name="connsiteY8" fmla="*/ 1730 h 9975"/>
              <a:gd name="connsiteX9" fmla="*/ 8013 w 10000"/>
              <a:gd name="connsiteY9" fmla="*/ 1786 h 9975"/>
              <a:gd name="connsiteX10" fmla="*/ 8757 w 10000"/>
              <a:gd name="connsiteY10" fmla="*/ 3542 h 9975"/>
              <a:gd name="connsiteX11" fmla="*/ 9447 w 10000"/>
              <a:gd name="connsiteY11" fmla="*/ 5422 h 9975"/>
              <a:gd name="connsiteX12" fmla="*/ 9921 w 10000"/>
              <a:gd name="connsiteY12" fmla="*/ 9975 h 9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000" h="9975">
                <a:moveTo>
                  <a:pt x="83" y="9975"/>
                </a:moveTo>
                <a:cubicBezTo>
                  <a:pt x="-100" y="8493"/>
                  <a:pt x="20" y="6950"/>
                  <a:pt x="462" y="5672"/>
                </a:cubicBezTo>
                <a:cubicBezTo>
                  <a:pt x="473" y="5639"/>
                  <a:pt x="483" y="5610"/>
                  <a:pt x="495" y="5580"/>
                </a:cubicBezTo>
                <a:cubicBezTo>
                  <a:pt x="623" y="4687"/>
                  <a:pt x="893" y="3970"/>
                  <a:pt x="1257" y="3500"/>
                </a:cubicBezTo>
                <a:cubicBezTo>
                  <a:pt x="1718" y="1852"/>
                  <a:pt x="2504" y="800"/>
                  <a:pt x="3445" y="800"/>
                </a:cubicBezTo>
                <a:cubicBezTo>
                  <a:pt x="3495" y="800"/>
                  <a:pt x="3543" y="802"/>
                  <a:pt x="3591" y="809"/>
                </a:cubicBezTo>
                <a:cubicBezTo>
                  <a:pt x="4044" y="210"/>
                  <a:pt x="4538" y="-33"/>
                  <a:pt x="5109" y="4"/>
                </a:cubicBezTo>
                <a:cubicBezTo>
                  <a:pt x="5597" y="34"/>
                  <a:pt x="6022" y="296"/>
                  <a:pt x="6412" y="813"/>
                </a:cubicBezTo>
                <a:cubicBezTo>
                  <a:pt x="6963" y="736"/>
                  <a:pt x="7493" y="1051"/>
                  <a:pt x="7974" y="1730"/>
                </a:cubicBezTo>
                <a:cubicBezTo>
                  <a:pt x="7988" y="1749"/>
                  <a:pt x="7999" y="1765"/>
                  <a:pt x="8013" y="1786"/>
                </a:cubicBezTo>
                <a:cubicBezTo>
                  <a:pt x="8329" y="2285"/>
                  <a:pt x="8572" y="2850"/>
                  <a:pt x="8757" y="3542"/>
                </a:cubicBezTo>
                <a:cubicBezTo>
                  <a:pt x="9075" y="3992"/>
                  <a:pt x="9320" y="4660"/>
                  <a:pt x="9447" y="5422"/>
                </a:cubicBezTo>
                <a:cubicBezTo>
                  <a:pt x="9944" y="6687"/>
                  <a:pt x="10118" y="8393"/>
                  <a:pt x="9921" y="9975"/>
                </a:cubicBezTo>
              </a:path>
            </a:pathLst>
          </a:custGeom>
          <a:solidFill>
            <a:schemeClr val="bg1">
              <a:lumMod val="95000"/>
            </a:schemeClr>
          </a:solidFill>
          <a:ln w="6350">
            <a:noFill/>
            <a:round/>
            <a:headEnd/>
            <a:tailEnd/>
          </a:ln>
        </p:spPr>
        <p:txBody>
          <a:bodyPr vert="horz" wrap="square" lIns="91344" tIns="45672" rIns="91344" bIns="45672" numCol="1" anchor="t" anchorCtr="0" compatLnSpc="1">
            <a:prstTxWarp prst="textNoShape">
              <a:avLst/>
            </a:prstTxWarp>
          </a:bodyPr>
          <a:lstStyle/>
          <a:p>
            <a:pPr marL="0" marR="0" lvl="0" indent="0" algn="l" defTabSz="1087479" rtl="0" eaLnBrk="1" fontAlgn="auto" latinLnBrk="0" hangingPunct="1">
              <a:lnSpc>
                <a:spcPct val="100000"/>
              </a:lnSpc>
              <a:spcBef>
                <a:spcPts val="0"/>
              </a:spcBef>
              <a:spcAft>
                <a:spcPts val="0"/>
              </a:spcAft>
              <a:buClrTx/>
              <a:buSzTx/>
              <a:buFontTx/>
              <a:buNone/>
              <a:tabLst/>
              <a:defRPr/>
            </a:pPr>
            <a:endParaRPr kumimoji="0" lang="en-US" sz="2096" b="0" i="0" u="none" strike="noStrike" kern="0" cap="none" spc="0" normalizeH="0" baseline="0" noProof="0">
              <a:ln>
                <a:noFill/>
              </a:ln>
              <a:solidFill>
                <a:srgbClr val="000000"/>
              </a:solidFill>
              <a:effectLst/>
              <a:uLnTx/>
              <a:uFillTx/>
              <a:latin typeface="72 Brand" panose="020B0504030603020204" pitchFamily="34" charset="0"/>
              <a:ea typeface="+mn-ea"/>
              <a:cs typeface="72" panose="020B0503030000000003" pitchFamily="34" charset="0"/>
              <a:sym typeface="Arial"/>
            </a:endParaRPr>
          </a:p>
        </p:txBody>
      </p:sp>
      <p:sp>
        <p:nvSpPr>
          <p:cNvPr id="126" name="Freeform 8">
            <a:extLst>
              <a:ext uri="{FF2B5EF4-FFF2-40B4-BE49-F238E27FC236}">
                <a16:creationId xmlns:a16="http://schemas.microsoft.com/office/drawing/2014/main" id="{6D22FB93-9BD7-9916-9769-B4EB9BAD700C}"/>
              </a:ext>
            </a:extLst>
          </p:cNvPr>
          <p:cNvSpPr>
            <a:spLocks/>
          </p:cNvSpPr>
          <p:nvPr/>
        </p:nvSpPr>
        <p:spPr bwMode="auto">
          <a:xfrm>
            <a:off x="2887584" y="1819485"/>
            <a:ext cx="6218547" cy="3351622"/>
          </a:xfrm>
          <a:custGeom>
            <a:avLst/>
            <a:gdLst>
              <a:gd name="T0" fmla="*/ 12812 w 14797"/>
              <a:gd name="T1" fmla="*/ 2464 h 6821"/>
              <a:gd name="T2" fmla="*/ 13814 w 14797"/>
              <a:gd name="T3" fmla="*/ 3739 h 6821"/>
              <a:gd name="T4" fmla="*/ 14474 w 14797"/>
              <a:gd name="T5" fmla="*/ 6821 h 6821"/>
              <a:gd name="T6" fmla="*/ 292 w 14797"/>
              <a:gd name="T7" fmla="*/ 6821 h 6821"/>
              <a:gd name="T8" fmla="*/ 769 w 14797"/>
              <a:gd name="T9" fmla="*/ 3962 h 6821"/>
              <a:gd name="T10" fmla="*/ 811 w 14797"/>
              <a:gd name="T11" fmla="*/ 3908 h 6821"/>
              <a:gd name="T12" fmla="*/ 864 w 14797"/>
              <a:gd name="T13" fmla="*/ 3845 h 6821"/>
              <a:gd name="T14" fmla="*/ 869 w 14797"/>
              <a:gd name="T15" fmla="*/ 3826 h 6821"/>
              <a:gd name="T16" fmla="*/ 1959 w 14797"/>
              <a:gd name="T17" fmla="*/ 2447 h 6821"/>
              <a:gd name="T18" fmla="*/ 4987 w 14797"/>
              <a:gd name="T19" fmla="*/ 605 h 6821"/>
              <a:gd name="T20" fmla="*/ 5332 w 14797"/>
              <a:gd name="T21" fmla="*/ 625 h 6821"/>
              <a:gd name="T22" fmla="*/ 7533 w 14797"/>
              <a:gd name="T23" fmla="*/ 25 h 6821"/>
              <a:gd name="T24" fmla="*/ 9432 w 14797"/>
              <a:gd name="T25" fmla="*/ 627 h 6821"/>
              <a:gd name="T26" fmla="*/ 11701 w 14797"/>
              <a:gd name="T27" fmla="*/ 1205 h 6821"/>
              <a:gd name="T28" fmla="*/ 11741 w 14797"/>
              <a:gd name="T29" fmla="*/ 1232 h 6821"/>
              <a:gd name="T30" fmla="*/ 12812 w 14797"/>
              <a:gd name="T31" fmla="*/ 2464 h 6821"/>
              <a:gd name="connsiteX0" fmla="*/ 8560 w 9777"/>
              <a:gd name="connsiteY0" fmla="*/ 3579 h 9967"/>
              <a:gd name="connsiteX1" fmla="*/ 9237 w 9777"/>
              <a:gd name="connsiteY1" fmla="*/ 5449 h 9967"/>
              <a:gd name="connsiteX2" fmla="*/ 9683 w 9777"/>
              <a:gd name="connsiteY2" fmla="*/ 9967 h 9967"/>
              <a:gd name="connsiteX3" fmla="*/ 4999 w 9777"/>
              <a:gd name="connsiteY3" fmla="*/ 9956 h 9967"/>
              <a:gd name="connsiteX4" fmla="*/ 98 w 9777"/>
              <a:gd name="connsiteY4" fmla="*/ 9967 h 9967"/>
              <a:gd name="connsiteX5" fmla="*/ 421 w 9777"/>
              <a:gd name="connsiteY5" fmla="*/ 5776 h 9967"/>
              <a:gd name="connsiteX6" fmla="*/ 449 w 9777"/>
              <a:gd name="connsiteY6" fmla="*/ 5696 h 9967"/>
              <a:gd name="connsiteX7" fmla="*/ 485 w 9777"/>
              <a:gd name="connsiteY7" fmla="*/ 5604 h 9967"/>
              <a:gd name="connsiteX8" fmla="*/ 488 w 9777"/>
              <a:gd name="connsiteY8" fmla="*/ 5576 h 9967"/>
              <a:gd name="connsiteX9" fmla="*/ 1225 w 9777"/>
              <a:gd name="connsiteY9" fmla="*/ 3554 h 9967"/>
              <a:gd name="connsiteX10" fmla="*/ 3271 w 9777"/>
              <a:gd name="connsiteY10" fmla="*/ 854 h 9967"/>
              <a:gd name="connsiteX11" fmla="*/ 3504 w 9777"/>
              <a:gd name="connsiteY11" fmla="*/ 883 h 9967"/>
              <a:gd name="connsiteX12" fmla="*/ 4992 w 9777"/>
              <a:gd name="connsiteY12" fmla="*/ 4 h 9967"/>
              <a:gd name="connsiteX13" fmla="*/ 6275 w 9777"/>
              <a:gd name="connsiteY13" fmla="*/ 886 h 9967"/>
              <a:gd name="connsiteX14" fmla="*/ 7809 w 9777"/>
              <a:gd name="connsiteY14" fmla="*/ 1734 h 9967"/>
              <a:gd name="connsiteX15" fmla="*/ 7836 w 9777"/>
              <a:gd name="connsiteY15" fmla="*/ 1773 h 9967"/>
              <a:gd name="connsiteX16" fmla="*/ 8560 w 9777"/>
              <a:gd name="connsiteY16" fmla="*/ 3579 h 9967"/>
              <a:gd name="connsiteX0" fmla="*/ 5113 w 10000"/>
              <a:gd name="connsiteY0" fmla="*/ 9989 h 10324"/>
              <a:gd name="connsiteX1" fmla="*/ 100 w 10000"/>
              <a:gd name="connsiteY1" fmla="*/ 10000 h 10324"/>
              <a:gd name="connsiteX2" fmla="*/ 431 w 10000"/>
              <a:gd name="connsiteY2" fmla="*/ 5795 h 10324"/>
              <a:gd name="connsiteX3" fmla="*/ 459 w 10000"/>
              <a:gd name="connsiteY3" fmla="*/ 5715 h 10324"/>
              <a:gd name="connsiteX4" fmla="*/ 496 w 10000"/>
              <a:gd name="connsiteY4" fmla="*/ 5623 h 10324"/>
              <a:gd name="connsiteX5" fmla="*/ 499 w 10000"/>
              <a:gd name="connsiteY5" fmla="*/ 5594 h 10324"/>
              <a:gd name="connsiteX6" fmla="*/ 1253 w 10000"/>
              <a:gd name="connsiteY6" fmla="*/ 3566 h 10324"/>
              <a:gd name="connsiteX7" fmla="*/ 3346 w 10000"/>
              <a:gd name="connsiteY7" fmla="*/ 857 h 10324"/>
              <a:gd name="connsiteX8" fmla="*/ 3584 w 10000"/>
              <a:gd name="connsiteY8" fmla="*/ 886 h 10324"/>
              <a:gd name="connsiteX9" fmla="*/ 5106 w 10000"/>
              <a:gd name="connsiteY9" fmla="*/ 4 h 10324"/>
              <a:gd name="connsiteX10" fmla="*/ 6418 w 10000"/>
              <a:gd name="connsiteY10" fmla="*/ 889 h 10324"/>
              <a:gd name="connsiteX11" fmla="*/ 7987 w 10000"/>
              <a:gd name="connsiteY11" fmla="*/ 1740 h 10324"/>
              <a:gd name="connsiteX12" fmla="*/ 8015 w 10000"/>
              <a:gd name="connsiteY12" fmla="*/ 1779 h 10324"/>
              <a:gd name="connsiteX13" fmla="*/ 8755 w 10000"/>
              <a:gd name="connsiteY13" fmla="*/ 3591 h 10324"/>
              <a:gd name="connsiteX14" fmla="*/ 9448 w 10000"/>
              <a:gd name="connsiteY14" fmla="*/ 5467 h 10324"/>
              <a:gd name="connsiteX15" fmla="*/ 9904 w 10000"/>
              <a:gd name="connsiteY15" fmla="*/ 10000 h 10324"/>
              <a:gd name="connsiteX16" fmla="*/ 5271 w 10000"/>
              <a:gd name="connsiteY16" fmla="*/ 10324 h 10324"/>
              <a:gd name="connsiteX0" fmla="*/ 5113 w 10000"/>
              <a:gd name="connsiteY0" fmla="*/ 9989 h 10000"/>
              <a:gd name="connsiteX1" fmla="*/ 100 w 10000"/>
              <a:gd name="connsiteY1" fmla="*/ 10000 h 10000"/>
              <a:gd name="connsiteX2" fmla="*/ 431 w 10000"/>
              <a:gd name="connsiteY2" fmla="*/ 5795 h 10000"/>
              <a:gd name="connsiteX3" fmla="*/ 459 w 10000"/>
              <a:gd name="connsiteY3" fmla="*/ 5715 h 10000"/>
              <a:gd name="connsiteX4" fmla="*/ 496 w 10000"/>
              <a:gd name="connsiteY4" fmla="*/ 5623 h 10000"/>
              <a:gd name="connsiteX5" fmla="*/ 499 w 10000"/>
              <a:gd name="connsiteY5" fmla="*/ 5594 h 10000"/>
              <a:gd name="connsiteX6" fmla="*/ 1253 w 10000"/>
              <a:gd name="connsiteY6" fmla="*/ 3566 h 10000"/>
              <a:gd name="connsiteX7" fmla="*/ 3346 w 10000"/>
              <a:gd name="connsiteY7" fmla="*/ 857 h 10000"/>
              <a:gd name="connsiteX8" fmla="*/ 3584 w 10000"/>
              <a:gd name="connsiteY8" fmla="*/ 886 h 10000"/>
              <a:gd name="connsiteX9" fmla="*/ 5106 w 10000"/>
              <a:gd name="connsiteY9" fmla="*/ 4 h 10000"/>
              <a:gd name="connsiteX10" fmla="*/ 6418 w 10000"/>
              <a:gd name="connsiteY10" fmla="*/ 889 h 10000"/>
              <a:gd name="connsiteX11" fmla="*/ 7987 w 10000"/>
              <a:gd name="connsiteY11" fmla="*/ 1740 h 10000"/>
              <a:gd name="connsiteX12" fmla="*/ 8015 w 10000"/>
              <a:gd name="connsiteY12" fmla="*/ 1779 h 10000"/>
              <a:gd name="connsiteX13" fmla="*/ 8755 w 10000"/>
              <a:gd name="connsiteY13" fmla="*/ 3591 h 10000"/>
              <a:gd name="connsiteX14" fmla="*/ 9448 w 10000"/>
              <a:gd name="connsiteY14" fmla="*/ 5467 h 10000"/>
              <a:gd name="connsiteX15" fmla="*/ 9904 w 10000"/>
              <a:gd name="connsiteY15" fmla="*/ 10000 h 10000"/>
              <a:gd name="connsiteX0" fmla="*/ 100 w 10000"/>
              <a:gd name="connsiteY0" fmla="*/ 10000 h 10000"/>
              <a:gd name="connsiteX1" fmla="*/ 431 w 10000"/>
              <a:gd name="connsiteY1" fmla="*/ 5795 h 10000"/>
              <a:gd name="connsiteX2" fmla="*/ 459 w 10000"/>
              <a:gd name="connsiteY2" fmla="*/ 5715 h 10000"/>
              <a:gd name="connsiteX3" fmla="*/ 496 w 10000"/>
              <a:gd name="connsiteY3" fmla="*/ 5623 h 10000"/>
              <a:gd name="connsiteX4" fmla="*/ 499 w 10000"/>
              <a:gd name="connsiteY4" fmla="*/ 5594 h 10000"/>
              <a:gd name="connsiteX5" fmla="*/ 1253 w 10000"/>
              <a:gd name="connsiteY5" fmla="*/ 3566 h 10000"/>
              <a:gd name="connsiteX6" fmla="*/ 3346 w 10000"/>
              <a:gd name="connsiteY6" fmla="*/ 857 h 10000"/>
              <a:gd name="connsiteX7" fmla="*/ 3584 w 10000"/>
              <a:gd name="connsiteY7" fmla="*/ 886 h 10000"/>
              <a:gd name="connsiteX8" fmla="*/ 5106 w 10000"/>
              <a:gd name="connsiteY8" fmla="*/ 4 h 10000"/>
              <a:gd name="connsiteX9" fmla="*/ 6418 w 10000"/>
              <a:gd name="connsiteY9" fmla="*/ 889 h 10000"/>
              <a:gd name="connsiteX10" fmla="*/ 7987 w 10000"/>
              <a:gd name="connsiteY10" fmla="*/ 1740 h 10000"/>
              <a:gd name="connsiteX11" fmla="*/ 8015 w 10000"/>
              <a:gd name="connsiteY11" fmla="*/ 1779 h 10000"/>
              <a:gd name="connsiteX12" fmla="*/ 8755 w 10000"/>
              <a:gd name="connsiteY12" fmla="*/ 3591 h 10000"/>
              <a:gd name="connsiteX13" fmla="*/ 9448 w 10000"/>
              <a:gd name="connsiteY13" fmla="*/ 5467 h 10000"/>
              <a:gd name="connsiteX14" fmla="*/ 9904 w 10000"/>
              <a:gd name="connsiteY14"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0000" h="10000">
                <a:moveTo>
                  <a:pt x="100" y="10000"/>
                </a:moveTo>
                <a:cubicBezTo>
                  <a:pt x="-101" y="8557"/>
                  <a:pt x="1" y="7046"/>
                  <a:pt x="431" y="5795"/>
                </a:cubicBezTo>
                <a:cubicBezTo>
                  <a:pt x="440" y="5765"/>
                  <a:pt x="448" y="5742"/>
                  <a:pt x="459" y="5715"/>
                </a:cubicBezTo>
                <a:cubicBezTo>
                  <a:pt x="472" y="5684"/>
                  <a:pt x="484" y="5654"/>
                  <a:pt x="496" y="5623"/>
                </a:cubicBezTo>
                <a:cubicBezTo>
                  <a:pt x="497" y="5614"/>
                  <a:pt x="498" y="5603"/>
                  <a:pt x="499" y="5594"/>
                </a:cubicBezTo>
                <a:cubicBezTo>
                  <a:pt x="614" y="4694"/>
                  <a:pt x="884" y="3994"/>
                  <a:pt x="1253" y="3566"/>
                </a:cubicBezTo>
                <a:cubicBezTo>
                  <a:pt x="1679" y="1920"/>
                  <a:pt x="2431" y="857"/>
                  <a:pt x="3346" y="857"/>
                </a:cubicBezTo>
                <a:cubicBezTo>
                  <a:pt x="3427" y="857"/>
                  <a:pt x="3506" y="867"/>
                  <a:pt x="3584" y="886"/>
                </a:cubicBezTo>
                <a:cubicBezTo>
                  <a:pt x="4037" y="226"/>
                  <a:pt x="4525" y="-33"/>
                  <a:pt x="5106" y="4"/>
                </a:cubicBezTo>
                <a:cubicBezTo>
                  <a:pt x="5606" y="36"/>
                  <a:pt x="6028" y="318"/>
                  <a:pt x="6418" y="889"/>
                </a:cubicBezTo>
                <a:cubicBezTo>
                  <a:pt x="6975" y="760"/>
                  <a:pt x="7503" y="1052"/>
                  <a:pt x="7987" y="1740"/>
                </a:cubicBezTo>
                <a:cubicBezTo>
                  <a:pt x="7996" y="1753"/>
                  <a:pt x="8005" y="1765"/>
                  <a:pt x="8015" y="1779"/>
                </a:cubicBezTo>
                <a:cubicBezTo>
                  <a:pt x="8341" y="2296"/>
                  <a:pt x="8575" y="2866"/>
                  <a:pt x="8755" y="3591"/>
                </a:cubicBezTo>
                <a:cubicBezTo>
                  <a:pt x="9084" y="4010"/>
                  <a:pt x="9333" y="4690"/>
                  <a:pt x="9448" y="5467"/>
                </a:cubicBezTo>
                <a:cubicBezTo>
                  <a:pt x="9958" y="6706"/>
                  <a:pt x="10127" y="8431"/>
                  <a:pt x="9904" y="10000"/>
                </a:cubicBezTo>
              </a:path>
            </a:pathLst>
          </a:custGeom>
          <a:solidFill>
            <a:schemeClr val="bg1"/>
          </a:solidFill>
          <a:ln w="6350">
            <a:solidFill>
              <a:schemeClr val="bg1">
                <a:lumMod val="50000"/>
                <a:lumOff val="50000"/>
              </a:schemeClr>
            </a:solidFill>
            <a:round/>
            <a:headEnd/>
            <a:tailEnd/>
          </a:ln>
          <a:effectLst>
            <a:outerShdw blurRad="63500" algn="ctr" rotWithShape="0">
              <a:prstClr val="black">
                <a:alpha val="16000"/>
              </a:prstClr>
            </a:outerShdw>
          </a:effectLst>
        </p:spPr>
        <p:txBody>
          <a:bodyPr vert="horz" wrap="square" lIns="91344" tIns="45672" rIns="91344" bIns="45672" numCol="1" anchor="t" anchorCtr="0" compatLnSpc="1">
            <a:prstTxWarp prst="textNoShape">
              <a:avLst/>
            </a:prstTxWarp>
          </a:bodyPr>
          <a:lstStyle/>
          <a:p>
            <a:pPr marL="0" marR="0" lvl="0" indent="0" algn="l" defTabSz="1087479" rtl="0" eaLnBrk="1" fontAlgn="auto" latinLnBrk="0" hangingPunct="1">
              <a:lnSpc>
                <a:spcPct val="100000"/>
              </a:lnSpc>
              <a:spcBef>
                <a:spcPts val="0"/>
              </a:spcBef>
              <a:spcAft>
                <a:spcPts val="0"/>
              </a:spcAft>
              <a:buClrTx/>
              <a:buSzTx/>
              <a:buFontTx/>
              <a:buNone/>
              <a:tabLst/>
              <a:defRPr/>
            </a:pPr>
            <a:endParaRPr kumimoji="0" lang="en-US" sz="2096" b="0" i="0" u="none" strike="noStrike" kern="0" cap="none" spc="0" normalizeH="0" baseline="0" noProof="0">
              <a:ln>
                <a:noFill/>
              </a:ln>
              <a:solidFill>
                <a:srgbClr val="000000"/>
              </a:solidFill>
              <a:effectLst/>
              <a:uLnTx/>
              <a:uFillTx/>
              <a:latin typeface="72 Brand" panose="020B0504030603020204" pitchFamily="34" charset="0"/>
              <a:ea typeface="+mn-ea"/>
              <a:cs typeface="72" panose="020B0503030000000003" pitchFamily="34" charset="0"/>
              <a:sym typeface="Arial"/>
            </a:endParaRPr>
          </a:p>
        </p:txBody>
      </p:sp>
      <p:sp>
        <p:nvSpPr>
          <p:cNvPr id="128" name="Rectangle 11">
            <a:hlinkClick r:id="" action="ppaction://noaction"/>
            <a:extLst>
              <a:ext uri="{FF2B5EF4-FFF2-40B4-BE49-F238E27FC236}">
                <a16:creationId xmlns:a16="http://schemas.microsoft.com/office/drawing/2014/main" id="{6756F45F-0326-4DAC-22A2-224D4F40259F}"/>
              </a:ext>
            </a:extLst>
          </p:cNvPr>
          <p:cNvSpPr/>
          <p:nvPr>
            <p:custDataLst>
              <p:tags r:id="rId1"/>
            </p:custDataLst>
          </p:nvPr>
        </p:nvSpPr>
        <p:spPr bwMode="gray">
          <a:xfrm flipH="1">
            <a:off x="4174985" y="2248819"/>
            <a:ext cx="3600008" cy="556694"/>
          </a:xfrm>
          <a:prstGeom prst="roundRect">
            <a:avLst>
              <a:gd name="adj" fmla="val 0"/>
            </a:avLst>
          </a:prstGeom>
          <a:noFill/>
          <a:ln w="19050" cap="flat" cmpd="sng" algn="ctr">
            <a:no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483703"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1B90FF"/>
                </a:solidFill>
                <a:effectLst/>
                <a:uLnTx/>
                <a:uFillTx/>
                <a:latin typeface="72 Brand"/>
                <a:ea typeface="+mn-ea"/>
                <a:cs typeface="72" panose="020B0503030000000003" pitchFamily="34" charset="0"/>
              </a:rPr>
              <a:t>SAP Business Accelerator Hub</a:t>
            </a:r>
          </a:p>
          <a:p>
            <a:pPr marL="0" marR="0" lvl="0" indent="0" algn="ctr" defTabSz="483703"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000000"/>
                </a:solidFill>
                <a:effectLst/>
                <a:uLnTx/>
                <a:uFillTx/>
                <a:latin typeface="72 Brand"/>
                <a:ea typeface="Arial" charset="0"/>
                <a:cs typeface="72" panose="020B0503030000000003" pitchFamily="34" charset="0"/>
              </a:rPr>
              <a:t>3,450+ prebuilt integrations | </a:t>
            </a:r>
            <a:r>
              <a:rPr lang="en-US" sz="900" kern="0" dirty="0">
                <a:solidFill>
                  <a:srgbClr val="000000"/>
                </a:solidFill>
                <a:latin typeface="72 Brand"/>
                <a:ea typeface="Arial" charset="0"/>
                <a:cs typeface="72" panose="020B0503030000000003" pitchFamily="34" charset="0"/>
              </a:rPr>
              <a:t>4</a:t>
            </a:r>
            <a:r>
              <a:rPr kumimoji="0" lang="en-US" sz="900" b="0" i="0" u="none" strike="noStrike" kern="0" cap="none" spc="0" normalizeH="0" baseline="0" noProof="0" dirty="0">
                <a:ln>
                  <a:noFill/>
                </a:ln>
                <a:solidFill>
                  <a:srgbClr val="000000"/>
                </a:solidFill>
                <a:effectLst/>
                <a:uLnTx/>
                <a:uFillTx/>
                <a:latin typeface="72 Brand"/>
                <a:ea typeface="Arial" charset="0"/>
                <a:cs typeface="72" panose="020B0503030000000003" pitchFamily="34" charset="0"/>
              </a:rPr>
              <a:t>,100+ APIs | 600+ business events |  </a:t>
            </a:r>
            <a:br>
              <a:rPr kumimoji="0" lang="en-US" sz="900" b="0" i="0" u="none" strike="noStrike" kern="0" cap="none" spc="0" normalizeH="0" baseline="0" noProof="0" dirty="0">
                <a:ln>
                  <a:noFill/>
                </a:ln>
                <a:solidFill>
                  <a:srgbClr val="000000"/>
                </a:solidFill>
                <a:effectLst/>
                <a:uLnTx/>
                <a:uFillTx/>
                <a:latin typeface="72 Brand"/>
                <a:ea typeface="Arial" charset="0"/>
                <a:cs typeface="72" panose="020B0503030000000003" pitchFamily="34" charset="0"/>
              </a:rPr>
            </a:br>
            <a:r>
              <a:rPr kumimoji="0" lang="en-US" sz="900" b="0" i="0" u="none" strike="noStrike" kern="0" cap="none" spc="0" normalizeH="0" baseline="0" noProof="0" dirty="0">
                <a:ln>
                  <a:noFill/>
                </a:ln>
                <a:solidFill>
                  <a:srgbClr val="000000"/>
                </a:solidFill>
                <a:effectLst/>
                <a:uLnTx/>
                <a:uFillTx/>
                <a:latin typeface="72 Brand"/>
                <a:ea typeface="Arial" charset="0"/>
                <a:cs typeface="72" panose="020B0503030000000003" pitchFamily="34" charset="0"/>
              </a:rPr>
              <a:t>250+ connectors to SAP and third-party cloud apps</a:t>
            </a:r>
            <a:endParaRPr kumimoji="0" lang="en-US" sz="900" b="0" i="0" u="none" strike="noStrike" kern="0" cap="none" spc="0" normalizeH="0" baseline="0" noProof="0" dirty="0">
              <a:ln>
                <a:noFill/>
              </a:ln>
              <a:solidFill>
                <a:srgbClr val="000000"/>
              </a:solidFill>
              <a:effectLst/>
              <a:uLnTx/>
              <a:uFillTx/>
              <a:latin typeface="72 Brand"/>
              <a:ea typeface="+mn-ea"/>
              <a:cs typeface="72" panose="020B0503030000000003" pitchFamily="34" charset="0"/>
            </a:endParaRPr>
          </a:p>
        </p:txBody>
      </p:sp>
      <p:sp>
        <p:nvSpPr>
          <p:cNvPr id="129" name="Rectangle 20">
            <a:hlinkClick r:id="" action="ppaction://noaction"/>
            <a:extLst>
              <a:ext uri="{FF2B5EF4-FFF2-40B4-BE49-F238E27FC236}">
                <a16:creationId xmlns:a16="http://schemas.microsoft.com/office/drawing/2014/main" id="{55A91979-3C6E-1096-150B-2D34D3C5831F}"/>
              </a:ext>
            </a:extLst>
          </p:cNvPr>
          <p:cNvSpPr/>
          <p:nvPr/>
        </p:nvSpPr>
        <p:spPr bwMode="gray">
          <a:xfrm flipH="1">
            <a:off x="6214651" y="4600235"/>
            <a:ext cx="2549151" cy="538607"/>
          </a:xfrm>
          <a:prstGeom prst="rect">
            <a:avLst/>
          </a:prstGeom>
          <a:noFill/>
          <a:ln w="9525">
            <a:noFill/>
            <a:prstDash val="solid"/>
          </a:ln>
        </p:spPr>
        <p:txBody>
          <a:bodyPr wrap="square" lIns="38099" tIns="38099" rIns="38099" bIns="38099" rtlCol="0" anchor="t" anchorCtr="0">
            <a:spAutoFit/>
          </a:bodyPr>
          <a:lstStyle/>
          <a:p>
            <a:pPr marL="0" marR="0" lvl="0" indent="0" algn="ctr" defTabSz="609348"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000000"/>
                </a:solidFill>
                <a:effectLst/>
                <a:uLnTx/>
                <a:uFillTx/>
                <a:latin typeface="72 Brand"/>
                <a:ea typeface="+mn-ea"/>
                <a:cs typeface="72" panose="020B0503030000000003" pitchFamily="34" charset="0"/>
              </a:rPr>
              <a:t>Migration Assessment</a:t>
            </a:r>
            <a:br>
              <a:rPr kumimoji="0" lang="en-US" sz="1200" b="0" i="0" u="none" strike="noStrike" kern="0" cap="none" spc="0" normalizeH="0" baseline="0" noProof="0">
                <a:ln>
                  <a:noFill/>
                </a:ln>
                <a:solidFill>
                  <a:srgbClr val="000000"/>
                </a:solidFill>
                <a:effectLst/>
                <a:uLnTx/>
                <a:uFillTx/>
                <a:latin typeface="72 Brand" panose="020B0504030603020204" pitchFamily="34" charset="0"/>
                <a:ea typeface="+mn-ea"/>
                <a:cs typeface="72" panose="020B0503030000000003" pitchFamily="34" charset="0"/>
              </a:rPr>
            </a:br>
            <a:r>
              <a:rPr kumimoji="0" lang="en-US" sz="900" b="0" i="0" u="none" strike="noStrike" kern="0" cap="none" spc="0" normalizeH="0" baseline="0" noProof="0">
                <a:ln>
                  <a:noFill/>
                </a:ln>
                <a:solidFill>
                  <a:srgbClr val="000000"/>
                </a:solidFill>
                <a:effectLst/>
                <a:uLnTx/>
                <a:uFillTx/>
                <a:latin typeface="72 Brand"/>
                <a:ea typeface="+mn-ea"/>
                <a:cs typeface="72" panose="020B0503030000000003" pitchFamily="34" charset="0"/>
              </a:rPr>
              <a:t>Migrate and elevate integrations from </a:t>
            </a:r>
            <a:br>
              <a:rPr kumimoji="0" lang="en-US" sz="900" b="0" i="0" u="none" strike="noStrike" kern="0" cap="none" spc="0" normalizeH="0" baseline="0" noProof="0">
                <a:ln>
                  <a:noFill/>
                </a:ln>
                <a:solidFill>
                  <a:srgbClr val="000000"/>
                </a:solidFill>
                <a:effectLst/>
                <a:uLnTx/>
                <a:uFillTx/>
                <a:latin typeface="72 Brand"/>
                <a:ea typeface="+mn-ea"/>
                <a:cs typeface="72" panose="020B0503030000000003" pitchFamily="34" charset="0"/>
              </a:rPr>
            </a:br>
            <a:r>
              <a:rPr kumimoji="0" lang="en-US" sz="900" b="0" i="0" u="none" strike="noStrike" kern="0" cap="none" spc="0" normalizeH="0" baseline="0" noProof="0">
                <a:ln>
                  <a:noFill/>
                </a:ln>
                <a:solidFill>
                  <a:srgbClr val="000000"/>
                </a:solidFill>
                <a:effectLst/>
                <a:uLnTx/>
                <a:uFillTx/>
                <a:latin typeface="72 Brand"/>
                <a:ea typeface="+mn-ea"/>
                <a:cs typeface="72" panose="020B0503030000000003" pitchFamily="34" charset="0"/>
              </a:rPr>
              <a:t>SAP Process Orchestration software to the cloud</a:t>
            </a:r>
            <a:endParaRPr kumimoji="0" lang="en-US" sz="2100" b="0" i="0" u="none" strike="noStrike" kern="1200" cap="none" spc="0" normalizeH="0" baseline="0" noProof="0">
              <a:ln>
                <a:noFill/>
              </a:ln>
              <a:solidFill>
                <a:srgbClr val="000000"/>
              </a:solidFill>
              <a:effectLst/>
              <a:uLnTx/>
              <a:uFillTx/>
              <a:latin typeface="Arial"/>
              <a:ea typeface="+mn-ea"/>
              <a:cs typeface="+mn-cs"/>
            </a:endParaRPr>
          </a:p>
        </p:txBody>
      </p:sp>
      <p:cxnSp>
        <p:nvCxnSpPr>
          <p:cNvPr id="131" name="Straight Connector 130">
            <a:extLst>
              <a:ext uri="{FF2B5EF4-FFF2-40B4-BE49-F238E27FC236}">
                <a16:creationId xmlns:a16="http://schemas.microsoft.com/office/drawing/2014/main" id="{D2938A9D-D01D-9DFD-970E-B57CD3B30AEF}"/>
              </a:ext>
            </a:extLst>
          </p:cNvPr>
          <p:cNvCxnSpPr>
            <a:cxnSpLocks/>
          </p:cNvCxnSpPr>
          <p:nvPr/>
        </p:nvCxnSpPr>
        <p:spPr>
          <a:xfrm flipV="1">
            <a:off x="3889342" y="2838948"/>
            <a:ext cx="3991625" cy="35324"/>
          </a:xfrm>
          <a:prstGeom prst="line">
            <a:avLst/>
          </a:prstGeom>
          <a:ln w="19050" cap="rnd">
            <a:solidFill>
              <a:schemeClr val="bg1">
                <a:lumMod val="50000"/>
              </a:schemeClr>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44" name="Rectangle 20">
            <a:extLst>
              <a:ext uri="{FF2B5EF4-FFF2-40B4-BE49-F238E27FC236}">
                <a16:creationId xmlns:a16="http://schemas.microsoft.com/office/drawing/2014/main" id="{D5E08A1E-470A-BE28-2A02-D9F824ADBD8C}"/>
              </a:ext>
            </a:extLst>
          </p:cNvPr>
          <p:cNvSpPr/>
          <p:nvPr/>
        </p:nvSpPr>
        <p:spPr bwMode="gray">
          <a:xfrm flipH="1">
            <a:off x="3985904" y="3159621"/>
            <a:ext cx="3943341" cy="400099"/>
          </a:xfrm>
          <a:prstGeom prst="rect">
            <a:avLst/>
          </a:prstGeom>
          <a:noFill/>
          <a:ln w="9525">
            <a:noFill/>
            <a:prstDash val="solid"/>
          </a:ln>
        </p:spPr>
        <p:txBody>
          <a:bodyPr wrap="square" lIns="38095" tIns="38095" rIns="38095" bIns="38095" rtlCol="0" anchor="ctr" anchorCtr="0">
            <a:spAutoFit/>
          </a:bodyPr>
          <a:lstStyle/>
          <a:p>
            <a:pPr marL="0" marR="0" lvl="0" indent="0" algn="ctr" defTabSz="609276"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0000"/>
                </a:solidFill>
                <a:effectLst/>
                <a:uLnTx/>
                <a:uFillTx/>
                <a:latin typeface="72 Brand"/>
                <a:ea typeface="+mn-ea"/>
                <a:cs typeface="72" panose="020B0503030000000003" pitchFamily="34" charset="0"/>
                <a:sym typeface="72" panose="020B0503030000000003" pitchFamily="34" charset="0"/>
              </a:rPr>
              <a:t>Integration Assessment</a:t>
            </a:r>
            <a:br>
              <a:rPr kumimoji="0" lang="en-US" sz="1000" b="0" i="0" u="none" strike="noStrike" kern="0" cap="none" spc="0" normalizeH="0" baseline="0" noProof="0" dirty="0">
                <a:ln>
                  <a:noFill/>
                </a:ln>
                <a:solidFill>
                  <a:srgbClr val="000000"/>
                </a:solidFill>
                <a:effectLst/>
                <a:uLnTx/>
                <a:uFillTx/>
                <a:latin typeface="72 Brand" panose="020B0504030603020204" pitchFamily="34" charset="0"/>
                <a:ea typeface="+mn-ea"/>
                <a:cs typeface="72" panose="020B0503030000000003" pitchFamily="34" charset="0"/>
              </a:rPr>
            </a:br>
            <a:r>
              <a:rPr kumimoji="0" lang="en-US" sz="900" b="0" i="0" u="none" strike="noStrike" kern="0" cap="none" spc="0" normalizeH="0" baseline="0" noProof="0" dirty="0">
                <a:ln>
                  <a:noFill/>
                </a:ln>
                <a:solidFill>
                  <a:srgbClr val="000000"/>
                </a:solidFill>
                <a:effectLst/>
                <a:uLnTx/>
                <a:uFillTx/>
                <a:latin typeface="72 Brand"/>
                <a:ea typeface="+mn-ea"/>
                <a:cs typeface="72" panose="020B0503030000000003" pitchFamily="34" charset="0"/>
                <a:sym typeface="72" panose="020B0503030000000003" pitchFamily="34" charset="0"/>
              </a:rPr>
              <a:t>Define and govern your integration technology strategy</a:t>
            </a:r>
          </a:p>
        </p:txBody>
      </p:sp>
      <p:sp>
        <p:nvSpPr>
          <p:cNvPr id="145" name="Rectangle 20">
            <a:hlinkClick r:id="" action="ppaction://noaction"/>
            <a:extLst>
              <a:ext uri="{FF2B5EF4-FFF2-40B4-BE49-F238E27FC236}">
                <a16:creationId xmlns:a16="http://schemas.microsoft.com/office/drawing/2014/main" id="{72102D4A-BB4A-29D7-9643-DA6448D31395}"/>
              </a:ext>
            </a:extLst>
          </p:cNvPr>
          <p:cNvSpPr/>
          <p:nvPr/>
        </p:nvSpPr>
        <p:spPr bwMode="gray">
          <a:xfrm flipH="1">
            <a:off x="3619257" y="3593131"/>
            <a:ext cx="1663915" cy="400108"/>
          </a:xfrm>
          <a:prstGeom prst="rect">
            <a:avLst/>
          </a:prstGeom>
          <a:noFill/>
          <a:ln w="9525">
            <a:noFill/>
            <a:prstDash val="solid"/>
          </a:ln>
        </p:spPr>
        <p:txBody>
          <a:bodyPr wrap="none" lIns="38099" tIns="38099" rIns="38099" bIns="38099" rtlCol="0" anchor="t" anchorCtr="0">
            <a:spAutoFit/>
          </a:bodyPr>
          <a:lstStyle/>
          <a:p>
            <a:pPr marL="0" marR="0" lvl="0" indent="0" algn="ctr" defTabSz="609348"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000000"/>
                </a:solidFill>
                <a:effectLst/>
                <a:uLnTx/>
                <a:uFillTx/>
                <a:latin typeface="72 Brand"/>
                <a:ea typeface="+mn-ea"/>
                <a:cs typeface="72" panose="020B0503030000000003" pitchFamily="34" charset="0"/>
              </a:rPr>
              <a:t>Cloud Integration</a:t>
            </a:r>
            <a:br>
              <a:rPr kumimoji="0" lang="en-US" sz="1200" b="0" i="0" u="none" strike="noStrike" kern="0" cap="none" spc="0" normalizeH="0" baseline="0" noProof="0">
                <a:ln>
                  <a:noFill/>
                </a:ln>
                <a:solidFill>
                  <a:srgbClr val="000000"/>
                </a:solidFill>
                <a:effectLst/>
                <a:uLnTx/>
                <a:uFillTx/>
                <a:latin typeface="72 Brand" panose="020B0504030603020204" pitchFamily="34" charset="0"/>
                <a:ea typeface="+mn-ea"/>
                <a:cs typeface="72" panose="020B0503030000000003" pitchFamily="34" charset="0"/>
              </a:rPr>
            </a:br>
            <a:r>
              <a:rPr kumimoji="0" lang="en-US" sz="900" b="0" i="0" u="none" strike="noStrike" kern="0" cap="none" spc="0" normalizeH="0" baseline="0" noProof="0">
                <a:ln>
                  <a:noFill/>
                </a:ln>
                <a:solidFill>
                  <a:srgbClr val="000000"/>
                </a:solidFill>
                <a:effectLst/>
                <a:uLnTx/>
                <a:uFillTx/>
                <a:latin typeface="72 Brand"/>
                <a:ea typeface="+mn-ea"/>
                <a:cs typeface="72" panose="020B0503030000000003" pitchFamily="34" charset="0"/>
              </a:rPr>
              <a:t>End-to-end process integration</a:t>
            </a:r>
            <a:endParaRPr kumimoji="0" lang="en-US" sz="2100" b="0" i="0" u="none" strike="noStrike" kern="1200" cap="none" spc="0" normalizeH="0" baseline="0" noProof="0">
              <a:ln>
                <a:noFill/>
              </a:ln>
              <a:solidFill>
                <a:srgbClr val="000000"/>
              </a:solidFill>
              <a:effectLst/>
              <a:uLnTx/>
              <a:uFillTx/>
              <a:latin typeface="72 Brand"/>
              <a:ea typeface="+mn-ea"/>
              <a:cs typeface="+mn-cs"/>
            </a:endParaRPr>
          </a:p>
        </p:txBody>
      </p:sp>
      <p:sp>
        <p:nvSpPr>
          <p:cNvPr id="146" name="Rectangle 20">
            <a:hlinkClick r:id="" action="ppaction://noaction"/>
            <a:extLst>
              <a:ext uri="{FF2B5EF4-FFF2-40B4-BE49-F238E27FC236}">
                <a16:creationId xmlns:a16="http://schemas.microsoft.com/office/drawing/2014/main" id="{3E10ADA5-65FA-1F6C-6006-11CD26E4EF04}"/>
              </a:ext>
            </a:extLst>
          </p:cNvPr>
          <p:cNvSpPr/>
          <p:nvPr/>
        </p:nvSpPr>
        <p:spPr bwMode="gray">
          <a:xfrm flipH="1">
            <a:off x="6191111" y="3567659"/>
            <a:ext cx="2596230" cy="400108"/>
          </a:xfrm>
          <a:prstGeom prst="rect">
            <a:avLst/>
          </a:prstGeom>
          <a:noFill/>
          <a:ln w="9525">
            <a:noFill/>
            <a:prstDash val="solid"/>
          </a:ln>
        </p:spPr>
        <p:txBody>
          <a:bodyPr wrap="square" lIns="38099" tIns="38099" rIns="38099" bIns="38099" rtlCol="0" anchor="t" anchorCtr="0">
            <a:spAutoFit/>
          </a:bodyPr>
          <a:lstStyle/>
          <a:p>
            <a:pPr marL="0" marR="0" lvl="0" indent="0" algn="ctr" defTabSz="609348"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000000"/>
                </a:solidFill>
                <a:effectLst/>
                <a:uLnTx/>
                <a:uFillTx/>
                <a:latin typeface="72 Brand"/>
                <a:ea typeface="+mn-ea"/>
                <a:cs typeface="72" panose="020B0503030000000003" pitchFamily="34" charset="0"/>
              </a:rPr>
              <a:t>Open Connectors</a:t>
            </a:r>
            <a:br>
              <a:rPr kumimoji="0" lang="en-US" sz="1200" b="0" i="0" u="none" strike="noStrike" kern="0" cap="none" spc="0" normalizeH="0" baseline="0" noProof="0">
                <a:ln>
                  <a:noFill/>
                </a:ln>
                <a:solidFill>
                  <a:srgbClr val="000000"/>
                </a:solidFill>
                <a:effectLst/>
                <a:uLnTx/>
                <a:uFillTx/>
                <a:latin typeface="72 Brand" panose="020B0504030603020204" pitchFamily="34" charset="0"/>
                <a:ea typeface="+mn-ea"/>
                <a:cs typeface="72" panose="020B0503030000000003" pitchFamily="34" charset="0"/>
              </a:rPr>
            </a:br>
            <a:r>
              <a:rPr kumimoji="0" lang="en-US" sz="900" b="0" i="0" u="none" strike="noStrike" kern="0" cap="none" spc="0" normalizeH="0" baseline="0" noProof="0">
                <a:ln>
                  <a:noFill/>
                </a:ln>
                <a:solidFill>
                  <a:srgbClr val="000000"/>
                </a:solidFill>
                <a:effectLst/>
                <a:uLnTx/>
                <a:uFillTx/>
                <a:latin typeface="72 Brand"/>
                <a:ea typeface="+mn-ea"/>
                <a:cs typeface="72" panose="020B0503030000000003" pitchFamily="34" charset="0"/>
              </a:rPr>
              <a:t>Accelerate connectivity to third-party applications</a:t>
            </a:r>
            <a:endParaRPr kumimoji="0" lang="en-US" sz="2100" b="0" i="0" u="none" strike="noStrike" kern="1200" cap="none" spc="0" normalizeH="0" baseline="0" noProof="0">
              <a:ln>
                <a:noFill/>
              </a:ln>
              <a:solidFill>
                <a:srgbClr val="000000"/>
              </a:solidFill>
              <a:effectLst/>
              <a:uLnTx/>
              <a:uFillTx/>
              <a:latin typeface="Arial"/>
              <a:ea typeface="+mn-ea"/>
              <a:cs typeface="+mn-cs"/>
            </a:endParaRPr>
          </a:p>
        </p:txBody>
      </p:sp>
      <p:sp>
        <p:nvSpPr>
          <p:cNvPr id="147" name="Rectangle 20">
            <a:hlinkClick r:id="" action="ppaction://noaction"/>
            <a:extLst>
              <a:ext uri="{FF2B5EF4-FFF2-40B4-BE49-F238E27FC236}">
                <a16:creationId xmlns:a16="http://schemas.microsoft.com/office/drawing/2014/main" id="{4FC86555-DCD7-79A9-E41E-1C4B0C92A9D9}"/>
              </a:ext>
            </a:extLst>
          </p:cNvPr>
          <p:cNvSpPr/>
          <p:nvPr/>
        </p:nvSpPr>
        <p:spPr bwMode="gray">
          <a:xfrm flipH="1">
            <a:off x="3353158" y="3993915"/>
            <a:ext cx="2196113" cy="538607"/>
          </a:xfrm>
          <a:prstGeom prst="rect">
            <a:avLst/>
          </a:prstGeom>
          <a:noFill/>
          <a:ln w="9525">
            <a:noFill/>
            <a:prstDash val="solid"/>
          </a:ln>
        </p:spPr>
        <p:txBody>
          <a:bodyPr wrap="square" lIns="38099" tIns="38099" rIns="38099" bIns="38099" rtlCol="0" anchor="t" anchorCtr="0">
            <a:spAutoFit/>
          </a:bodyPr>
          <a:lstStyle/>
          <a:p>
            <a:pPr marL="0" marR="0" lvl="0" indent="0" algn="ctr" defTabSz="609348"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000000"/>
                </a:solidFill>
                <a:effectLst/>
                <a:uLnTx/>
                <a:uFillTx/>
                <a:latin typeface="72 Brand"/>
                <a:ea typeface="+mn-ea"/>
                <a:cs typeface="72" panose="020B0503030000000003" pitchFamily="34" charset="0"/>
              </a:rPr>
              <a:t>API Management</a:t>
            </a:r>
            <a:r>
              <a:rPr kumimoji="0" lang="en-US" sz="1200" b="0" i="0" u="none" strike="noStrike" kern="0" cap="none" spc="0" normalizeH="0" baseline="0" noProof="0">
                <a:ln>
                  <a:noFill/>
                </a:ln>
                <a:solidFill>
                  <a:srgbClr val="000000"/>
                </a:solidFill>
                <a:effectLst/>
                <a:uLnTx/>
                <a:uFillTx/>
                <a:latin typeface="72 Brand"/>
                <a:ea typeface="+mn-ea"/>
                <a:cs typeface="72" panose="020B0503030000000003" pitchFamily="34" charset="0"/>
              </a:rPr>
              <a:t> |</a:t>
            </a:r>
            <a:r>
              <a:rPr kumimoji="0" lang="en-US" sz="1200" b="1" i="0" u="none" strike="noStrike" kern="0" cap="none" spc="0" normalizeH="0" baseline="0" noProof="0">
                <a:ln>
                  <a:noFill/>
                </a:ln>
                <a:solidFill>
                  <a:srgbClr val="000000"/>
                </a:solidFill>
                <a:effectLst/>
                <a:uLnTx/>
                <a:uFillTx/>
                <a:latin typeface="72 Brand"/>
                <a:ea typeface="+mn-ea"/>
                <a:cs typeface="72" panose="020B0503030000000003" pitchFamily="34" charset="0"/>
              </a:rPr>
              <a:t> Graph</a:t>
            </a:r>
            <a:br>
              <a:rPr kumimoji="0" lang="en-US" sz="1200" b="0" i="0" u="none" strike="noStrike" kern="0" cap="none" spc="0" normalizeH="0" baseline="0" noProof="0">
                <a:ln>
                  <a:noFill/>
                </a:ln>
                <a:solidFill>
                  <a:srgbClr val="000000"/>
                </a:solidFill>
                <a:effectLst/>
                <a:uLnTx/>
                <a:uFillTx/>
                <a:latin typeface="72 Brand" panose="020B0504030603020204" pitchFamily="34" charset="0"/>
                <a:ea typeface="+mn-ea"/>
                <a:cs typeface="72" panose="020B0503030000000003" pitchFamily="34" charset="0"/>
              </a:rPr>
            </a:br>
            <a:r>
              <a:rPr kumimoji="0" lang="en-US" sz="900" b="0" i="0" u="none" strike="noStrike" kern="0" cap="none" spc="0" normalizeH="0" baseline="0" noProof="0">
                <a:ln>
                  <a:noFill/>
                </a:ln>
                <a:solidFill>
                  <a:srgbClr val="000000"/>
                </a:solidFill>
                <a:effectLst/>
                <a:uLnTx/>
                <a:uFillTx/>
                <a:latin typeface="72 Brand"/>
                <a:ea typeface="+mn-ea"/>
                <a:cs typeface="72" panose="020B0503030000000003" pitchFamily="34" charset="0"/>
              </a:rPr>
              <a:t>Expose your data as APIs, </a:t>
            </a:r>
            <a:endParaRPr kumimoji="0" lang="en-US" sz="900" b="0" i="0" u="none" strike="noStrike" kern="0" cap="none" spc="0" normalizeH="0" baseline="0" noProof="0">
              <a:ln>
                <a:noFill/>
              </a:ln>
              <a:solidFill>
                <a:srgbClr val="000000"/>
              </a:solidFill>
              <a:effectLst/>
              <a:uLnTx/>
              <a:uFillTx/>
              <a:latin typeface="72 Brand" panose="020B0504030603020204" pitchFamily="34" charset="0"/>
              <a:ea typeface="+mn-ea"/>
              <a:cs typeface="72" panose="020B0503030000000003" pitchFamily="34" charset="0"/>
            </a:endParaRPr>
          </a:p>
          <a:p>
            <a:pPr marL="0" marR="0" lvl="0" indent="0" algn="ctr" defTabSz="609348"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000000"/>
                </a:solidFill>
                <a:effectLst/>
                <a:uLnTx/>
                <a:uFillTx/>
                <a:latin typeface="72 Brand"/>
                <a:ea typeface="+mn-ea"/>
                <a:cs typeface="72" panose="020B0503030000000003" pitchFamily="34" charset="0"/>
              </a:rPr>
              <a:t>manage the end-to-end lifecycle</a:t>
            </a:r>
          </a:p>
        </p:txBody>
      </p:sp>
      <p:sp>
        <p:nvSpPr>
          <p:cNvPr id="148" name="Rechteck 19">
            <a:hlinkClick r:id="" action="ppaction://noaction"/>
            <a:extLst>
              <a:ext uri="{FF2B5EF4-FFF2-40B4-BE49-F238E27FC236}">
                <a16:creationId xmlns:a16="http://schemas.microsoft.com/office/drawing/2014/main" id="{6757FBE8-6969-40B7-E53D-75DE63FD495F}"/>
              </a:ext>
            </a:extLst>
          </p:cNvPr>
          <p:cNvSpPr/>
          <p:nvPr/>
        </p:nvSpPr>
        <p:spPr>
          <a:xfrm>
            <a:off x="6224887" y="4002891"/>
            <a:ext cx="2528678" cy="520655"/>
          </a:xfrm>
          <a:prstGeom prst="rect">
            <a:avLst/>
          </a:prstGeom>
        </p:spPr>
        <p:txBody>
          <a:bodyPr wrap="square" lIns="0" tIns="0" rIns="0" bIns="0" anchor="t">
            <a:spAutoFit/>
          </a:bodyPr>
          <a:lstStyle/>
          <a:p>
            <a:pPr marL="0" marR="0" lvl="0" indent="0" algn="ctr" defTabSz="1088776" rtl="0" eaLnBrk="1" fontAlgn="auto" latinLnBrk="0" hangingPunct="1">
              <a:lnSpc>
                <a:spcPct val="100000"/>
              </a:lnSpc>
              <a:spcBef>
                <a:spcPts val="0"/>
              </a:spcBef>
              <a:spcAft>
                <a:spcPts val="100"/>
              </a:spcAft>
              <a:buClrTx/>
              <a:buSzTx/>
              <a:buFontTx/>
              <a:buNone/>
              <a:tabLst/>
              <a:defRPr/>
            </a:pPr>
            <a:r>
              <a:rPr kumimoji="0" lang="en-US" sz="1200" b="1" i="0" u="none" strike="noStrike" kern="0" cap="none" spc="0" normalizeH="0" baseline="0" noProof="0" dirty="0">
                <a:ln>
                  <a:noFill/>
                </a:ln>
                <a:solidFill>
                  <a:srgbClr val="000000"/>
                </a:solidFill>
                <a:effectLst/>
                <a:uLnTx/>
                <a:uFillTx/>
                <a:latin typeface="72 Brand"/>
                <a:ea typeface="+mn-ea"/>
                <a:cs typeface="72" panose="020B0503030000000003" pitchFamily="34" charset="0"/>
              </a:rPr>
              <a:t>Integration Advisor </a:t>
            </a:r>
            <a:r>
              <a:rPr kumimoji="0" lang="en-US" sz="1200" b="0" i="0" u="none" strike="noStrike" kern="0" cap="none" spc="0" normalizeH="0" baseline="0" noProof="0" dirty="0">
                <a:ln>
                  <a:noFill/>
                </a:ln>
                <a:solidFill>
                  <a:srgbClr val="000000"/>
                </a:solidFill>
                <a:effectLst/>
                <a:uLnTx/>
                <a:uFillTx/>
                <a:latin typeface="72 Brand"/>
                <a:ea typeface="+mn-ea"/>
                <a:cs typeface="72" panose="020B0503030000000003" pitchFamily="34" charset="0"/>
              </a:rPr>
              <a:t>| </a:t>
            </a:r>
            <a:br>
              <a:rPr kumimoji="0" lang="en-US" sz="1200" b="1" i="0" u="none" strike="noStrike" kern="0" cap="none" spc="0" normalizeH="0" baseline="0" noProof="0" dirty="0">
                <a:ln>
                  <a:noFill/>
                </a:ln>
                <a:solidFill>
                  <a:srgbClr val="000000"/>
                </a:solidFill>
                <a:effectLst/>
                <a:uLnTx/>
                <a:uFillTx/>
                <a:latin typeface="72 Brand"/>
                <a:ea typeface="+mn-ea"/>
                <a:cs typeface="72" panose="020B0503030000000003" pitchFamily="34" charset="0"/>
              </a:rPr>
            </a:br>
            <a:r>
              <a:rPr kumimoji="0" lang="en-US" sz="1200" b="1" i="0" u="none" strike="noStrike" kern="0" cap="none" spc="0" normalizeH="0" baseline="0" noProof="0" dirty="0">
                <a:ln>
                  <a:noFill/>
                </a:ln>
                <a:solidFill>
                  <a:srgbClr val="000000"/>
                </a:solidFill>
                <a:effectLst/>
                <a:uLnTx/>
                <a:uFillTx/>
                <a:latin typeface="72 Brand"/>
                <a:ea typeface="+mn-ea"/>
                <a:cs typeface="72" panose="020B0503030000000003" pitchFamily="34" charset="0"/>
              </a:rPr>
              <a:t>Trading Partner Management</a:t>
            </a:r>
            <a:endParaRPr kumimoji="0" lang="en-US" sz="1200" b="1" i="0" u="none" strike="noStrike" kern="0" cap="none" spc="0" normalizeH="0" baseline="0" noProof="0" dirty="0">
              <a:ln>
                <a:noFill/>
              </a:ln>
              <a:solidFill>
                <a:srgbClr val="000000"/>
              </a:solidFill>
              <a:effectLst/>
              <a:uLnTx/>
              <a:uFillTx/>
              <a:latin typeface="72 Brand" panose="020B0504030603020204" pitchFamily="34" charset="0"/>
              <a:ea typeface="+mn-ea"/>
              <a:cs typeface="72" panose="020B0503030000000003" pitchFamily="34" charset="0"/>
            </a:endParaRPr>
          </a:p>
          <a:p>
            <a:pPr marL="0" marR="0" lvl="0" indent="0" algn="ctr" defTabSz="1088776" rtl="0" eaLnBrk="1" fontAlgn="auto" latinLnBrk="0" hangingPunct="1">
              <a:lnSpc>
                <a:spcPct val="100000"/>
              </a:lnSpc>
              <a:spcBef>
                <a:spcPts val="0"/>
              </a:spcBef>
              <a:spcAft>
                <a:spcPts val="100"/>
              </a:spcAft>
              <a:buClrTx/>
              <a:buSzTx/>
              <a:buFontTx/>
              <a:buNone/>
              <a:tabLst/>
              <a:defRPr/>
            </a:pPr>
            <a:r>
              <a:rPr kumimoji="0" lang="en-US" sz="900" b="0" i="0" u="none" strike="noStrike" kern="0" cap="none" spc="0" normalizeH="0" baseline="0" noProof="0" dirty="0">
                <a:ln>
                  <a:noFill/>
                </a:ln>
                <a:solidFill>
                  <a:srgbClr val="000000"/>
                </a:solidFill>
                <a:effectLst/>
                <a:uLnTx/>
                <a:uFillTx/>
                <a:latin typeface="72 Brand"/>
                <a:ea typeface="+mn-ea"/>
                <a:cs typeface="72" panose="020B0503030000000003" pitchFamily="34" charset="0"/>
              </a:rPr>
              <a:t>Manage B2B scenarios and AI-based integration</a:t>
            </a:r>
          </a:p>
        </p:txBody>
      </p:sp>
      <p:sp>
        <p:nvSpPr>
          <p:cNvPr id="154" name="TextBox 73">
            <a:extLst>
              <a:ext uri="{FF2B5EF4-FFF2-40B4-BE49-F238E27FC236}">
                <a16:creationId xmlns:a16="http://schemas.microsoft.com/office/drawing/2014/main" id="{FCD8A680-C504-0841-2802-4A741A22B967}"/>
              </a:ext>
            </a:extLst>
          </p:cNvPr>
          <p:cNvSpPr txBox="1"/>
          <p:nvPr/>
        </p:nvSpPr>
        <p:spPr>
          <a:xfrm>
            <a:off x="9027872" y="2626501"/>
            <a:ext cx="1640686" cy="251934"/>
          </a:xfrm>
          <a:prstGeom prst="rect">
            <a:avLst/>
          </a:prstGeom>
          <a:noFill/>
        </p:spPr>
        <p:txBody>
          <a:bodyPr wrap="square" lIns="0" tIns="0" rIns="0" bIns="0" rtlCol="0" anchor="t">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72 Brand"/>
                <a:ea typeface="+mn-ea"/>
                <a:cs typeface="72 Condensed" panose="020B0506030000000003" pitchFamily="34" charset="0"/>
              </a:rPr>
              <a:t>And many more connectors . . .</a:t>
            </a:r>
          </a:p>
        </p:txBody>
      </p:sp>
      <p:sp>
        <p:nvSpPr>
          <p:cNvPr id="156" name="TextBox 155">
            <a:extLst>
              <a:ext uri="{FF2B5EF4-FFF2-40B4-BE49-F238E27FC236}">
                <a16:creationId xmlns:a16="http://schemas.microsoft.com/office/drawing/2014/main" id="{2D440313-5F48-83EF-CA7A-C2BBF6291CE8}"/>
              </a:ext>
            </a:extLst>
          </p:cNvPr>
          <p:cNvSpPr txBox="1"/>
          <p:nvPr/>
        </p:nvSpPr>
        <p:spPr>
          <a:xfrm>
            <a:off x="8769593" y="1726044"/>
            <a:ext cx="586542" cy="161583"/>
          </a:xfrm>
          <a:prstGeom prst="rect">
            <a:avLst/>
          </a:prstGeom>
          <a:noFill/>
        </p:spPr>
        <p:txBody>
          <a:bodyPr wrap="square" lIns="0" tIns="0" rIns="0" bIns="0" rtlCol="0">
            <a:spAutoFit/>
          </a:bodyPr>
          <a:lstStyle/>
          <a:p>
            <a:pPr marL="0" marR="0" lvl="0" indent="0" algn="ctr" defTabSz="1088776" rtl="0" eaLnBrk="1" fontAlgn="base" latinLnBrk="0" hangingPunct="1">
              <a:lnSpc>
                <a:spcPct val="100000"/>
              </a:lnSpc>
              <a:spcBef>
                <a:spcPct val="50000"/>
              </a:spcBef>
              <a:spcAft>
                <a:spcPct val="0"/>
              </a:spcAft>
              <a:buClr>
                <a:srgbClr val="F0AB00"/>
              </a:buClr>
              <a:buSzPct val="80000"/>
              <a:buFontTx/>
              <a:buNone/>
              <a:tabLst/>
              <a:defRPr/>
            </a:pPr>
            <a:r>
              <a:rPr kumimoji="0" lang="en-US" sz="1050" b="1" i="0" u="none" strike="noStrike" kern="0" cap="none" spc="0" normalizeH="0" baseline="0" noProof="0">
                <a:ln>
                  <a:noFill/>
                </a:ln>
                <a:solidFill>
                  <a:srgbClr val="000000"/>
                </a:solidFill>
                <a:effectLst/>
                <a:uLnTx/>
                <a:uFillTx/>
                <a:latin typeface="72 Brand" panose="020B0504030603020204" pitchFamily="34" charset="0"/>
                <a:ea typeface="Arial Unicode MS" pitchFamily="34" charset="-128"/>
                <a:cs typeface="72" panose="020B0503030000000003" pitchFamily="34" charset="0"/>
              </a:rPr>
              <a:t>Slack</a:t>
            </a:r>
          </a:p>
        </p:txBody>
      </p:sp>
      <p:sp>
        <p:nvSpPr>
          <p:cNvPr id="157" name="TextBox 156">
            <a:extLst>
              <a:ext uri="{FF2B5EF4-FFF2-40B4-BE49-F238E27FC236}">
                <a16:creationId xmlns:a16="http://schemas.microsoft.com/office/drawing/2014/main" id="{E2C917B3-F9A7-F8BB-D90D-3BCCDD58B105}"/>
              </a:ext>
            </a:extLst>
          </p:cNvPr>
          <p:cNvSpPr txBox="1"/>
          <p:nvPr/>
        </p:nvSpPr>
        <p:spPr>
          <a:xfrm>
            <a:off x="9813943" y="2248655"/>
            <a:ext cx="677858" cy="161583"/>
          </a:xfrm>
          <a:prstGeom prst="rect">
            <a:avLst/>
          </a:prstGeom>
          <a:noFill/>
        </p:spPr>
        <p:txBody>
          <a:bodyPr wrap="square" lIns="0" tIns="0" rIns="0" bIns="0" rtlCol="0">
            <a:spAutoFit/>
          </a:bodyPr>
          <a:lstStyle/>
          <a:p>
            <a:pPr marL="0" marR="0" lvl="0" indent="0" algn="ctr" defTabSz="1088776" rtl="0" eaLnBrk="1" fontAlgn="base" latinLnBrk="0" hangingPunct="1">
              <a:lnSpc>
                <a:spcPct val="100000"/>
              </a:lnSpc>
              <a:spcBef>
                <a:spcPct val="50000"/>
              </a:spcBef>
              <a:spcAft>
                <a:spcPct val="0"/>
              </a:spcAft>
              <a:buClr>
                <a:srgbClr val="F0AB00"/>
              </a:buClr>
              <a:buSzPct val="80000"/>
              <a:buFontTx/>
              <a:buNone/>
              <a:tabLst/>
              <a:defRPr/>
            </a:pPr>
            <a:r>
              <a:rPr kumimoji="0" lang="en-US" sz="1050" b="1" i="0" u="none" strike="noStrike" kern="0" cap="none" spc="0" normalizeH="0" baseline="0" noProof="0">
                <a:ln>
                  <a:noFill/>
                </a:ln>
                <a:solidFill>
                  <a:srgbClr val="000000"/>
                </a:solidFill>
                <a:effectLst/>
                <a:uLnTx/>
                <a:uFillTx/>
                <a:latin typeface="72 Brand" panose="020B0504030603020204" pitchFamily="34" charset="0"/>
                <a:ea typeface="Arial Unicode MS" pitchFamily="34" charset="-128"/>
                <a:cs typeface="72" panose="020B0503030000000003" pitchFamily="34" charset="0"/>
              </a:rPr>
              <a:t>Google</a:t>
            </a:r>
          </a:p>
        </p:txBody>
      </p:sp>
      <p:sp>
        <p:nvSpPr>
          <p:cNvPr id="158" name="TextBox 157">
            <a:extLst>
              <a:ext uri="{FF2B5EF4-FFF2-40B4-BE49-F238E27FC236}">
                <a16:creationId xmlns:a16="http://schemas.microsoft.com/office/drawing/2014/main" id="{0C0E737A-D541-1896-6D15-6EE28F35331F}"/>
              </a:ext>
            </a:extLst>
          </p:cNvPr>
          <p:cNvSpPr txBox="1"/>
          <p:nvPr/>
        </p:nvSpPr>
        <p:spPr>
          <a:xfrm>
            <a:off x="9223858" y="1699720"/>
            <a:ext cx="1039149" cy="161583"/>
          </a:xfrm>
          <a:prstGeom prst="rect">
            <a:avLst/>
          </a:prstGeom>
          <a:noFill/>
        </p:spPr>
        <p:txBody>
          <a:bodyPr wrap="square" lIns="0" tIns="0" rIns="0" bIns="0" rtlCol="0">
            <a:spAutoFit/>
          </a:bodyPr>
          <a:lstStyle/>
          <a:p>
            <a:pPr marL="0" marR="0" lvl="0" indent="0" algn="ctr" defTabSz="1088776" rtl="0" eaLnBrk="1" fontAlgn="base" latinLnBrk="0" hangingPunct="1">
              <a:lnSpc>
                <a:spcPct val="100000"/>
              </a:lnSpc>
              <a:spcBef>
                <a:spcPct val="50000"/>
              </a:spcBef>
              <a:spcAft>
                <a:spcPct val="0"/>
              </a:spcAft>
              <a:buClr>
                <a:srgbClr val="F0AB00"/>
              </a:buClr>
              <a:buSzPct val="80000"/>
              <a:buFontTx/>
              <a:buNone/>
              <a:tabLst/>
              <a:defRPr/>
            </a:pPr>
            <a:r>
              <a:rPr kumimoji="0" lang="en-US" sz="1050" b="1" i="0" u="none" strike="noStrike" kern="0" cap="none" spc="0" normalizeH="0" baseline="0" noProof="0">
                <a:ln>
                  <a:noFill/>
                </a:ln>
                <a:solidFill>
                  <a:srgbClr val="000000"/>
                </a:solidFill>
                <a:effectLst/>
                <a:uLnTx/>
                <a:uFillTx/>
                <a:latin typeface="72 Brand" panose="020B0504030603020204" pitchFamily="34" charset="0"/>
                <a:ea typeface="Arial Unicode MS" pitchFamily="34" charset="-128"/>
                <a:cs typeface="72" panose="020B0503030000000003" pitchFamily="34" charset="0"/>
              </a:rPr>
              <a:t>Salesforce</a:t>
            </a:r>
          </a:p>
        </p:txBody>
      </p:sp>
      <p:sp>
        <p:nvSpPr>
          <p:cNvPr id="159" name="TextBox 158">
            <a:extLst>
              <a:ext uri="{FF2B5EF4-FFF2-40B4-BE49-F238E27FC236}">
                <a16:creationId xmlns:a16="http://schemas.microsoft.com/office/drawing/2014/main" id="{1E41E5D9-D4F3-DAF2-5CE7-24D3B6E033A0}"/>
              </a:ext>
            </a:extLst>
          </p:cNvPr>
          <p:cNvSpPr txBox="1"/>
          <p:nvPr/>
        </p:nvSpPr>
        <p:spPr>
          <a:xfrm>
            <a:off x="8495978" y="1940518"/>
            <a:ext cx="898971" cy="161583"/>
          </a:xfrm>
          <a:prstGeom prst="rect">
            <a:avLst/>
          </a:prstGeom>
          <a:noFill/>
        </p:spPr>
        <p:txBody>
          <a:bodyPr wrap="square" lIns="0" tIns="0" rIns="0" bIns="0" rtlCol="0">
            <a:spAutoFit/>
          </a:bodyPr>
          <a:lstStyle/>
          <a:p>
            <a:pPr marL="0" marR="0" lvl="0" indent="0" algn="ctr" defTabSz="1088776" rtl="0" eaLnBrk="1" fontAlgn="base" latinLnBrk="0" hangingPunct="1">
              <a:lnSpc>
                <a:spcPct val="100000"/>
              </a:lnSpc>
              <a:spcBef>
                <a:spcPct val="50000"/>
              </a:spcBef>
              <a:spcAft>
                <a:spcPct val="0"/>
              </a:spcAft>
              <a:buClr>
                <a:srgbClr val="F0AB00"/>
              </a:buClr>
              <a:buSzPct val="80000"/>
              <a:buFontTx/>
              <a:buNone/>
              <a:tabLst/>
              <a:defRPr/>
            </a:pPr>
            <a:r>
              <a:rPr kumimoji="0" lang="en-US" sz="1050" b="1" i="0" u="none" strike="noStrike" kern="0" cap="none" spc="0" normalizeH="0" baseline="0" noProof="0">
                <a:ln>
                  <a:noFill/>
                </a:ln>
                <a:solidFill>
                  <a:srgbClr val="000000"/>
                </a:solidFill>
                <a:effectLst/>
                <a:uLnTx/>
                <a:uFillTx/>
                <a:latin typeface="72 Brand" panose="020B0504030603020204" pitchFamily="34" charset="0"/>
                <a:ea typeface="Arial Unicode MS" pitchFamily="34" charset="-128"/>
                <a:cs typeface="72" panose="020B0503030000000003" pitchFamily="34" charset="0"/>
              </a:rPr>
              <a:t>Workday</a:t>
            </a:r>
          </a:p>
        </p:txBody>
      </p:sp>
      <p:sp>
        <p:nvSpPr>
          <p:cNvPr id="160" name="TextBox 159">
            <a:extLst>
              <a:ext uri="{FF2B5EF4-FFF2-40B4-BE49-F238E27FC236}">
                <a16:creationId xmlns:a16="http://schemas.microsoft.com/office/drawing/2014/main" id="{EB9168B1-5820-F08D-4811-D26F413DF5A6}"/>
              </a:ext>
            </a:extLst>
          </p:cNvPr>
          <p:cNvSpPr txBox="1"/>
          <p:nvPr/>
        </p:nvSpPr>
        <p:spPr>
          <a:xfrm>
            <a:off x="8624422" y="2142749"/>
            <a:ext cx="898971" cy="161583"/>
          </a:xfrm>
          <a:prstGeom prst="rect">
            <a:avLst/>
          </a:prstGeom>
          <a:noFill/>
        </p:spPr>
        <p:txBody>
          <a:bodyPr wrap="square" lIns="0" tIns="0" rIns="0" bIns="0" rtlCol="0">
            <a:spAutoFit/>
          </a:bodyPr>
          <a:lstStyle/>
          <a:p>
            <a:pPr marL="0" marR="0" lvl="0" indent="0" algn="ctr" defTabSz="1088776" rtl="0" eaLnBrk="1" fontAlgn="base" latinLnBrk="0" hangingPunct="1">
              <a:lnSpc>
                <a:spcPct val="100000"/>
              </a:lnSpc>
              <a:spcBef>
                <a:spcPct val="50000"/>
              </a:spcBef>
              <a:spcAft>
                <a:spcPct val="0"/>
              </a:spcAft>
              <a:buClr>
                <a:srgbClr val="F0AB00"/>
              </a:buClr>
              <a:buSzPct val="80000"/>
              <a:buFontTx/>
              <a:buNone/>
              <a:tabLst/>
              <a:defRPr/>
            </a:pPr>
            <a:r>
              <a:rPr kumimoji="0" lang="en-US" sz="1050" b="1" i="0" u="none" strike="noStrike" kern="0" cap="none" spc="0" normalizeH="0" baseline="0" noProof="0" dirty="0">
                <a:ln>
                  <a:noFill/>
                </a:ln>
                <a:solidFill>
                  <a:srgbClr val="000000"/>
                </a:solidFill>
                <a:effectLst/>
                <a:uLnTx/>
                <a:uFillTx/>
                <a:latin typeface="72 Brand" panose="020B0504030603020204" pitchFamily="34" charset="0"/>
                <a:ea typeface="Arial Unicode MS" pitchFamily="34" charset="-128"/>
                <a:cs typeface="72" panose="020B0503030000000003" pitchFamily="34" charset="0"/>
              </a:rPr>
              <a:t>Splunk</a:t>
            </a:r>
          </a:p>
        </p:txBody>
      </p:sp>
      <p:sp>
        <p:nvSpPr>
          <p:cNvPr id="161" name="TextBox 160">
            <a:extLst>
              <a:ext uri="{FF2B5EF4-FFF2-40B4-BE49-F238E27FC236}">
                <a16:creationId xmlns:a16="http://schemas.microsoft.com/office/drawing/2014/main" id="{EBC2E4F1-EF6C-135F-D456-320AEF51C381}"/>
              </a:ext>
            </a:extLst>
          </p:cNvPr>
          <p:cNvSpPr txBox="1"/>
          <p:nvPr/>
        </p:nvSpPr>
        <p:spPr>
          <a:xfrm>
            <a:off x="9236111" y="2157067"/>
            <a:ext cx="898971" cy="161583"/>
          </a:xfrm>
          <a:prstGeom prst="rect">
            <a:avLst/>
          </a:prstGeom>
          <a:noFill/>
        </p:spPr>
        <p:txBody>
          <a:bodyPr wrap="square" lIns="0" tIns="0" rIns="0" bIns="0" rtlCol="0">
            <a:spAutoFit/>
          </a:bodyPr>
          <a:lstStyle/>
          <a:p>
            <a:pPr marL="0" marR="0" lvl="0" indent="0" algn="ctr" defTabSz="1088776" rtl="0" eaLnBrk="1" fontAlgn="base" latinLnBrk="0" hangingPunct="1">
              <a:lnSpc>
                <a:spcPct val="100000"/>
              </a:lnSpc>
              <a:spcBef>
                <a:spcPct val="50000"/>
              </a:spcBef>
              <a:spcAft>
                <a:spcPct val="0"/>
              </a:spcAft>
              <a:buClr>
                <a:srgbClr val="F0AB00"/>
              </a:buClr>
              <a:buSzPct val="80000"/>
              <a:buFontTx/>
              <a:buNone/>
              <a:tabLst/>
              <a:defRPr/>
            </a:pPr>
            <a:r>
              <a:rPr kumimoji="0" lang="en-US" sz="1050" b="1" i="0" u="none" strike="noStrike" kern="0" cap="none" spc="0" normalizeH="0" baseline="0" noProof="0">
                <a:ln>
                  <a:noFill/>
                </a:ln>
                <a:solidFill>
                  <a:srgbClr val="000000"/>
                </a:solidFill>
                <a:effectLst/>
                <a:uLnTx/>
                <a:uFillTx/>
                <a:latin typeface="72 Brand" panose="020B0504030603020204" pitchFamily="34" charset="0"/>
                <a:ea typeface="Arial Unicode MS" pitchFamily="34" charset="-128"/>
                <a:cs typeface="72" panose="020B0503030000000003" pitchFamily="34" charset="0"/>
              </a:rPr>
              <a:t>Kafka</a:t>
            </a:r>
          </a:p>
        </p:txBody>
      </p:sp>
      <p:sp>
        <p:nvSpPr>
          <p:cNvPr id="162" name="TextBox 161">
            <a:extLst>
              <a:ext uri="{FF2B5EF4-FFF2-40B4-BE49-F238E27FC236}">
                <a16:creationId xmlns:a16="http://schemas.microsoft.com/office/drawing/2014/main" id="{E8256B9E-2C77-4BA2-F495-D4D5DD0D88C1}"/>
              </a:ext>
            </a:extLst>
          </p:cNvPr>
          <p:cNvSpPr txBox="1"/>
          <p:nvPr/>
        </p:nvSpPr>
        <p:spPr>
          <a:xfrm>
            <a:off x="9383869" y="2378447"/>
            <a:ext cx="586544" cy="161583"/>
          </a:xfrm>
          <a:prstGeom prst="rect">
            <a:avLst/>
          </a:prstGeom>
          <a:noFill/>
        </p:spPr>
        <p:txBody>
          <a:bodyPr wrap="square" lIns="0" tIns="0" rIns="0" bIns="0" rtlCol="0">
            <a:spAutoFit/>
          </a:bodyPr>
          <a:lstStyle/>
          <a:p>
            <a:pPr marL="0" marR="0" lvl="0" indent="0" algn="ctr" defTabSz="1088776" rtl="0" eaLnBrk="1" fontAlgn="base" latinLnBrk="0" hangingPunct="1">
              <a:lnSpc>
                <a:spcPct val="100000"/>
              </a:lnSpc>
              <a:spcBef>
                <a:spcPct val="50000"/>
              </a:spcBef>
              <a:spcAft>
                <a:spcPct val="0"/>
              </a:spcAft>
              <a:buClr>
                <a:srgbClr val="F0AB00"/>
              </a:buClr>
              <a:buSzPct val="80000"/>
              <a:buFontTx/>
              <a:buNone/>
              <a:tabLst/>
              <a:defRPr/>
            </a:pPr>
            <a:r>
              <a:rPr kumimoji="0" lang="en-US" sz="1050" b="1" i="0" u="none" strike="noStrike" kern="0" cap="none" spc="0" normalizeH="0" baseline="0" noProof="0">
                <a:ln>
                  <a:noFill/>
                </a:ln>
                <a:solidFill>
                  <a:srgbClr val="000000"/>
                </a:solidFill>
                <a:effectLst/>
                <a:uLnTx/>
                <a:uFillTx/>
                <a:latin typeface="72 Brand" panose="020B0504030603020204" pitchFamily="34" charset="0"/>
                <a:ea typeface="Arial Unicode MS" pitchFamily="34" charset="-128"/>
                <a:cs typeface="72" panose="020B0503030000000003" pitchFamily="34" charset="0"/>
              </a:rPr>
              <a:t>AWS</a:t>
            </a:r>
          </a:p>
        </p:txBody>
      </p:sp>
      <p:sp>
        <p:nvSpPr>
          <p:cNvPr id="163" name="TextBox 162">
            <a:extLst>
              <a:ext uri="{FF2B5EF4-FFF2-40B4-BE49-F238E27FC236}">
                <a16:creationId xmlns:a16="http://schemas.microsoft.com/office/drawing/2014/main" id="{8CFA8851-E33F-D619-CEA5-764C61CC139C}"/>
              </a:ext>
            </a:extLst>
          </p:cNvPr>
          <p:cNvSpPr txBox="1"/>
          <p:nvPr/>
        </p:nvSpPr>
        <p:spPr>
          <a:xfrm>
            <a:off x="8720621" y="2350903"/>
            <a:ext cx="898971" cy="161583"/>
          </a:xfrm>
          <a:prstGeom prst="rect">
            <a:avLst/>
          </a:prstGeom>
          <a:noFill/>
        </p:spPr>
        <p:txBody>
          <a:bodyPr wrap="square" lIns="0" tIns="0" rIns="0" bIns="0" rtlCol="0">
            <a:spAutoFit/>
          </a:bodyPr>
          <a:lstStyle/>
          <a:p>
            <a:pPr marL="0" marR="0" lvl="0" indent="0" algn="ctr" defTabSz="1088776" rtl="0" eaLnBrk="1" fontAlgn="base" latinLnBrk="0" hangingPunct="1">
              <a:lnSpc>
                <a:spcPct val="100000"/>
              </a:lnSpc>
              <a:spcBef>
                <a:spcPct val="50000"/>
              </a:spcBef>
              <a:spcAft>
                <a:spcPct val="0"/>
              </a:spcAft>
              <a:buClr>
                <a:srgbClr val="F0AB00"/>
              </a:buClr>
              <a:buSzPct val="80000"/>
              <a:buFontTx/>
              <a:buNone/>
              <a:tabLst/>
              <a:defRPr/>
            </a:pPr>
            <a:r>
              <a:rPr kumimoji="0" lang="en-US" sz="1050" b="1" i="0" u="none" strike="noStrike" kern="0" cap="none" spc="0" normalizeH="0" baseline="0" noProof="0">
                <a:ln>
                  <a:noFill/>
                </a:ln>
                <a:solidFill>
                  <a:srgbClr val="000000"/>
                </a:solidFill>
                <a:effectLst/>
                <a:uLnTx/>
                <a:uFillTx/>
                <a:latin typeface="72 Brand" panose="020B0504030603020204" pitchFamily="34" charset="0"/>
                <a:ea typeface="Arial Unicode MS" pitchFamily="34" charset="-128"/>
                <a:cs typeface="72" panose="020B0503030000000003" pitchFamily="34" charset="0"/>
              </a:rPr>
              <a:t>Azure</a:t>
            </a:r>
          </a:p>
        </p:txBody>
      </p:sp>
      <p:sp>
        <p:nvSpPr>
          <p:cNvPr id="164" name="TextBox 163">
            <a:extLst>
              <a:ext uri="{FF2B5EF4-FFF2-40B4-BE49-F238E27FC236}">
                <a16:creationId xmlns:a16="http://schemas.microsoft.com/office/drawing/2014/main" id="{56F52283-A24F-6A71-0BF6-5B65EA223757}"/>
              </a:ext>
            </a:extLst>
          </p:cNvPr>
          <p:cNvSpPr txBox="1"/>
          <p:nvPr/>
        </p:nvSpPr>
        <p:spPr>
          <a:xfrm>
            <a:off x="9236113" y="1922801"/>
            <a:ext cx="898971" cy="161583"/>
          </a:xfrm>
          <a:prstGeom prst="rect">
            <a:avLst/>
          </a:prstGeom>
          <a:noFill/>
        </p:spPr>
        <p:txBody>
          <a:bodyPr wrap="square" lIns="0" tIns="0" rIns="0" bIns="0" rtlCol="0">
            <a:spAutoFit/>
          </a:bodyPr>
          <a:lstStyle/>
          <a:p>
            <a:pPr marL="0" marR="0" lvl="0" indent="0" algn="ctr" defTabSz="1088776" rtl="0" eaLnBrk="1" fontAlgn="base" latinLnBrk="0" hangingPunct="1">
              <a:lnSpc>
                <a:spcPct val="100000"/>
              </a:lnSpc>
              <a:spcBef>
                <a:spcPct val="50000"/>
              </a:spcBef>
              <a:spcAft>
                <a:spcPct val="0"/>
              </a:spcAft>
              <a:buClr>
                <a:srgbClr val="F0AB00"/>
              </a:buClr>
              <a:buSzPct val="80000"/>
              <a:buFontTx/>
              <a:buNone/>
              <a:tabLst/>
              <a:defRPr/>
            </a:pPr>
            <a:r>
              <a:rPr kumimoji="0" lang="en-US" sz="1050" b="1" i="0" u="none" strike="noStrike" kern="0" cap="none" spc="0" normalizeH="0" baseline="0" noProof="0">
                <a:ln>
                  <a:noFill/>
                </a:ln>
                <a:solidFill>
                  <a:srgbClr val="000000"/>
                </a:solidFill>
                <a:effectLst/>
                <a:uLnTx/>
                <a:uFillTx/>
                <a:latin typeface="72 Brand" panose="020B0504030603020204" pitchFamily="34" charset="0"/>
                <a:ea typeface="Arial Unicode MS" pitchFamily="34" charset="-128"/>
                <a:cs typeface="72" panose="020B0503030000000003" pitchFamily="34" charset="0"/>
              </a:rPr>
              <a:t>ServiceNow</a:t>
            </a:r>
          </a:p>
        </p:txBody>
      </p:sp>
      <p:cxnSp>
        <p:nvCxnSpPr>
          <p:cNvPr id="23" name="Straight Connector 22">
            <a:extLst>
              <a:ext uri="{FF2B5EF4-FFF2-40B4-BE49-F238E27FC236}">
                <a16:creationId xmlns:a16="http://schemas.microsoft.com/office/drawing/2014/main" id="{DB280FE7-A770-3D62-539B-82E2FA5187E2}"/>
              </a:ext>
            </a:extLst>
          </p:cNvPr>
          <p:cNvCxnSpPr>
            <a:cxnSpLocks/>
          </p:cNvCxnSpPr>
          <p:nvPr/>
        </p:nvCxnSpPr>
        <p:spPr>
          <a:xfrm>
            <a:off x="7667345" y="5171107"/>
            <a:ext cx="0" cy="176575"/>
          </a:xfrm>
          <a:prstGeom prst="line">
            <a:avLst/>
          </a:prstGeom>
          <a:noFill/>
          <a:ln w="19050" cap="flat" cmpd="sng" algn="ctr">
            <a:solidFill>
              <a:schemeClr val="tx2"/>
            </a:solidFill>
            <a:prstDash val="solid"/>
            <a:headEnd type="none" w="med" len="med"/>
            <a:tailEnd type="none" w="med" len="med"/>
          </a:ln>
          <a:effectLst/>
        </p:spPr>
      </p:cxnSp>
      <p:sp>
        <p:nvSpPr>
          <p:cNvPr id="37" name="Oval 36">
            <a:extLst>
              <a:ext uri="{FF2B5EF4-FFF2-40B4-BE49-F238E27FC236}">
                <a16:creationId xmlns:a16="http://schemas.microsoft.com/office/drawing/2014/main" id="{A5EDCB4F-F0D8-DE3E-C034-D264318CE3F1}"/>
              </a:ext>
            </a:extLst>
          </p:cNvPr>
          <p:cNvSpPr/>
          <p:nvPr/>
        </p:nvSpPr>
        <p:spPr bwMode="gray">
          <a:xfrm>
            <a:off x="7620904" y="5209629"/>
            <a:ext cx="91633" cy="91633"/>
          </a:xfrm>
          <a:prstGeom prst="ellipse">
            <a:avLst/>
          </a:prstGeom>
          <a:solidFill>
            <a:srgbClr val="FFFFFF"/>
          </a:solidFill>
          <a:ln w="19050" algn="ctr">
            <a:solidFill>
              <a:schemeClr val="tx2"/>
            </a:solid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err="1">
              <a:ln>
                <a:noFill/>
              </a:ln>
              <a:solidFill>
                <a:srgbClr val="000000"/>
              </a:solidFill>
              <a:effectLst/>
              <a:uLnTx/>
              <a:uFillTx/>
              <a:latin typeface="72 Brand" panose="020B0504030603020204" pitchFamily="34" charset="0"/>
              <a:ea typeface="Arial Unicode MS" pitchFamily="34" charset="-128"/>
              <a:cs typeface="Arial Unicode MS" pitchFamily="34" charset="-128"/>
            </a:endParaRPr>
          </a:p>
        </p:txBody>
      </p:sp>
      <p:sp>
        <p:nvSpPr>
          <p:cNvPr id="13" name="TextBox 12">
            <a:extLst>
              <a:ext uri="{FF2B5EF4-FFF2-40B4-BE49-F238E27FC236}">
                <a16:creationId xmlns:a16="http://schemas.microsoft.com/office/drawing/2014/main" id="{483847B0-E77B-4654-6538-5302050647BF}"/>
              </a:ext>
            </a:extLst>
          </p:cNvPr>
          <p:cNvSpPr txBox="1"/>
          <p:nvPr/>
        </p:nvSpPr>
        <p:spPr>
          <a:xfrm>
            <a:off x="9803456" y="3443997"/>
            <a:ext cx="815929" cy="161583"/>
          </a:xfrm>
          <a:prstGeom prst="rect">
            <a:avLst/>
          </a:prstGeom>
          <a:noFill/>
        </p:spPr>
        <p:txBody>
          <a:bodyPr wrap="none" lIns="0" tIns="0" rIns="0" bIns="0" rtlCol="0">
            <a:spAutoFit/>
          </a:bodyPr>
          <a:lstStyle/>
          <a:p>
            <a:pPr marL="0" marR="0" lvl="0" indent="0" algn="l" defTabSz="1088776" rtl="0" eaLnBrk="1" fontAlgn="base" latinLnBrk="0" hangingPunct="1">
              <a:lnSpc>
                <a:spcPct val="100000"/>
              </a:lnSpc>
              <a:spcBef>
                <a:spcPct val="50000"/>
              </a:spcBef>
              <a:spcAft>
                <a:spcPct val="0"/>
              </a:spcAft>
              <a:buClr>
                <a:srgbClr val="F0AB00"/>
              </a:buClr>
              <a:buSzPct val="80000"/>
              <a:buFontTx/>
              <a:buNone/>
              <a:tabLst/>
              <a:defRPr/>
            </a:pPr>
            <a:r>
              <a:rPr kumimoji="0" lang="en-US" sz="1050" b="1" i="0" u="none" strike="noStrike" kern="0" cap="none" spc="0" normalizeH="0" baseline="0" noProof="0">
                <a:ln>
                  <a:noFill/>
                </a:ln>
                <a:solidFill>
                  <a:srgbClr val="000000"/>
                </a:solidFill>
                <a:effectLst/>
                <a:uLnTx/>
                <a:uFillTx/>
                <a:latin typeface="72 Brand" panose="020B0504030603020204" pitchFamily="34" charset="0"/>
                <a:ea typeface="Arial Unicode MS" pitchFamily="34" charset="-128"/>
                <a:cs typeface="Arial Unicode MS" pitchFamily="34" charset="-128"/>
              </a:rPr>
              <a:t>UN/</a:t>
            </a:r>
            <a:r>
              <a:rPr kumimoji="0" lang="en-US" sz="1050" b="1" i="1" u="none" strike="noStrike" kern="0" cap="none" spc="0" normalizeH="0" baseline="0" noProof="0">
                <a:ln>
                  <a:noFill/>
                </a:ln>
                <a:solidFill>
                  <a:srgbClr val="000000"/>
                </a:solidFill>
                <a:effectLst/>
                <a:uLnTx/>
                <a:uFillTx/>
                <a:latin typeface="72 Brand" panose="020B0504030603020204" pitchFamily="34" charset="0"/>
                <a:ea typeface="Arial Unicode MS" pitchFamily="34" charset="-128"/>
                <a:cs typeface="72" panose="020B0503030000000003" pitchFamily="34" charset="0"/>
              </a:rPr>
              <a:t>EDIFACT</a:t>
            </a:r>
          </a:p>
        </p:txBody>
      </p:sp>
      <p:sp>
        <p:nvSpPr>
          <p:cNvPr id="14" name="TextBox 13">
            <a:extLst>
              <a:ext uri="{FF2B5EF4-FFF2-40B4-BE49-F238E27FC236}">
                <a16:creationId xmlns:a16="http://schemas.microsoft.com/office/drawing/2014/main" id="{B438C369-61FD-96DB-3C88-B5E29179F4F0}"/>
              </a:ext>
            </a:extLst>
          </p:cNvPr>
          <p:cNvSpPr txBox="1"/>
          <p:nvPr/>
        </p:nvSpPr>
        <p:spPr>
          <a:xfrm>
            <a:off x="10142901" y="3626567"/>
            <a:ext cx="562655" cy="161583"/>
          </a:xfrm>
          <a:prstGeom prst="rect">
            <a:avLst/>
          </a:prstGeom>
          <a:noFill/>
        </p:spPr>
        <p:txBody>
          <a:bodyPr wrap="none" lIns="0" tIns="0" rIns="0" bIns="0" rtlCol="0">
            <a:spAutoFit/>
          </a:bodyPr>
          <a:lstStyle/>
          <a:p>
            <a:pPr marL="0" marR="0" lvl="0" indent="0" algn="l" defTabSz="1088776" rtl="0" eaLnBrk="1" fontAlgn="base" latinLnBrk="0" hangingPunct="1">
              <a:lnSpc>
                <a:spcPct val="100000"/>
              </a:lnSpc>
              <a:spcBef>
                <a:spcPct val="50000"/>
              </a:spcBef>
              <a:spcAft>
                <a:spcPct val="0"/>
              </a:spcAft>
              <a:buClr>
                <a:srgbClr val="F0AB00"/>
              </a:buClr>
              <a:buSzPct val="80000"/>
              <a:buFontTx/>
              <a:buNone/>
              <a:tabLst/>
              <a:defRPr/>
            </a:pPr>
            <a:r>
              <a:rPr kumimoji="0" lang="en-US" sz="1050" b="1" i="1" u="none" strike="noStrike" kern="0" cap="none" spc="0" normalizeH="0" baseline="0" noProof="0">
                <a:ln>
                  <a:noFill/>
                </a:ln>
                <a:solidFill>
                  <a:srgbClr val="000000"/>
                </a:solidFill>
                <a:effectLst/>
                <a:uLnTx/>
                <a:uFillTx/>
                <a:latin typeface="72 Brand" panose="020B0504030603020204" pitchFamily="34" charset="0"/>
                <a:ea typeface="Arial Unicode MS" pitchFamily="34" charset="-128"/>
                <a:cs typeface="Arial Unicode MS" pitchFamily="34" charset="-128"/>
              </a:rPr>
              <a:t>ASC X12</a:t>
            </a:r>
          </a:p>
        </p:txBody>
      </p:sp>
      <p:sp>
        <p:nvSpPr>
          <p:cNvPr id="15" name="TextBox 14">
            <a:extLst>
              <a:ext uri="{FF2B5EF4-FFF2-40B4-BE49-F238E27FC236}">
                <a16:creationId xmlns:a16="http://schemas.microsoft.com/office/drawing/2014/main" id="{B504CAB1-64F4-E67B-C808-C85AF10EAE50}"/>
              </a:ext>
            </a:extLst>
          </p:cNvPr>
          <p:cNvSpPr txBox="1"/>
          <p:nvPr/>
        </p:nvSpPr>
        <p:spPr>
          <a:xfrm>
            <a:off x="10044977" y="4308103"/>
            <a:ext cx="905697" cy="161583"/>
          </a:xfrm>
          <a:prstGeom prst="rect">
            <a:avLst/>
          </a:prstGeom>
          <a:noFill/>
        </p:spPr>
        <p:txBody>
          <a:bodyPr wrap="none" lIns="0" tIns="0" rIns="0" bIns="0" rtlCol="0">
            <a:spAutoFit/>
          </a:bodyPr>
          <a:lstStyle/>
          <a:p>
            <a:pPr marL="0" marR="0" lvl="0" indent="0" algn="l" defTabSz="1088776" rtl="0" eaLnBrk="1" fontAlgn="base" latinLnBrk="0" hangingPunct="1">
              <a:lnSpc>
                <a:spcPct val="100000"/>
              </a:lnSpc>
              <a:spcBef>
                <a:spcPct val="50000"/>
              </a:spcBef>
              <a:spcAft>
                <a:spcPct val="0"/>
              </a:spcAft>
              <a:buClr>
                <a:srgbClr val="F0AB00"/>
              </a:buClr>
              <a:buSzPct val="80000"/>
              <a:buFontTx/>
              <a:buNone/>
              <a:tabLst/>
              <a:defRPr/>
            </a:pPr>
            <a:r>
              <a:rPr kumimoji="0" lang="en-US" sz="1050" b="1" i="0" u="none" strike="noStrike" kern="0" cap="none" spc="0" normalizeH="0" baseline="0" noProof="0">
                <a:ln>
                  <a:noFill/>
                </a:ln>
                <a:solidFill>
                  <a:srgbClr val="000000"/>
                </a:solidFill>
                <a:effectLst/>
                <a:uLnTx/>
                <a:uFillTx/>
                <a:latin typeface="72 Brand" panose="020B0504030603020204" pitchFamily="34" charset="0"/>
                <a:ea typeface="Arial Unicode MS" pitchFamily="34" charset="-128"/>
                <a:cs typeface="Arial Unicode MS" pitchFamily="34" charset="-128"/>
              </a:rPr>
              <a:t>GS1 EANCOM</a:t>
            </a:r>
          </a:p>
        </p:txBody>
      </p:sp>
      <p:sp>
        <p:nvSpPr>
          <p:cNvPr id="16" name="TextBox 15">
            <a:extLst>
              <a:ext uri="{FF2B5EF4-FFF2-40B4-BE49-F238E27FC236}">
                <a16:creationId xmlns:a16="http://schemas.microsoft.com/office/drawing/2014/main" id="{BE0DD7B2-5C5C-FBFE-8F65-64140EEC4F89}"/>
              </a:ext>
            </a:extLst>
          </p:cNvPr>
          <p:cNvSpPr txBox="1"/>
          <p:nvPr/>
        </p:nvSpPr>
        <p:spPr>
          <a:xfrm>
            <a:off x="10910087" y="3631956"/>
            <a:ext cx="455253" cy="161583"/>
          </a:xfrm>
          <a:prstGeom prst="rect">
            <a:avLst/>
          </a:prstGeom>
          <a:noFill/>
        </p:spPr>
        <p:txBody>
          <a:bodyPr wrap="none" lIns="0" tIns="0" rIns="0" bIns="0" rtlCol="0">
            <a:spAutoFit/>
          </a:bodyPr>
          <a:lstStyle/>
          <a:p>
            <a:pPr marL="0" marR="0" lvl="0" indent="0" algn="l" defTabSz="1088776" rtl="0" eaLnBrk="1" fontAlgn="base" latinLnBrk="0" hangingPunct="1">
              <a:lnSpc>
                <a:spcPct val="100000"/>
              </a:lnSpc>
              <a:spcBef>
                <a:spcPct val="50000"/>
              </a:spcBef>
              <a:spcAft>
                <a:spcPct val="0"/>
              </a:spcAft>
              <a:buClr>
                <a:srgbClr val="F0AB00"/>
              </a:buClr>
              <a:buSzPct val="80000"/>
              <a:buFontTx/>
              <a:buNone/>
              <a:tabLst/>
              <a:defRPr/>
            </a:pPr>
            <a:r>
              <a:rPr kumimoji="0" lang="en-US" sz="1050" b="1" i="0" u="none" strike="noStrike" kern="0" cap="none" spc="0" normalizeH="0" baseline="0" noProof="0">
                <a:ln>
                  <a:noFill/>
                </a:ln>
                <a:solidFill>
                  <a:srgbClr val="000000"/>
                </a:solidFill>
                <a:effectLst/>
                <a:uLnTx/>
                <a:uFillTx/>
                <a:latin typeface="72 Brand" panose="020B0504030603020204" pitchFamily="34" charset="0"/>
                <a:ea typeface="Arial Unicode MS" pitchFamily="34" charset="-128"/>
                <a:cs typeface="+mn-cs"/>
              </a:rPr>
              <a:t>Odette</a:t>
            </a:r>
          </a:p>
        </p:txBody>
      </p:sp>
      <p:sp>
        <p:nvSpPr>
          <p:cNvPr id="17" name="TextBox 16">
            <a:extLst>
              <a:ext uri="{FF2B5EF4-FFF2-40B4-BE49-F238E27FC236}">
                <a16:creationId xmlns:a16="http://schemas.microsoft.com/office/drawing/2014/main" id="{D9E091B1-C90B-CD60-F204-2D38FB9FE4BA}"/>
              </a:ext>
            </a:extLst>
          </p:cNvPr>
          <p:cNvSpPr txBox="1"/>
          <p:nvPr/>
        </p:nvSpPr>
        <p:spPr>
          <a:xfrm>
            <a:off x="10275454" y="4546689"/>
            <a:ext cx="875240" cy="161583"/>
          </a:xfrm>
          <a:prstGeom prst="rect">
            <a:avLst/>
          </a:prstGeom>
          <a:noFill/>
        </p:spPr>
        <p:txBody>
          <a:bodyPr wrap="none" lIns="0" tIns="0" rIns="0" bIns="0" rtlCol="0">
            <a:spAutoFit/>
          </a:bodyPr>
          <a:lstStyle/>
          <a:p>
            <a:pPr marL="0" marR="0" lvl="0" indent="0" algn="l" defTabSz="1088776" rtl="0" eaLnBrk="1" fontAlgn="base" latinLnBrk="0" hangingPunct="1">
              <a:lnSpc>
                <a:spcPct val="100000"/>
              </a:lnSpc>
              <a:spcBef>
                <a:spcPct val="50000"/>
              </a:spcBef>
              <a:spcAft>
                <a:spcPct val="0"/>
              </a:spcAft>
              <a:buClr>
                <a:srgbClr val="F0AB00"/>
              </a:buClr>
              <a:buSzPct val="80000"/>
              <a:buFontTx/>
              <a:buNone/>
              <a:tabLst/>
              <a:defRPr/>
            </a:pPr>
            <a:r>
              <a:rPr kumimoji="0" lang="en-US" sz="1050" b="1" i="0" u="none" strike="noStrike" kern="0" cap="none" spc="0" normalizeH="0" baseline="0" noProof="0" dirty="0">
                <a:ln>
                  <a:noFill/>
                </a:ln>
                <a:solidFill>
                  <a:srgbClr val="000000"/>
                </a:solidFill>
                <a:effectLst/>
                <a:uLnTx/>
                <a:uFillTx/>
                <a:latin typeface="72 Brand" panose="020B0504030603020204" pitchFamily="34" charset="0"/>
                <a:ea typeface="Arial Unicode MS" pitchFamily="34" charset="-128"/>
                <a:cs typeface="Arial Unicode MS" pitchFamily="34" charset="-128"/>
              </a:rPr>
              <a:t>JAIF EDIFACT</a:t>
            </a:r>
          </a:p>
        </p:txBody>
      </p:sp>
      <p:sp>
        <p:nvSpPr>
          <p:cNvPr id="18" name="TextBox 17">
            <a:extLst>
              <a:ext uri="{FF2B5EF4-FFF2-40B4-BE49-F238E27FC236}">
                <a16:creationId xmlns:a16="http://schemas.microsoft.com/office/drawing/2014/main" id="{1A839C5A-7DDD-1D99-5C9D-90F9B286FEB2}"/>
              </a:ext>
            </a:extLst>
          </p:cNvPr>
          <p:cNvSpPr txBox="1"/>
          <p:nvPr/>
        </p:nvSpPr>
        <p:spPr>
          <a:xfrm>
            <a:off x="10324395" y="4091644"/>
            <a:ext cx="905697" cy="161583"/>
          </a:xfrm>
          <a:prstGeom prst="rect">
            <a:avLst/>
          </a:prstGeom>
          <a:noFill/>
        </p:spPr>
        <p:txBody>
          <a:bodyPr wrap="none" lIns="0" tIns="0" rIns="0" bIns="0" rtlCol="0">
            <a:spAutoFit/>
          </a:bodyPr>
          <a:lstStyle/>
          <a:p>
            <a:pPr marL="0" marR="0" lvl="0" indent="0" algn="l" defTabSz="1088776" rtl="0" eaLnBrk="1" fontAlgn="base" latinLnBrk="0" hangingPunct="1">
              <a:lnSpc>
                <a:spcPct val="100000"/>
              </a:lnSpc>
              <a:spcBef>
                <a:spcPct val="50000"/>
              </a:spcBef>
              <a:spcAft>
                <a:spcPct val="0"/>
              </a:spcAft>
              <a:buClr>
                <a:srgbClr val="F0AB00"/>
              </a:buClr>
              <a:buSzPct val="80000"/>
              <a:buFontTx/>
              <a:buNone/>
              <a:tabLst/>
              <a:defRPr/>
            </a:pPr>
            <a:r>
              <a:rPr kumimoji="0" lang="en-US" sz="1050" b="1" i="0" u="none" strike="noStrike" kern="0" cap="none" spc="0" normalizeH="0" baseline="0" noProof="0">
                <a:ln>
                  <a:noFill/>
                </a:ln>
                <a:solidFill>
                  <a:srgbClr val="000000"/>
                </a:solidFill>
                <a:effectLst/>
                <a:uLnTx/>
                <a:uFillTx/>
                <a:latin typeface="72 Brand" panose="020B0504030603020204" pitchFamily="34" charset="0"/>
                <a:ea typeface="Arial Unicode MS" pitchFamily="34" charset="-128"/>
                <a:cs typeface="+mn-cs"/>
              </a:rPr>
              <a:t>VDA EDIFACT</a:t>
            </a:r>
          </a:p>
        </p:txBody>
      </p:sp>
      <p:sp>
        <p:nvSpPr>
          <p:cNvPr id="19" name="TextBox 18">
            <a:extLst>
              <a:ext uri="{FF2B5EF4-FFF2-40B4-BE49-F238E27FC236}">
                <a16:creationId xmlns:a16="http://schemas.microsoft.com/office/drawing/2014/main" id="{902831F8-0A06-3E73-AE0B-3EC8550D5FDB}"/>
              </a:ext>
            </a:extLst>
          </p:cNvPr>
          <p:cNvSpPr txBox="1"/>
          <p:nvPr/>
        </p:nvSpPr>
        <p:spPr>
          <a:xfrm>
            <a:off x="10082756" y="3866704"/>
            <a:ext cx="1046761" cy="161583"/>
          </a:xfrm>
          <a:prstGeom prst="rect">
            <a:avLst/>
          </a:prstGeom>
          <a:noFill/>
        </p:spPr>
        <p:txBody>
          <a:bodyPr wrap="none" lIns="0" tIns="0" rIns="0" bIns="0" rtlCol="0">
            <a:spAutoFit/>
          </a:bodyPr>
          <a:lstStyle/>
          <a:p>
            <a:pPr marL="0" marR="0" lvl="0" indent="0" algn="l" defTabSz="1088776" rtl="0" eaLnBrk="1" fontAlgn="base" latinLnBrk="0" hangingPunct="1">
              <a:lnSpc>
                <a:spcPct val="100000"/>
              </a:lnSpc>
              <a:spcBef>
                <a:spcPct val="50000"/>
              </a:spcBef>
              <a:spcAft>
                <a:spcPct val="0"/>
              </a:spcAft>
              <a:buClr>
                <a:srgbClr val="F0AB00"/>
              </a:buClr>
              <a:buSzPct val="80000"/>
              <a:buFontTx/>
              <a:buNone/>
              <a:tabLst/>
              <a:defRPr/>
            </a:pPr>
            <a:r>
              <a:rPr kumimoji="0" lang="en-US" sz="1050" b="1" i="0" u="none" strike="noStrike" kern="0" cap="none" spc="0" normalizeH="0" baseline="0" noProof="0">
                <a:ln>
                  <a:noFill/>
                </a:ln>
                <a:solidFill>
                  <a:srgbClr val="000000"/>
                </a:solidFill>
                <a:effectLst/>
                <a:uLnTx/>
                <a:uFillTx/>
                <a:latin typeface="72 Brand" panose="020B0504030603020204" pitchFamily="34" charset="0"/>
                <a:ea typeface="Arial Unicode MS" pitchFamily="34" charset="-128"/>
                <a:cs typeface="+mn-cs"/>
              </a:rPr>
              <a:t>Odette EDIFACT</a:t>
            </a:r>
          </a:p>
        </p:txBody>
      </p:sp>
      <p:sp>
        <p:nvSpPr>
          <p:cNvPr id="20" name="TextBox 19">
            <a:extLst>
              <a:ext uri="{FF2B5EF4-FFF2-40B4-BE49-F238E27FC236}">
                <a16:creationId xmlns:a16="http://schemas.microsoft.com/office/drawing/2014/main" id="{4C1F9B39-D3E2-D369-1982-ABD777D40D4C}"/>
              </a:ext>
            </a:extLst>
          </p:cNvPr>
          <p:cNvSpPr txBox="1"/>
          <p:nvPr/>
        </p:nvSpPr>
        <p:spPr>
          <a:xfrm>
            <a:off x="9816262" y="4613960"/>
            <a:ext cx="359073" cy="161583"/>
          </a:xfrm>
          <a:prstGeom prst="rect">
            <a:avLst/>
          </a:prstGeom>
          <a:noFill/>
        </p:spPr>
        <p:txBody>
          <a:bodyPr wrap="none" lIns="0" tIns="0" rIns="0" bIns="0" rtlCol="0">
            <a:spAutoFit/>
          </a:bodyPr>
          <a:lstStyle/>
          <a:p>
            <a:pPr marL="0" marR="0" lvl="0" indent="0" algn="l" defTabSz="1088776" rtl="0" eaLnBrk="1" fontAlgn="base" latinLnBrk="0" hangingPunct="1">
              <a:lnSpc>
                <a:spcPct val="100000"/>
              </a:lnSpc>
              <a:spcBef>
                <a:spcPct val="50000"/>
              </a:spcBef>
              <a:spcAft>
                <a:spcPct val="0"/>
              </a:spcAft>
              <a:buClr>
                <a:srgbClr val="F0AB00"/>
              </a:buClr>
              <a:buSzPct val="80000"/>
              <a:buFontTx/>
              <a:buNone/>
              <a:tabLst/>
              <a:defRPr/>
            </a:pPr>
            <a:r>
              <a:rPr kumimoji="0" lang="en-US" sz="1050" b="1" i="1" u="none" strike="noStrike" kern="0" cap="none" spc="0" normalizeH="0" baseline="0" noProof="0">
                <a:ln>
                  <a:noFill/>
                </a:ln>
                <a:solidFill>
                  <a:srgbClr val="000000"/>
                </a:solidFill>
                <a:effectLst/>
                <a:uLnTx/>
                <a:uFillTx/>
                <a:latin typeface="72 Brand" panose="020B0504030603020204" pitchFamily="34" charset="0"/>
                <a:ea typeface="Arial Unicode MS" pitchFamily="34" charset="-128"/>
                <a:cs typeface="+mn-cs"/>
              </a:rPr>
              <a:t>cXML</a:t>
            </a:r>
          </a:p>
        </p:txBody>
      </p:sp>
      <p:cxnSp>
        <p:nvCxnSpPr>
          <p:cNvPr id="50" name="Gerade Verbindung 60">
            <a:extLst>
              <a:ext uri="{FF2B5EF4-FFF2-40B4-BE49-F238E27FC236}">
                <a16:creationId xmlns:a16="http://schemas.microsoft.com/office/drawing/2014/main" id="{3DC0021C-9BB1-082F-614C-87CC8DF4BC20}"/>
              </a:ext>
            </a:extLst>
          </p:cNvPr>
          <p:cNvCxnSpPr>
            <a:cxnSpLocks/>
          </p:cNvCxnSpPr>
          <p:nvPr/>
        </p:nvCxnSpPr>
        <p:spPr>
          <a:xfrm flipH="1">
            <a:off x="6135030" y="5347682"/>
            <a:ext cx="3110257" cy="0"/>
          </a:xfrm>
          <a:prstGeom prst="line">
            <a:avLst/>
          </a:prstGeom>
          <a:noFill/>
          <a:ln w="15875" cap="rnd" cmpd="sng" algn="ctr">
            <a:solidFill>
              <a:schemeClr val="tx2"/>
            </a:solidFill>
            <a:prstDash val="solid"/>
          </a:ln>
          <a:effectLst/>
        </p:spPr>
      </p:cxnSp>
      <p:pic>
        <p:nvPicPr>
          <p:cNvPr id="24" name="Picture 4" descr="UK Flagge Union Jack - Aufkleber, Beschriftungen, T-Shirt Druck und mehr...">
            <a:extLst>
              <a:ext uri="{FF2B5EF4-FFF2-40B4-BE49-F238E27FC236}">
                <a16:creationId xmlns:a16="http://schemas.microsoft.com/office/drawing/2014/main" id="{999F7DD5-F4E0-9158-2FD2-5673B474C26C}"/>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13955" t="14662" r="16504" b="15797"/>
          <a:stretch/>
        </p:blipFill>
        <p:spPr bwMode="auto">
          <a:xfrm>
            <a:off x="2595395" y="1932280"/>
            <a:ext cx="360000" cy="232000"/>
          </a:xfrm>
          <a:prstGeom prst="roundRect">
            <a:avLst/>
          </a:prstGeom>
          <a:noFill/>
          <a:extLst>
            <a:ext uri="{909E8E84-426E-40DD-AFC4-6F175D3DCCD1}">
              <a14:hiddenFill xmlns:a14="http://schemas.microsoft.com/office/drawing/2010/main">
                <a:solidFill>
                  <a:srgbClr val="FFFFFF"/>
                </a:solidFill>
              </a14:hiddenFill>
            </a:ext>
          </a:extLst>
        </p:spPr>
      </p:pic>
      <p:pic>
        <p:nvPicPr>
          <p:cNvPr id="25" name="Picture 6">
            <a:extLst>
              <a:ext uri="{FF2B5EF4-FFF2-40B4-BE49-F238E27FC236}">
                <a16:creationId xmlns:a16="http://schemas.microsoft.com/office/drawing/2014/main" id="{5A0AAB64-753F-6E4B-422D-6A2EE692955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389490" y="2335460"/>
            <a:ext cx="360000" cy="232000"/>
          </a:xfrm>
          <a:prstGeom prst="roundRect">
            <a:avLst/>
          </a:prstGeom>
          <a:noFill/>
          <a:extLst>
            <a:ext uri="{909E8E84-426E-40DD-AFC4-6F175D3DCCD1}">
              <a14:hiddenFill xmlns:a14="http://schemas.microsoft.com/office/drawing/2010/main">
                <a:solidFill>
                  <a:srgbClr val="FFFFFF"/>
                </a:solidFill>
              </a14:hiddenFill>
            </a:ext>
          </a:extLst>
        </p:spPr>
      </p:pic>
      <p:pic>
        <p:nvPicPr>
          <p:cNvPr id="26" name="Picture 8" descr="Flagge Indiens – Wikipedia">
            <a:extLst>
              <a:ext uri="{FF2B5EF4-FFF2-40B4-BE49-F238E27FC236}">
                <a16:creationId xmlns:a16="http://schemas.microsoft.com/office/drawing/2014/main" id="{A2FC701B-C098-4343-0DC5-C0F7E291F1DB}"/>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082073" y="1637101"/>
            <a:ext cx="360000" cy="239565"/>
          </a:xfrm>
          <a:prstGeom prst="roundRect">
            <a:avLst/>
          </a:prstGeom>
          <a:noFill/>
          <a:extLst>
            <a:ext uri="{909E8E84-426E-40DD-AFC4-6F175D3DCCD1}">
              <a14:hiddenFill xmlns:a14="http://schemas.microsoft.com/office/drawing/2010/main">
                <a:solidFill>
                  <a:srgbClr val="FFFFFF"/>
                </a:solidFill>
              </a14:hiddenFill>
            </a:ext>
          </a:extLst>
        </p:spPr>
      </p:pic>
      <p:pic>
        <p:nvPicPr>
          <p:cNvPr id="29" name="Picture 2">
            <a:extLst>
              <a:ext uri="{FF2B5EF4-FFF2-40B4-BE49-F238E27FC236}">
                <a16:creationId xmlns:a16="http://schemas.microsoft.com/office/drawing/2014/main" id="{41FFA257-9DF1-0E76-48B9-50DC678F784D}"/>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1337" t="-1" r="20932" b="-1"/>
          <a:stretch/>
        </p:blipFill>
        <p:spPr bwMode="auto">
          <a:xfrm>
            <a:off x="3655002" y="1700468"/>
            <a:ext cx="366088" cy="239564"/>
          </a:xfrm>
          <a:prstGeom prst="roundRect">
            <a:avLst/>
          </a:prstGeom>
          <a:noFill/>
          <a:extLst>
            <a:ext uri="{909E8E84-426E-40DD-AFC4-6F175D3DCCD1}">
              <a14:hiddenFill xmlns:a14="http://schemas.microsoft.com/office/drawing/2010/main">
                <a:solidFill>
                  <a:srgbClr val="FFFFFF"/>
                </a:solidFill>
              </a14:hiddenFill>
            </a:ext>
          </a:extLst>
        </p:spPr>
      </p:pic>
      <p:sp>
        <p:nvSpPr>
          <p:cNvPr id="40" name="Rounded Rectangle 35">
            <a:extLst>
              <a:ext uri="{FF2B5EF4-FFF2-40B4-BE49-F238E27FC236}">
                <a16:creationId xmlns:a16="http://schemas.microsoft.com/office/drawing/2014/main" id="{C2E5D95F-2FDD-2A91-2E5A-811344AEB435}"/>
              </a:ext>
            </a:extLst>
          </p:cNvPr>
          <p:cNvSpPr/>
          <p:nvPr/>
        </p:nvSpPr>
        <p:spPr bwMode="gray">
          <a:xfrm>
            <a:off x="2908760" y="5353356"/>
            <a:ext cx="3035132" cy="802913"/>
          </a:xfrm>
          <a:prstGeom prst="roundRect">
            <a:avLst>
              <a:gd name="adj" fmla="val 6745"/>
            </a:avLst>
          </a:prstGeom>
          <a:noFill/>
          <a:ln w="19050" algn="ctr">
            <a:solidFill>
              <a:schemeClr val="tx2"/>
            </a:solidFill>
            <a:prstDash val="sysDot"/>
            <a:miter lim="800000"/>
            <a:headEnd/>
            <a:tailEnd/>
          </a:ln>
        </p:spPr>
        <p:txBody>
          <a:bodyPr lIns="89979" tIns="71983" rIns="89979" bIns="71983" rtlCol="0" anchor="ctr"/>
          <a:lstStyle/>
          <a:p>
            <a:pPr marL="0" marR="0" lvl="0" indent="0" algn="ctr" defTabSz="914217" rtl="0" eaLnBrk="1" fontAlgn="base" latinLnBrk="0" hangingPunct="1">
              <a:lnSpc>
                <a:spcPct val="100000"/>
              </a:lnSpc>
              <a:spcBef>
                <a:spcPct val="50000"/>
              </a:spcBef>
              <a:spcAft>
                <a:spcPct val="0"/>
              </a:spcAft>
              <a:buClr>
                <a:srgbClr val="F0AB00"/>
              </a:buClr>
              <a:buSzPct val="80000"/>
              <a:buFontTx/>
              <a:buNone/>
              <a:tabLst/>
              <a:defRPr/>
            </a:pPr>
            <a:endParaRPr kumimoji="0" lang="en-US" sz="2000" b="0" i="0" u="none" strike="noStrike" kern="0" cap="none" spc="0" normalizeH="0" baseline="0" noProof="0">
              <a:ln>
                <a:noFill/>
              </a:ln>
              <a:solidFill>
                <a:srgbClr val="FFFFFF"/>
              </a:solidFill>
              <a:effectLst/>
              <a:uLnTx/>
              <a:uFillTx/>
              <a:latin typeface="72 Brand" panose="020B0504030603020204" pitchFamily="34" charset="0"/>
              <a:ea typeface="BentonSans Bold" charset="0"/>
              <a:cs typeface="Arial" panose="020B0604020202020204" pitchFamily="34" charset="0"/>
              <a:sym typeface="Arial" panose="020B0604020202020204" pitchFamily="34" charset="0"/>
            </a:endParaRPr>
          </a:p>
        </p:txBody>
      </p:sp>
      <p:sp>
        <p:nvSpPr>
          <p:cNvPr id="75" name="TextBox 74">
            <a:extLst>
              <a:ext uri="{FF2B5EF4-FFF2-40B4-BE49-F238E27FC236}">
                <a16:creationId xmlns:a16="http://schemas.microsoft.com/office/drawing/2014/main" id="{56C66E8C-1843-2AE1-76DB-CA67910C064B}"/>
              </a:ext>
            </a:extLst>
          </p:cNvPr>
          <p:cNvSpPr txBox="1"/>
          <p:nvPr/>
        </p:nvSpPr>
        <p:spPr>
          <a:xfrm>
            <a:off x="1299947" y="5828395"/>
            <a:ext cx="1331862" cy="349702"/>
          </a:xfrm>
          <a:prstGeom prst="rect">
            <a:avLst/>
          </a:prstGeom>
          <a:noFill/>
          <a:ln>
            <a:noFill/>
          </a:ln>
        </p:spPr>
        <p:txBody>
          <a:bodyPr wrap="square" lIns="36000" tIns="36000" rIns="36000" bIns="36000" rtlCol="0" anchor="ctr">
            <a:spAutoFit/>
          </a:bodyPr>
          <a:lstStyle/>
          <a:p>
            <a:pPr marL="0" marR="0" lvl="0" indent="0" algn="r" defTabSz="1794879" rtl="0" eaLnBrk="1" fontAlgn="base" latinLnBrk="0" hangingPunct="1">
              <a:lnSpc>
                <a:spcPct val="100000"/>
              </a:lnSpc>
              <a:spcBef>
                <a:spcPts val="0"/>
              </a:spcBef>
              <a:spcAft>
                <a:spcPts val="0"/>
              </a:spcAft>
              <a:buClr>
                <a:srgbClr val="F0AB00"/>
              </a:buClr>
              <a:buSzPct val="80000"/>
              <a:buFontTx/>
              <a:buNone/>
              <a:tabLst/>
              <a:defRPr/>
            </a:pPr>
            <a:r>
              <a:rPr kumimoji="0" lang="en-US" sz="900" b="1" i="0" u="none" strike="noStrike" kern="0" cap="none" spc="0" normalizeH="0" baseline="0" noProof="0">
                <a:ln>
                  <a:noFill/>
                </a:ln>
                <a:solidFill>
                  <a:srgbClr val="FFFFFF">
                    <a:lumMod val="50000"/>
                  </a:srgbClr>
                </a:solidFill>
                <a:effectLst/>
                <a:uLnTx/>
                <a:uFillTx/>
                <a:latin typeface="72 Brand" panose="020B0504030603020204" pitchFamily="34" charset="0"/>
                <a:ea typeface="Arial Unicode MS" pitchFamily="34" charset="-128"/>
                <a:cs typeface="72" panose="020B0503030000000003" pitchFamily="34" charset="0"/>
                <a:sym typeface="Arial" panose="020B0604020202020204" pitchFamily="34" charset="0"/>
              </a:rPr>
              <a:t>Vendor-managed multi-cloud offering</a:t>
            </a:r>
          </a:p>
        </p:txBody>
      </p:sp>
      <p:sp>
        <p:nvSpPr>
          <p:cNvPr id="5" name="Rectangle 20">
            <a:extLst>
              <a:ext uri="{FF2B5EF4-FFF2-40B4-BE49-F238E27FC236}">
                <a16:creationId xmlns:a16="http://schemas.microsoft.com/office/drawing/2014/main" id="{5DA37AD5-CF2D-233D-850B-DD54C00E6DBA}"/>
              </a:ext>
            </a:extLst>
          </p:cNvPr>
          <p:cNvSpPr/>
          <p:nvPr/>
        </p:nvSpPr>
        <p:spPr bwMode="gray">
          <a:xfrm flipH="1">
            <a:off x="4005328" y="2889979"/>
            <a:ext cx="3943341" cy="292378"/>
          </a:xfrm>
          <a:prstGeom prst="rect">
            <a:avLst/>
          </a:prstGeom>
          <a:noFill/>
          <a:ln w="9525">
            <a:noFill/>
            <a:prstDash val="solid"/>
          </a:ln>
        </p:spPr>
        <p:txBody>
          <a:bodyPr wrap="square" lIns="38095" tIns="38095" rIns="38095" bIns="38095" rtlCol="0" anchor="ctr" anchorCtr="0">
            <a:spAutoFit/>
          </a:bodyPr>
          <a:lstStyle/>
          <a:p>
            <a:pPr marL="0" marR="0" lvl="0" indent="0" algn="ctr" defTabSz="609276"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1B90FF"/>
                </a:solidFill>
                <a:effectLst/>
                <a:uLnTx/>
                <a:uFillTx/>
                <a:latin typeface="72 Brand"/>
                <a:ea typeface="+mn-ea"/>
                <a:cs typeface="72" panose="020B0503030000000003" pitchFamily="34" charset="0"/>
                <a:sym typeface="72" panose="020B0503030000000003" pitchFamily="34" charset="0"/>
              </a:rPr>
              <a:t>Capabilities within SAP Integration Suite</a:t>
            </a:r>
            <a:endParaRPr kumimoji="0" lang="en-US" sz="1400" b="1" i="0" u="none" strike="noStrike" kern="0" cap="none" spc="0" normalizeH="0" baseline="0" noProof="0">
              <a:ln>
                <a:noFill/>
              </a:ln>
              <a:solidFill>
                <a:srgbClr val="1B90FF"/>
              </a:solidFill>
              <a:effectLst/>
              <a:uLnTx/>
              <a:uFillTx/>
              <a:latin typeface="72 Brand"/>
              <a:ea typeface="+mn-ea"/>
              <a:cs typeface="72" panose="020B0503030000000003" pitchFamily="34" charset="0"/>
            </a:endParaRPr>
          </a:p>
        </p:txBody>
      </p:sp>
      <p:sp>
        <p:nvSpPr>
          <p:cNvPr id="6" name="Rectangle 20">
            <a:extLst>
              <a:ext uri="{FF2B5EF4-FFF2-40B4-BE49-F238E27FC236}">
                <a16:creationId xmlns:a16="http://schemas.microsoft.com/office/drawing/2014/main" id="{2115FA11-F93D-4CFD-FDBF-2CF530875B77}"/>
              </a:ext>
            </a:extLst>
          </p:cNvPr>
          <p:cNvSpPr/>
          <p:nvPr/>
        </p:nvSpPr>
        <p:spPr bwMode="gray">
          <a:xfrm flipH="1">
            <a:off x="1793788" y="3450456"/>
            <a:ext cx="1221204" cy="246211"/>
          </a:xfrm>
          <a:prstGeom prst="rect">
            <a:avLst/>
          </a:prstGeom>
          <a:noFill/>
          <a:ln w="9525">
            <a:noFill/>
            <a:prstDash val="solid"/>
          </a:ln>
        </p:spPr>
        <p:txBody>
          <a:bodyPr wrap="square" lIns="38095" tIns="38095" rIns="38095" bIns="38095" rtlCol="0" anchor="ctr" anchorCtr="0">
            <a:spAutoFit/>
          </a:bodyPr>
          <a:lstStyle/>
          <a:p>
            <a:pPr marL="0" marR="0" lvl="0" indent="0" algn="ctr" defTabSz="609276"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dirty="0">
                <a:ln>
                  <a:noFill/>
                </a:ln>
                <a:solidFill>
                  <a:srgbClr val="000000"/>
                </a:solidFill>
                <a:effectLst/>
                <a:uLnTx/>
                <a:uFillTx/>
                <a:latin typeface="72 Brand"/>
                <a:ea typeface="+mn-ea"/>
                <a:cs typeface="Arial"/>
                <a:sym typeface="72" panose="020B0503030000000003" pitchFamily="34" charset="0"/>
              </a:rPr>
              <a:t>SAP Concur</a:t>
            </a:r>
            <a:endParaRPr kumimoji="0" lang="en-US" sz="1050" b="0" i="0" u="none" strike="noStrike" kern="1200" cap="none" spc="0" normalizeH="0" baseline="0" noProof="0" dirty="0">
              <a:ln>
                <a:noFill/>
              </a:ln>
              <a:solidFill>
                <a:srgbClr val="000000"/>
              </a:solidFill>
              <a:effectLst/>
              <a:uLnTx/>
              <a:uFillTx/>
              <a:latin typeface="72 Brand"/>
              <a:ea typeface="+mn-ea"/>
              <a:cs typeface="Arial"/>
            </a:endParaRPr>
          </a:p>
        </p:txBody>
      </p:sp>
      <p:sp>
        <p:nvSpPr>
          <p:cNvPr id="7" name="Rectangle 20">
            <a:extLst>
              <a:ext uri="{FF2B5EF4-FFF2-40B4-BE49-F238E27FC236}">
                <a16:creationId xmlns:a16="http://schemas.microsoft.com/office/drawing/2014/main" id="{42126901-0A6D-D744-CCE3-D2B33B34CEFA}"/>
              </a:ext>
            </a:extLst>
          </p:cNvPr>
          <p:cNvSpPr/>
          <p:nvPr/>
        </p:nvSpPr>
        <p:spPr bwMode="gray">
          <a:xfrm flipH="1">
            <a:off x="1213944" y="3602857"/>
            <a:ext cx="1221204" cy="246211"/>
          </a:xfrm>
          <a:prstGeom prst="rect">
            <a:avLst/>
          </a:prstGeom>
          <a:noFill/>
          <a:ln w="9525">
            <a:noFill/>
            <a:prstDash val="solid"/>
          </a:ln>
        </p:spPr>
        <p:txBody>
          <a:bodyPr wrap="square" lIns="38095" tIns="38095" rIns="38095" bIns="38095" rtlCol="0" anchor="ctr" anchorCtr="0">
            <a:spAutoFit/>
          </a:bodyPr>
          <a:lstStyle/>
          <a:p>
            <a:pPr marL="0" marR="0" lvl="0" indent="0" algn="ctr" defTabSz="609276"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dirty="0">
                <a:ln>
                  <a:noFill/>
                </a:ln>
                <a:solidFill>
                  <a:srgbClr val="000000"/>
                </a:solidFill>
                <a:effectLst/>
                <a:uLnTx/>
                <a:uFillTx/>
                <a:latin typeface="72 Brand"/>
                <a:ea typeface="+mn-ea"/>
                <a:cs typeface="Arial"/>
                <a:sym typeface="72" panose="020B0503030000000003" pitchFamily="34" charset="0"/>
              </a:rPr>
              <a:t>SAP Ariba</a:t>
            </a:r>
            <a:endParaRPr kumimoji="0" lang="en-US" sz="1050" b="0" i="0" u="none" strike="noStrike" kern="1200" cap="none" spc="0" normalizeH="0" baseline="0" noProof="0" dirty="0">
              <a:ln>
                <a:noFill/>
              </a:ln>
              <a:solidFill>
                <a:srgbClr val="000000"/>
              </a:solidFill>
              <a:effectLst/>
              <a:uLnTx/>
              <a:uFillTx/>
              <a:latin typeface="72 Brand"/>
              <a:ea typeface="+mn-ea"/>
              <a:cs typeface="Arial"/>
            </a:endParaRPr>
          </a:p>
        </p:txBody>
      </p:sp>
      <p:sp>
        <p:nvSpPr>
          <p:cNvPr id="8" name="Rectangle 20">
            <a:extLst>
              <a:ext uri="{FF2B5EF4-FFF2-40B4-BE49-F238E27FC236}">
                <a16:creationId xmlns:a16="http://schemas.microsoft.com/office/drawing/2014/main" id="{0407AB01-C355-6D94-FCDF-A8ACE512DDDE}"/>
              </a:ext>
            </a:extLst>
          </p:cNvPr>
          <p:cNvSpPr/>
          <p:nvPr/>
        </p:nvSpPr>
        <p:spPr bwMode="gray">
          <a:xfrm flipH="1">
            <a:off x="871476" y="3831246"/>
            <a:ext cx="1221204" cy="415488"/>
          </a:xfrm>
          <a:prstGeom prst="rect">
            <a:avLst/>
          </a:prstGeom>
          <a:noFill/>
          <a:ln w="9525">
            <a:noFill/>
            <a:prstDash val="solid"/>
          </a:ln>
        </p:spPr>
        <p:txBody>
          <a:bodyPr wrap="square" lIns="38095" tIns="38095" rIns="38095" bIns="38095" rtlCol="0" anchor="ctr" anchorCtr="0">
            <a:spAutoFit/>
          </a:bodyPr>
          <a:lstStyle/>
          <a:p>
            <a:pPr marL="0" marR="0" lvl="0" indent="0" algn="ctr" defTabSz="609276"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dirty="0">
                <a:ln>
                  <a:noFill/>
                </a:ln>
                <a:solidFill>
                  <a:srgbClr val="000000"/>
                </a:solidFill>
                <a:effectLst/>
                <a:uLnTx/>
                <a:uFillTx/>
                <a:latin typeface="72 Brand"/>
                <a:ea typeface="+mn-ea"/>
                <a:cs typeface="Arial"/>
                <a:sym typeface="72" panose="020B0503030000000003" pitchFamily="34" charset="0"/>
              </a:rPr>
              <a:t>SAP Customer Experience</a:t>
            </a:r>
            <a:endParaRPr kumimoji="0" lang="en-US" sz="1050" b="0" i="0" u="none" strike="noStrike" kern="1200" cap="none" spc="0" normalizeH="0" baseline="0" noProof="0" dirty="0">
              <a:ln>
                <a:noFill/>
              </a:ln>
              <a:solidFill>
                <a:srgbClr val="000000"/>
              </a:solidFill>
              <a:effectLst/>
              <a:uLnTx/>
              <a:uFillTx/>
              <a:latin typeface="72 Brand"/>
              <a:ea typeface="+mn-ea"/>
              <a:cs typeface="Arial"/>
            </a:endParaRPr>
          </a:p>
        </p:txBody>
      </p:sp>
      <p:sp>
        <p:nvSpPr>
          <p:cNvPr id="9" name="Rectangle 20">
            <a:extLst>
              <a:ext uri="{FF2B5EF4-FFF2-40B4-BE49-F238E27FC236}">
                <a16:creationId xmlns:a16="http://schemas.microsoft.com/office/drawing/2014/main" id="{33482682-E44C-66EC-1003-10CE292DF410}"/>
              </a:ext>
            </a:extLst>
          </p:cNvPr>
          <p:cNvSpPr/>
          <p:nvPr/>
        </p:nvSpPr>
        <p:spPr bwMode="gray">
          <a:xfrm flipH="1">
            <a:off x="806597" y="4278179"/>
            <a:ext cx="1221204" cy="246211"/>
          </a:xfrm>
          <a:prstGeom prst="rect">
            <a:avLst/>
          </a:prstGeom>
          <a:noFill/>
          <a:ln w="9525">
            <a:noFill/>
            <a:prstDash val="solid"/>
          </a:ln>
        </p:spPr>
        <p:txBody>
          <a:bodyPr wrap="square" lIns="38095" tIns="38095" rIns="38095" bIns="38095" rtlCol="0" anchor="ctr" anchorCtr="0">
            <a:spAutoFit/>
          </a:bodyPr>
          <a:lstStyle/>
          <a:p>
            <a:pPr marL="0" marR="0" lvl="0" indent="0" algn="ctr" defTabSz="609276"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dirty="0">
                <a:ln>
                  <a:noFill/>
                </a:ln>
                <a:solidFill>
                  <a:srgbClr val="000000"/>
                </a:solidFill>
                <a:effectLst/>
                <a:uLnTx/>
                <a:uFillTx/>
                <a:latin typeface="72 Brand"/>
                <a:ea typeface="+mn-ea"/>
                <a:cs typeface="Arial"/>
                <a:sym typeface="72" panose="020B0503030000000003" pitchFamily="34" charset="0"/>
              </a:rPr>
              <a:t>SAP S/4HANA</a:t>
            </a:r>
            <a:endParaRPr kumimoji="0" lang="en-US" sz="1050" b="0" i="0" u="none" strike="noStrike" kern="1200" cap="none" spc="0" normalizeH="0" baseline="0" noProof="0" dirty="0">
              <a:ln>
                <a:noFill/>
              </a:ln>
              <a:solidFill>
                <a:srgbClr val="000000"/>
              </a:solidFill>
              <a:effectLst/>
              <a:uLnTx/>
              <a:uFillTx/>
              <a:latin typeface="72 Brand"/>
              <a:ea typeface="+mn-ea"/>
              <a:cs typeface="Arial"/>
            </a:endParaRPr>
          </a:p>
        </p:txBody>
      </p:sp>
      <p:sp>
        <p:nvSpPr>
          <p:cNvPr id="10" name="Rectangle 20">
            <a:extLst>
              <a:ext uri="{FF2B5EF4-FFF2-40B4-BE49-F238E27FC236}">
                <a16:creationId xmlns:a16="http://schemas.microsoft.com/office/drawing/2014/main" id="{55958DE2-CE48-C91F-DF96-55F1035CE1E4}"/>
              </a:ext>
            </a:extLst>
          </p:cNvPr>
          <p:cNvSpPr/>
          <p:nvPr/>
        </p:nvSpPr>
        <p:spPr bwMode="gray">
          <a:xfrm flipH="1">
            <a:off x="604460" y="4546689"/>
            <a:ext cx="1395420" cy="246211"/>
          </a:xfrm>
          <a:prstGeom prst="rect">
            <a:avLst/>
          </a:prstGeom>
          <a:noFill/>
          <a:ln w="9525">
            <a:noFill/>
            <a:prstDash val="solid"/>
          </a:ln>
        </p:spPr>
        <p:txBody>
          <a:bodyPr wrap="square" lIns="38095" tIns="38095" rIns="38095" bIns="38095" rtlCol="0" anchor="ctr" anchorCtr="0">
            <a:spAutoFit/>
          </a:bodyPr>
          <a:lstStyle/>
          <a:p>
            <a:pPr marL="0" marR="0" lvl="0" indent="0" algn="ctr" defTabSz="609276"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dirty="0">
                <a:ln>
                  <a:noFill/>
                </a:ln>
                <a:solidFill>
                  <a:srgbClr val="000000"/>
                </a:solidFill>
                <a:effectLst/>
                <a:uLnTx/>
                <a:uFillTx/>
                <a:latin typeface="72 Brand"/>
                <a:ea typeface="+mn-ea"/>
                <a:cs typeface="Arial"/>
                <a:sym typeface="72" panose="020B0503030000000003" pitchFamily="34" charset="0"/>
              </a:rPr>
              <a:t>SAP SuccessFactors</a:t>
            </a:r>
            <a:endParaRPr kumimoji="0" lang="en-US" sz="1050" b="0" i="0" u="none" strike="noStrike" kern="1200" cap="none" spc="0" normalizeH="0" baseline="0" noProof="0" dirty="0">
              <a:ln>
                <a:noFill/>
              </a:ln>
              <a:solidFill>
                <a:srgbClr val="000000"/>
              </a:solidFill>
              <a:effectLst/>
              <a:uLnTx/>
              <a:uFillTx/>
              <a:latin typeface="72 Brand"/>
              <a:ea typeface="+mn-ea"/>
              <a:cs typeface="Arial"/>
            </a:endParaRPr>
          </a:p>
        </p:txBody>
      </p:sp>
      <p:sp>
        <p:nvSpPr>
          <p:cNvPr id="11" name="Rectangle 20">
            <a:extLst>
              <a:ext uri="{FF2B5EF4-FFF2-40B4-BE49-F238E27FC236}">
                <a16:creationId xmlns:a16="http://schemas.microsoft.com/office/drawing/2014/main" id="{A4173DD4-4F65-6EFD-0506-B643FC840AF7}"/>
              </a:ext>
            </a:extLst>
          </p:cNvPr>
          <p:cNvSpPr/>
          <p:nvPr/>
        </p:nvSpPr>
        <p:spPr bwMode="gray">
          <a:xfrm flipH="1">
            <a:off x="1555221" y="5184711"/>
            <a:ext cx="1221204" cy="246211"/>
          </a:xfrm>
          <a:prstGeom prst="rect">
            <a:avLst/>
          </a:prstGeom>
          <a:noFill/>
          <a:ln w="9525">
            <a:noFill/>
            <a:prstDash val="solid"/>
          </a:ln>
        </p:spPr>
        <p:txBody>
          <a:bodyPr wrap="square" lIns="38095" tIns="38095" rIns="38095" bIns="38095" rtlCol="0" anchor="ctr" anchorCtr="0">
            <a:spAutoFit/>
          </a:bodyPr>
          <a:lstStyle/>
          <a:p>
            <a:pPr marL="0" marR="0" lvl="0" indent="0" algn="ctr" defTabSz="609276"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dirty="0">
                <a:ln>
                  <a:noFill/>
                </a:ln>
                <a:solidFill>
                  <a:srgbClr val="000000"/>
                </a:solidFill>
                <a:effectLst/>
                <a:uLnTx/>
                <a:uFillTx/>
                <a:latin typeface="72 Brand"/>
                <a:ea typeface="+mn-ea"/>
                <a:cs typeface="Arial"/>
                <a:sym typeface="72" panose="020B0503030000000003" pitchFamily="34" charset="0"/>
              </a:rPr>
              <a:t>SAP Fieldglass</a:t>
            </a:r>
            <a:endParaRPr kumimoji="0" lang="en-US" sz="1050" b="0" i="0" u="none" strike="noStrike" kern="1200" cap="none" spc="0" normalizeH="0" baseline="0" noProof="0" dirty="0">
              <a:ln>
                <a:noFill/>
              </a:ln>
              <a:solidFill>
                <a:srgbClr val="000000"/>
              </a:solidFill>
              <a:effectLst/>
              <a:uLnTx/>
              <a:uFillTx/>
              <a:latin typeface="72 Brand"/>
              <a:ea typeface="+mn-ea"/>
              <a:cs typeface="Arial"/>
            </a:endParaRPr>
          </a:p>
        </p:txBody>
      </p:sp>
      <p:sp>
        <p:nvSpPr>
          <p:cNvPr id="30" name="TextBox 29">
            <a:extLst>
              <a:ext uri="{FF2B5EF4-FFF2-40B4-BE49-F238E27FC236}">
                <a16:creationId xmlns:a16="http://schemas.microsoft.com/office/drawing/2014/main" id="{E5D395C8-7A9C-363F-400C-4053EAFF814E}"/>
              </a:ext>
            </a:extLst>
          </p:cNvPr>
          <p:cNvSpPr txBox="1"/>
          <p:nvPr/>
        </p:nvSpPr>
        <p:spPr>
          <a:xfrm>
            <a:off x="2939205" y="5452375"/>
            <a:ext cx="1574501" cy="261610"/>
          </a:xfrm>
          <a:prstGeom prst="rect">
            <a:avLst/>
          </a:prstGeom>
          <a:noFill/>
        </p:spPr>
        <p:txBody>
          <a:bodyPr wrap="square">
            <a:spAutoFit/>
          </a:bodyPr>
          <a:lstStyle/>
          <a:p>
            <a:pPr marL="0" marR="0" lvl="0" indent="0" algn="ctr" defTabSz="1088776"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000000"/>
                </a:solidFill>
                <a:effectLst/>
                <a:uLnTx/>
                <a:uFillTx/>
                <a:latin typeface="72 Brand" panose="020B0504030603020204" pitchFamily="34" charset="0"/>
                <a:ea typeface="Arial Unicode MS"/>
                <a:cs typeface="Arial Unicode MS"/>
              </a:rPr>
              <a:t>Microsoft Azure      </a:t>
            </a:r>
            <a:endParaRPr kumimoji="0" lang="de-CH" sz="1100" b="0" i="0" u="none" strike="noStrike" kern="1200" cap="none" spc="0" normalizeH="0" baseline="0" noProof="0">
              <a:ln>
                <a:noFill/>
              </a:ln>
              <a:solidFill>
                <a:srgbClr val="000000"/>
              </a:solidFill>
              <a:effectLst/>
              <a:uLnTx/>
              <a:uFillTx/>
              <a:latin typeface="Arial"/>
              <a:ea typeface="+mn-ea"/>
              <a:cs typeface="+mn-cs"/>
            </a:endParaRPr>
          </a:p>
        </p:txBody>
      </p:sp>
      <p:sp>
        <p:nvSpPr>
          <p:cNvPr id="31" name="TextBox 30">
            <a:extLst>
              <a:ext uri="{FF2B5EF4-FFF2-40B4-BE49-F238E27FC236}">
                <a16:creationId xmlns:a16="http://schemas.microsoft.com/office/drawing/2014/main" id="{E4484A35-4339-A62D-03FC-9498FC0B023F}"/>
              </a:ext>
            </a:extLst>
          </p:cNvPr>
          <p:cNvSpPr txBox="1"/>
          <p:nvPr/>
        </p:nvSpPr>
        <p:spPr>
          <a:xfrm>
            <a:off x="2933380" y="5866181"/>
            <a:ext cx="1574501" cy="261610"/>
          </a:xfrm>
          <a:prstGeom prst="rect">
            <a:avLst/>
          </a:prstGeom>
          <a:noFill/>
        </p:spPr>
        <p:txBody>
          <a:bodyPr wrap="square">
            <a:spAutoFit/>
          </a:bodyPr>
          <a:lstStyle/>
          <a:p>
            <a:pPr marL="0" marR="0" lvl="0" indent="0" algn="ctr" defTabSz="1088776"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solidFill>
                  <a:srgbClr val="000000"/>
                </a:solidFill>
                <a:effectLst/>
                <a:uLnTx/>
                <a:uFillTx/>
                <a:latin typeface="72 Brand" panose="020B0504030603020204" pitchFamily="34" charset="0"/>
                <a:ea typeface="Arial Unicode MS"/>
                <a:cs typeface="Arial Unicode MS"/>
              </a:rPr>
              <a:t>AWS</a:t>
            </a:r>
            <a:endParaRPr kumimoji="0" lang="de-CH" sz="1050" b="0" i="0" u="none" strike="noStrike" kern="1200" cap="none" spc="0" normalizeH="0" baseline="0" noProof="0">
              <a:ln>
                <a:noFill/>
              </a:ln>
              <a:solidFill>
                <a:srgbClr val="000000"/>
              </a:solidFill>
              <a:effectLst/>
              <a:uLnTx/>
              <a:uFillTx/>
              <a:latin typeface="Arial"/>
              <a:ea typeface="+mn-ea"/>
              <a:cs typeface="+mn-cs"/>
            </a:endParaRPr>
          </a:p>
        </p:txBody>
      </p:sp>
      <p:sp>
        <p:nvSpPr>
          <p:cNvPr id="32" name="TextBox 31">
            <a:extLst>
              <a:ext uri="{FF2B5EF4-FFF2-40B4-BE49-F238E27FC236}">
                <a16:creationId xmlns:a16="http://schemas.microsoft.com/office/drawing/2014/main" id="{FDEA8739-D6C6-8D90-1DE7-B293BBAD93A7}"/>
              </a:ext>
            </a:extLst>
          </p:cNvPr>
          <p:cNvSpPr txBox="1"/>
          <p:nvPr/>
        </p:nvSpPr>
        <p:spPr>
          <a:xfrm>
            <a:off x="4330288" y="5448838"/>
            <a:ext cx="1574501" cy="253916"/>
          </a:xfrm>
          <a:prstGeom prst="rect">
            <a:avLst/>
          </a:prstGeom>
          <a:noFill/>
        </p:spPr>
        <p:txBody>
          <a:bodyPr wrap="square">
            <a:spAutoFit/>
          </a:bodyPr>
          <a:lstStyle/>
          <a:p>
            <a:pPr marL="0" marR="0" lvl="0" indent="0" algn="ctr" defTabSz="1088776"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000000"/>
                </a:solidFill>
                <a:effectLst/>
                <a:uLnTx/>
                <a:uFillTx/>
                <a:latin typeface="72 Brand" panose="020B0504030603020204" pitchFamily="34" charset="0"/>
                <a:ea typeface="Arial Unicode MS"/>
                <a:cs typeface="Arial Unicode MS"/>
              </a:rPr>
              <a:t>Google Cloud Platform</a:t>
            </a:r>
            <a:endParaRPr kumimoji="0" lang="de-CH" sz="1050" b="0" i="0" u="none" strike="noStrike" kern="1200" cap="none" spc="0" normalizeH="0" baseline="0" noProof="0" dirty="0">
              <a:ln>
                <a:noFill/>
              </a:ln>
              <a:solidFill>
                <a:srgbClr val="000000"/>
              </a:solidFill>
              <a:effectLst/>
              <a:uLnTx/>
              <a:uFillTx/>
              <a:latin typeface="Arial"/>
              <a:ea typeface="+mn-ea"/>
              <a:cs typeface="+mn-cs"/>
            </a:endParaRPr>
          </a:p>
        </p:txBody>
      </p:sp>
      <p:sp>
        <p:nvSpPr>
          <p:cNvPr id="34" name="TextBox 33">
            <a:extLst>
              <a:ext uri="{FF2B5EF4-FFF2-40B4-BE49-F238E27FC236}">
                <a16:creationId xmlns:a16="http://schemas.microsoft.com/office/drawing/2014/main" id="{178A7C0D-C4DA-BF29-D17E-01B8EBE8628D}"/>
              </a:ext>
            </a:extLst>
          </p:cNvPr>
          <p:cNvSpPr txBox="1"/>
          <p:nvPr/>
        </p:nvSpPr>
        <p:spPr>
          <a:xfrm>
            <a:off x="4347231" y="5866703"/>
            <a:ext cx="1574501" cy="261610"/>
          </a:xfrm>
          <a:prstGeom prst="rect">
            <a:avLst/>
          </a:prstGeom>
          <a:noFill/>
        </p:spPr>
        <p:txBody>
          <a:bodyPr wrap="square">
            <a:spAutoFit/>
          </a:bodyPr>
          <a:lstStyle/>
          <a:p>
            <a:pPr marL="0" marR="0" lvl="0" indent="0" algn="ctr" defTabSz="1088776"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solidFill>
                  <a:srgbClr val="000000"/>
                </a:solidFill>
                <a:effectLst/>
                <a:uLnTx/>
                <a:uFillTx/>
                <a:latin typeface="72 Brand" panose="020B0504030603020204" pitchFamily="34" charset="0"/>
                <a:ea typeface="Arial Unicode MS"/>
                <a:cs typeface="Arial Unicode MS"/>
              </a:rPr>
              <a:t>Alibaba Cloud</a:t>
            </a:r>
            <a:endParaRPr kumimoji="0" lang="de-CH" sz="1050" b="0" i="0" u="none" strike="noStrike" kern="1200" cap="none" spc="0" normalizeH="0" baseline="0" noProof="0">
              <a:ln>
                <a:noFill/>
              </a:ln>
              <a:solidFill>
                <a:srgbClr val="000000"/>
              </a:solidFill>
              <a:effectLst/>
              <a:uLnTx/>
              <a:uFillTx/>
              <a:latin typeface="Arial"/>
              <a:ea typeface="+mn-ea"/>
              <a:cs typeface="+mn-cs"/>
            </a:endParaRPr>
          </a:p>
        </p:txBody>
      </p:sp>
      <p:sp>
        <p:nvSpPr>
          <p:cNvPr id="21" name="Shape 2158">
            <a:extLst>
              <a:ext uri="{FF2B5EF4-FFF2-40B4-BE49-F238E27FC236}">
                <a16:creationId xmlns:a16="http://schemas.microsoft.com/office/drawing/2014/main" id="{BDFE62F5-5FD1-A2EE-419A-8F6DA57C4A15}"/>
              </a:ext>
            </a:extLst>
          </p:cNvPr>
          <p:cNvSpPr/>
          <p:nvPr/>
        </p:nvSpPr>
        <p:spPr bwMode="gray">
          <a:xfrm>
            <a:off x="6192135" y="5413760"/>
            <a:ext cx="3053152" cy="402331"/>
          </a:xfrm>
          <a:prstGeom prst="roundRect">
            <a:avLst>
              <a:gd name="adj" fmla="val 23855"/>
            </a:avLst>
          </a:prstGeom>
          <a:noFill/>
          <a:ln w="12700">
            <a:solidFill>
              <a:srgbClr val="049F9A"/>
            </a:solidFill>
            <a:round/>
            <a:headEnd/>
            <a:tailEnd/>
          </a:ln>
          <a:effectLst/>
        </p:spPr>
        <p:txBody>
          <a:bodyPr vert="horz" wrap="square" lIns="91344" tIns="45672" rIns="91344" bIns="45672" numCol="1" anchor="ctr" anchorCtr="0" compatLnSpc="1">
            <a:prstTxWarp prst="textNoShape">
              <a:avLst/>
            </a:prstTxWarp>
          </a:bodyPr>
          <a:lstStyle/>
          <a:p>
            <a:pPr marL="0" marR="0" lvl="0" indent="0" algn="ctr" defTabSz="483646"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000000"/>
                </a:solidFill>
                <a:effectLst/>
                <a:uLnTx/>
                <a:uFillTx/>
                <a:latin typeface="72 Brand Medium"/>
                <a:ea typeface="+mn-ea"/>
                <a:cs typeface="Arial"/>
                <a:sym typeface="72" panose="020B0503030000000003" pitchFamily="34" charset="0"/>
              </a:rPr>
              <a:t>Edge Integration Cell</a:t>
            </a:r>
          </a:p>
          <a:p>
            <a:pPr marL="0" marR="0" lvl="0" indent="0" algn="ctr" defTabSz="609348"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rgbClr val="000000"/>
                </a:solidFill>
                <a:effectLst/>
                <a:uLnTx/>
                <a:uFillTx/>
                <a:latin typeface="72 Brand"/>
                <a:ea typeface="+mn-ea"/>
                <a:cs typeface="72" panose="020B0503030000000003" pitchFamily="34" charset="0"/>
                <a:sym typeface="72" panose="020B0503030000000003" pitchFamily="34" charset="0"/>
              </a:rPr>
              <a:t>Next-generation integration runtime for local integrations</a:t>
            </a:r>
            <a:endParaRPr kumimoji="0" lang="en-US" sz="1200" b="1" i="0" u="none" strike="noStrike" kern="0" cap="none" spc="0" normalizeH="0" baseline="0" noProof="0" dirty="0">
              <a:ln>
                <a:noFill/>
              </a:ln>
              <a:solidFill>
                <a:srgbClr val="000000"/>
              </a:solidFill>
              <a:effectLst/>
              <a:uLnTx/>
              <a:uFillTx/>
              <a:latin typeface="72 Brand" panose="020B0504030603020204" pitchFamily="34" charset="0"/>
              <a:ea typeface="+mn-ea"/>
              <a:cs typeface="Arial" panose="020B0604020202020204" pitchFamily="34" charset="0"/>
              <a:sym typeface="Arial"/>
            </a:endParaRPr>
          </a:p>
        </p:txBody>
      </p:sp>
      <p:sp>
        <p:nvSpPr>
          <p:cNvPr id="28" name="Rectangle: Rounded Corners 32">
            <a:extLst>
              <a:ext uri="{FF2B5EF4-FFF2-40B4-BE49-F238E27FC236}">
                <a16:creationId xmlns:a16="http://schemas.microsoft.com/office/drawing/2014/main" id="{11033033-0009-F7C3-DB70-CE40B148D8F6}"/>
              </a:ext>
            </a:extLst>
          </p:cNvPr>
          <p:cNvSpPr/>
          <p:nvPr/>
        </p:nvSpPr>
        <p:spPr bwMode="gray">
          <a:xfrm>
            <a:off x="6192135" y="5867188"/>
            <a:ext cx="3043976" cy="402331"/>
          </a:xfrm>
          <a:prstGeom prst="roundRect">
            <a:avLst>
              <a:gd name="adj" fmla="val 23268"/>
            </a:avLst>
          </a:prstGeom>
          <a:noFill/>
          <a:ln w="19050" algn="ctr">
            <a:solidFill>
              <a:srgbClr val="049F9A"/>
            </a:solidFill>
            <a:prstDash val="sysDot"/>
            <a:miter lim="800000"/>
            <a:headEnd/>
            <a:tailEnd/>
          </a:ln>
        </p:spPr>
        <p:txBody>
          <a:bodyPr lIns="89979" tIns="71983" rIns="89979" bIns="71983" rtlCol="0" anchor="ctr"/>
          <a:lstStyle/>
          <a:p>
            <a:pPr marL="0" marR="0" lvl="0" indent="0" algn="ctr" defTabSz="914217" rtl="0" eaLnBrk="1" fontAlgn="base" latinLnBrk="0" hangingPunct="1">
              <a:lnSpc>
                <a:spcPct val="100000"/>
              </a:lnSpc>
              <a:spcBef>
                <a:spcPct val="50000"/>
              </a:spcBef>
              <a:spcAft>
                <a:spcPct val="0"/>
              </a:spcAft>
              <a:buClr>
                <a:srgbClr val="F0AB00"/>
              </a:buClr>
              <a:buSzPct val="80000"/>
              <a:buFontTx/>
              <a:buNone/>
              <a:tabLst/>
              <a:defRPr/>
            </a:pPr>
            <a:endParaRPr kumimoji="0" lang="en-US" sz="900" b="0" i="0" u="none" strike="noStrike" kern="0" cap="none" spc="0" normalizeH="0" baseline="0" noProof="0">
              <a:ln>
                <a:noFill/>
              </a:ln>
              <a:solidFill>
                <a:srgbClr val="FFFFFF"/>
              </a:solidFill>
              <a:effectLst/>
              <a:uLnTx/>
              <a:uFillTx/>
              <a:latin typeface="72 Brand" panose="020B0504030603020204" pitchFamily="34" charset="0"/>
              <a:ea typeface="+mn-ea"/>
              <a:cs typeface="Arial" panose="020B0604020202020204" pitchFamily="34" charset="0"/>
            </a:endParaRPr>
          </a:p>
        </p:txBody>
      </p:sp>
      <p:sp>
        <p:nvSpPr>
          <p:cNvPr id="35" name="TextBox 73">
            <a:extLst>
              <a:ext uri="{FF2B5EF4-FFF2-40B4-BE49-F238E27FC236}">
                <a16:creationId xmlns:a16="http://schemas.microsoft.com/office/drawing/2014/main" id="{D2B7F88C-AB80-996C-97EB-96989A03636B}"/>
              </a:ext>
            </a:extLst>
          </p:cNvPr>
          <p:cNvSpPr txBox="1"/>
          <p:nvPr/>
        </p:nvSpPr>
        <p:spPr>
          <a:xfrm>
            <a:off x="9348366" y="5867442"/>
            <a:ext cx="786716" cy="349702"/>
          </a:xfrm>
          <a:prstGeom prst="rect">
            <a:avLst/>
          </a:prstGeom>
          <a:noFill/>
          <a:ln>
            <a:noFill/>
          </a:ln>
        </p:spPr>
        <p:txBody>
          <a:bodyPr wrap="square" lIns="36000" tIns="36000" rIns="36000" bIns="36000" rtlCol="0" anchor="ctr">
            <a:spAutoFit/>
          </a:bodyPr>
          <a:lstStyle/>
          <a:p>
            <a:pPr marL="0" marR="0" lvl="0" indent="0" algn="l" defTabSz="1794879" rtl="0" eaLnBrk="1" fontAlgn="base" latinLnBrk="0" hangingPunct="1">
              <a:lnSpc>
                <a:spcPct val="100000"/>
              </a:lnSpc>
              <a:spcBef>
                <a:spcPts val="0"/>
              </a:spcBef>
              <a:spcAft>
                <a:spcPts val="0"/>
              </a:spcAft>
              <a:buClr>
                <a:srgbClr val="F0AB00"/>
              </a:buClr>
              <a:buSzPct val="80000"/>
              <a:buFontTx/>
              <a:buNone/>
              <a:tabLst/>
              <a:defRPr/>
            </a:pPr>
            <a:r>
              <a:rPr kumimoji="0" lang="en-US" sz="900" b="1" i="0" u="none" strike="noStrike" kern="0" cap="none" spc="0" normalizeH="0" baseline="0" noProof="0" dirty="0">
                <a:ln>
                  <a:noFill/>
                </a:ln>
                <a:solidFill>
                  <a:srgbClr val="049F9A"/>
                </a:solidFill>
                <a:effectLst/>
                <a:uLnTx/>
                <a:uFillTx/>
                <a:latin typeface="72 Brand"/>
                <a:ea typeface="Arial Unicode MS"/>
                <a:cs typeface="72" panose="020B0503030000000003" pitchFamily="34" charset="0"/>
              </a:rPr>
              <a:t>Private </a:t>
            </a:r>
            <a:br>
              <a:rPr kumimoji="0" lang="en-US" sz="900" b="1" i="0" u="none" strike="noStrike" kern="0" cap="none" spc="0" normalizeH="0" baseline="0" noProof="0" dirty="0">
                <a:ln>
                  <a:noFill/>
                </a:ln>
                <a:solidFill>
                  <a:srgbClr val="049F9A"/>
                </a:solidFill>
                <a:effectLst/>
                <a:uLnTx/>
                <a:uFillTx/>
                <a:latin typeface="72 Brand" panose="020B0504030603020204" pitchFamily="34" charset="0"/>
                <a:ea typeface="Arial Unicode MS" pitchFamily="34" charset="-128"/>
                <a:cs typeface="72" panose="020B0503030000000003" pitchFamily="34" charset="0"/>
              </a:rPr>
            </a:br>
            <a:r>
              <a:rPr kumimoji="0" lang="en-US" sz="900" b="1" i="0" u="none" strike="noStrike" kern="0" cap="none" spc="0" normalizeH="0" baseline="0" noProof="0" dirty="0">
                <a:ln>
                  <a:noFill/>
                </a:ln>
                <a:solidFill>
                  <a:srgbClr val="049F9A"/>
                </a:solidFill>
                <a:effectLst/>
                <a:uLnTx/>
                <a:uFillTx/>
                <a:latin typeface="72 Brand"/>
                <a:ea typeface="Arial Unicode MS"/>
                <a:cs typeface="72" panose="020B0503030000000003" pitchFamily="34" charset="0"/>
              </a:rPr>
              <a:t>landscape</a:t>
            </a:r>
            <a:r>
              <a:rPr kumimoji="0" lang="en-US" sz="900" b="1" i="0" u="none" strike="noStrike" kern="0" cap="none" spc="0" normalizeH="0" baseline="30000" noProof="0" dirty="0">
                <a:ln>
                  <a:noFill/>
                </a:ln>
                <a:solidFill>
                  <a:srgbClr val="049F9A"/>
                </a:solidFill>
                <a:effectLst/>
                <a:uLnTx/>
                <a:uFillTx/>
                <a:latin typeface="72 Brand"/>
                <a:ea typeface="Arial Unicode MS"/>
                <a:cs typeface="72" panose="020B0503030000000003" pitchFamily="34" charset="0"/>
              </a:rPr>
              <a:t>2</a:t>
            </a:r>
          </a:p>
        </p:txBody>
      </p:sp>
      <p:sp>
        <p:nvSpPr>
          <p:cNvPr id="36" name="TextBox 26">
            <a:extLst>
              <a:ext uri="{FF2B5EF4-FFF2-40B4-BE49-F238E27FC236}">
                <a16:creationId xmlns:a16="http://schemas.microsoft.com/office/drawing/2014/main" id="{D5C99277-4DD1-470A-CD3A-C57A715C5422}"/>
              </a:ext>
            </a:extLst>
          </p:cNvPr>
          <p:cNvSpPr txBox="1"/>
          <p:nvPr/>
        </p:nvSpPr>
        <p:spPr>
          <a:xfrm>
            <a:off x="6299726" y="5938997"/>
            <a:ext cx="2088694" cy="246221"/>
          </a:xfrm>
          <a:prstGeom prst="rect">
            <a:avLst/>
          </a:prstGeom>
          <a:noFill/>
          <a:ln>
            <a:noFill/>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1088776" rtl="0" eaLnBrk="1" fontAlgn="base" latinLnBrk="0" hangingPunct="1">
              <a:lnSpc>
                <a:spcPct val="100000"/>
              </a:lnSpc>
              <a:spcBef>
                <a:spcPct val="50000"/>
              </a:spcBef>
              <a:spcAft>
                <a:spcPct val="0"/>
              </a:spcAft>
              <a:buClr>
                <a:srgbClr val="F0AB00"/>
              </a:buClr>
              <a:buSzPct val="80000"/>
              <a:buFontTx/>
              <a:buNone/>
              <a:tabLst/>
              <a:defRPr/>
            </a:pPr>
            <a:r>
              <a:rPr kumimoji="0" lang="en-US" sz="800" b="0" i="0" u="none" strike="noStrike" kern="0" cap="none" spc="0" normalizeH="0" baseline="0" noProof="0" dirty="0">
                <a:ln>
                  <a:noFill/>
                </a:ln>
                <a:solidFill>
                  <a:srgbClr val="000000"/>
                </a:solidFill>
                <a:effectLst/>
                <a:uLnTx/>
                <a:uFillTx/>
                <a:latin typeface="72 Brand" panose="020B0504030603020204" pitchFamily="34" charset="0"/>
                <a:ea typeface="Arial Unicode MS"/>
                <a:cs typeface="Arial Unicode MS"/>
              </a:rPr>
              <a:t>Microsoft AKS     	SUSE Rancher      </a:t>
            </a:r>
            <a:br>
              <a:rPr kumimoji="0" lang="en-US" sz="800" b="0" i="0" u="none" strike="noStrike" kern="0" cap="none" spc="0" normalizeH="0" baseline="0" noProof="0" dirty="0">
                <a:ln>
                  <a:noFill/>
                </a:ln>
                <a:solidFill>
                  <a:srgbClr val="000000"/>
                </a:solidFill>
                <a:effectLst/>
                <a:uLnTx/>
                <a:uFillTx/>
                <a:latin typeface="72 Brand" panose="020B0504030603020204" pitchFamily="34" charset="0"/>
                <a:ea typeface="Arial Unicode MS"/>
                <a:cs typeface="Arial Unicode MS"/>
              </a:rPr>
            </a:br>
            <a:r>
              <a:rPr kumimoji="0" lang="en-US" sz="800" b="0" i="0" u="none" strike="noStrike" kern="0" cap="none" spc="0" normalizeH="0" baseline="0" noProof="0" dirty="0">
                <a:ln>
                  <a:noFill/>
                </a:ln>
                <a:solidFill>
                  <a:srgbClr val="000000"/>
                </a:solidFill>
                <a:effectLst/>
                <a:uLnTx/>
                <a:uFillTx/>
                <a:latin typeface="72 Brand" panose="020B0504030603020204" pitchFamily="34" charset="0"/>
                <a:ea typeface="Arial Unicode MS"/>
                <a:cs typeface="Arial Unicode MS"/>
              </a:rPr>
              <a:t>Amazon EKS  	Red Hat OpenShift</a:t>
            </a:r>
            <a:endParaRPr kumimoji="0" lang="en-US" sz="800" b="0" i="0" u="none" strike="noStrike" kern="0" cap="none" spc="0" normalizeH="0" baseline="30000" noProof="0" dirty="0">
              <a:ln>
                <a:noFill/>
              </a:ln>
              <a:solidFill>
                <a:srgbClr val="000000"/>
              </a:solidFill>
              <a:effectLst/>
              <a:uLnTx/>
              <a:uFillTx/>
              <a:latin typeface="72 Brand" panose="020B0504030603020204" pitchFamily="34" charset="0"/>
              <a:ea typeface="Arial Unicode MS" pitchFamily="34" charset="-128"/>
              <a:cs typeface="Arial Unicode MS" pitchFamily="34" charset="-128"/>
            </a:endParaRPr>
          </a:p>
        </p:txBody>
      </p:sp>
      <p:sp>
        <p:nvSpPr>
          <p:cNvPr id="133" name="Oval 132">
            <a:extLst>
              <a:ext uri="{FF2B5EF4-FFF2-40B4-BE49-F238E27FC236}">
                <a16:creationId xmlns:a16="http://schemas.microsoft.com/office/drawing/2014/main" id="{3B3957CD-264F-A39F-0B7F-B4E3349707D9}"/>
              </a:ext>
            </a:extLst>
          </p:cNvPr>
          <p:cNvSpPr>
            <a:spLocks noChangeAspect="1"/>
          </p:cNvSpPr>
          <p:nvPr/>
        </p:nvSpPr>
        <p:spPr bwMode="gray">
          <a:xfrm>
            <a:off x="8866133" y="3552037"/>
            <a:ext cx="1152000" cy="1152000"/>
          </a:xfrm>
          <a:prstGeom prst="ellipse">
            <a:avLst/>
          </a:prstGeom>
          <a:solidFill>
            <a:schemeClr val="bg1">
              <a:alpha val="72000"/>
            </a:schemeClr>
          </a:solidFill>
          <a:ln w="25400" algn="ctr">
            <a:solidFill>
              <a:schemeClr val="accent6"/>
            </a:solidFill>
            <a:miter lim="800000"/>
            <a:headEnd/>
            <a:tailEnd/>
          </a:ln>
        </p:spPr>
        <p:txBody>
          <a:bodyPr lIns="0" tIns="72000" rIns="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r>
              <a:rPr kumimoji="0" lang="en-US" sz="1200" b="1" i="0" u="none" strike="noStrike" kern="0" cap="none" spc="0" normalizeH="0" baseline="0" noProof="0">
                <a:ln>
                  <a:noFill/>
                </a:ln>
                <a:solidFill>
                  <a:srgbClr val="000000"/>
                </a:solidFill>
                <a:effectLst/>
                <a:uLnTx/>
                <a:uFillTx/>
                <a:latin typeface="72 Brand" panose="020B0504030603020204" pitchFamily="34" charset="0"/>
                <a:ea typeface="Arial Unicode MS" pitchFamily="34" charset="-128"/>
                <a:cs typeface="72" panose="020B0503030000000003" pitchFamily="34" charset="0"/>
              </a:rPr>
              <a:t>B2B partners</a:t>
            </a:r>
          </a:p>
        </p:txBody>
      </p:sp>
      <p:sp>
        <p:nvSpPr>
          <p:cNvPr id="207" name="Oval 206">
            <a:extLst>
              <a:ext uri="{FF2B5EF4-FFF2-40B4-BE49-F238E27FC236}">
                <a16:creationId xmlns:a16="http://schemas.microsoft.com/office/drawing/2014/main" id="{C3151DC5-CF8E-399F-4B3A-1C34F566BF0C}"/>
              </a:ext>
            </a:extLst>
          </p:cNvPr>
          <p:cNvSpPr>
            <a:spLocks noChangeAspect="1"/>
          </p:cNvSpPr>
          <p:nvPr/>
        </p:nvSpPr>
        <p:spPr bwMode="gray">
          <a:xfrm>
            <a:off x="2018451" y="3747184"/>
            <a:ext cx="1152000" cy="1152000"/>
          </a:xfrm>
          <a:prstGeom prst="ellipse">
            <a:avLst/>
          </a:prstGeom>
          <a:solidFill>
            <a:schemeClr val="bg1">
              <a:alpha val="68000"/>
            </a:schemeClr>
          </a:solidFill>
          <a:ln w="25400" algn="ctr">
            <a:solidFill>
              <a:schemeClr val="tx2"/>
            </a:solidFill>
            <a:miter lim="800000"/>
            <a:headEnd/>
            <a:tailEnd/>
          </a:ln>
        </p:spPr>
        <p:txBody>
          <a:bodyPr lIns="0" tIns="72000" rIns="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r>
              <a:rPr kumimoji="0" lang="en-US" sz="1200" b="1" i="0" u="none" strike="noStrike" kern="0" cap="none" spc="0" normalizeH="0" baseline="0" noProof="0">
                <a:ln>
                  <a:noFill/>
                </a:ln>
                <a:solidFill>
                  <a:srgbClr val="000000"/>
                </a:solidFill>
                <a:effectLst/>
                <a:uLnTx/>
                <a:uFillTx/>
                <a:latin typeface="72 Brand"/>
                <a:ea typeface="Arial Unicode MS"/>
                <a:cs typeface="Arial"/>
              </a:rPr>
              <a:t> SAP apps</a:t>
            </a:r>
          </a:p>
        </p:txBody>
      </p:sp>
      <p:sp>
        <p:nvSpPr>
          <p:cNvPr id="130" name="Oval 129">
            <a:extLst>
              <a:ext uri="{FF2B5EF4-FFF2-40B4-BE49-F238E27FC236}">
                <a16:creationId xmlns:a16="http://schemas.microsoft.com/office/drawing/2014/main" id="{16A68A0E-EC4A-B95A-3EC9-EDC8A778F770}"/>
              </a:ext>
            </a:extLst>
          </p:cNvPr>
          <p:cNvSpPr>
            <a:spLocks noChangeAspect="1"/>
          </p:cNvSpPr>
          <p:nvPr/>
        </p:nvSpPr>
        <p:spPr bwMode="gray">
          <a:xfrm>
            <a:off x="7775458" y="2062138"/>
            <a:ext cx="1152000" cy="1152000"/>
          </a:xfrm>
          <a:prstGeom prst="ellipse">
            <a:avLst/>
          </a:prstGeom>
          <a:solidFill>
            <a:schemeClr val="bg1">
              <a:alpha val="72000"/>
            </a:schemeClr>
          </a:solidFill>
          <a:ln w="25400" algn="ctr">
            <a:solidFill>
              <a:schemeClr val="tx2"/>
            </a:solidFill>
            <a:miter lim="800000"/>
            <a:headEnd/>
            <a:tailEnd/>
          </a:ln>
        </p:spPr>
        <p:txBody>
          <a:bodyPr lIns="0" tIns="72000" rIns="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r>
              <a:rPr kumimoji="0" lang="en-US" sz="1200" b="1" i="0" u="none" strike="noStrike" kern="0" cap="none" spc="0" normalizeH="0" baseline="0" noProof="0">
                <a:ln>
                  <a:noFill/>
                </a:ln>
                <a:solidFill>
                  <a:srgbClr val="000000"/>
                </a:solidFill>
                <a:effectLst/>
                <a:uLnTx/>
                <a:uFillTx/>
                <a:latin typeface="72 Brand" panose="020B0504030603020204" pitchFamily="34" charset="0"/>
                <a:ea typeface="Arial Unicode MS" pitchFamily="34" charset="-128"/>
                <a:cs typeface="72" panose="020B0503030000000003" pitchFamily="34" charset="0"/>
              </a:rPr>
              <a:t>Third-party</a:t>
            </a:r>
            <a:br>
              <a:rPr kumimoji="0" lang="en-US" sz="1200" b="1" i="0" u="none" strike="noStrike" kern="0" cap="none" spc="0" normalizeH="0" baseline="0" noProof="0">
                <a:ln>
                  <a:noFill/>
                </a:ln>
                <a:solidFill>
                  <a:srgbClr val="000000"/>
                </a:solidFill>
                <a:effectLst/>
                <a:uLnTx/>
                <a:uFillTx/>
                <a:latin typeface="72 Brand" panose="020B0504030603020204" pitchFamily="34" charset="0"/>
                <a:ea typeface="Arial Unicode MS" pitchFamily="34" charset="-128"/>
                <a:cs typeface="72" panose="020B0503030000000003" pitchFamily="34" charset="0"/>
              </a:rPr>
            </a:br>
            <a:r>
              <a:rPr kumimoji="0" lang="en-US" sz="1200" b="1" i="0" u="none" strike="noStrike" kern="0" cap="none" spc="0" normalizeH="0" baseline="0" noProof="0">
                <a:ln>
                  <a:noFill/>
                </a:ln>
                <a:solidFill>
                  <a:srgbClr val="000000"/>
                </a:solidFill>
                <a:effectLst/>
                <a:uLnTx/>
                <a:uFillTx/>
                <a:latin typeface="72 Brand" panose="020B0504030603020204" pitchFamily="34" charset="0"/>
                <a:ea typeface="Arial Unicode MS" pitchFamily="34" charset="-128"/>
                <a:cs typeface="72" panose="020B0503030000000003" pitchFamily="34" charset="0"/>
              </a:rPr>
              <a:t>apps</a:t>
            </a:r>
          </a:p>
        </p:txBody>
      </p:sp>
      <p:sp>
        <p:nvSpPr>
          <p:cNvPr id="132" name="Oval 131">
            <a:extLst>
              <a:ext uri="{FF2B5EF4-FFF2-40B4-BE49-F238E27FC236}">
                <a16:creationId xmlns:a16="http://schemas.microsoft.com/office/drawing/2014/main" id="{ED0E7A59-8D64-BA6F-33BB-B7442D152664}"/>
              </a:ext>
            </a:extLst>
          </p:cNvPr>
          <p:cNvSpPr>
            <a:spLocks noChangeAspect="1"/>
          </p:cNvSpPr>
          <p:nvPr/>
        </p:nvSpPr>
        <p:spPr bwMode="gray">
          <a:xfrm>
            <a:off x="2922571" y="2030356"/>
            <a:ext cx="1152000" cy="1152000"/>
          </a:xfrm>
          <a:prstGeom prst="ellipse">
            <a:avLst/>
          </a:prstGeom>
          <a:solidFill>
            <a:schemeClr val="bg1">
              <a:alpha val="72000"/>
            </a:schemeClr>
          </a:solidFill>
          <a:ln w="25400" algn="ctr">
            <a:solidFill>
              <a:schemeClr val="accent6"/>
            </a:solidFill>
            <a:miter lim="800000"/>
            <a:headEnd/>
            <a:tailEnd/>
          </a:ln>
        </p:spPr>
        <p:txBody>
          <a:bodyPr wrap="none" lIns="0" tIns="72000" rIns="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r>
              <a:rPr kumimoji="0" lang="en-US" sz="1200" b="1" i="0" u="none" strike="noStrike" kern="0" cap="none" spc="0" normalizeH="0" baseline="0" noProof="0">
                <a:ln>
                  <a:noFill/>
                </a:ln>
                <a:solidFill>
                  <a:srgbClr val="000000"/>
                </a:solidFill>
                <a:effectLst/>
                <a:uLnTx/>
                <a:uFillTx/>
                <a:latin typeface="72 Brand" panose="020B0504030603020204" pitchFamily="34" charset="0"/>
                <a:ea typeface="Arial Unicode MS" pitchFamily="34" charset="-128"/>
                <a:cs typeface="72" panose="020B0503030000000003" pitchFamily="34" charset="0"/>
              </a:rPr>
              <a:t>Governments</a:t>
            </a:r>
          </a:p>
        </p:txBody>
      </p:sp>
      <p:sp>
        <p:nvSpPr>
          <p:cNvPr id="12" name="TextBox 39">
            <a:extLst>
              <a:ext uri="{FF2B5EF4-FFF2-40B4-BE49-F238E27FC236}">
                <a16:creationId xmlns:a16="http://schemas.microsoft.com/office/drawing/2014/main" id="{5BEBBAB5-A2AA-421C-1754-E690118E288F}"/>
              </a:ext>
            </a:extLst>
          </p:cNvPr>
          <p:cNvSpPr txBox="1"/>
          <p:nvPr/>
        </p:nvSpPr>
        <p:spPr>
          <a:xfrm>
            <a:off x="8581836" y="5945241"/>
            <a:ext cx="591044" cy="246221"/>
          </a:xfrm>
          <a:prstGeom prst="rect">
            <a:avLst/>
          </a:prstGeom>
          <a:noFill/>
        </p:spPr>
        <p:txBody>
          <a:bodyPr wrap="square" lIns="0" tIns="0" rIns="0" bIns="0" rtlCol="0" anchor="ctr">
            <a:spAutoFit/>
          </a:bodyPr>
          <a:lstStyle>
            <a:defPPr>
              <a:defRPr lang="en-US"/>
            </a:defPPr>
            <a:lvl1pPr algn="l" defTabSz="912813" rtl="0" eaLnBrk="0" fontAlgn="base" hangingPunct="0">
              <a:spcBef>
                <a:spcPct val="0"/>
              </a:spcBef>
              <a:spcAft>
                <a:spcPct val="0"/>
              </a:spcAft>
              <a:defRPr sz="1700" kern="1200">
                <a:solidFill>
                  <a:schemeClr val="tx1"/>
                </a:solidFill>
                <a:latin typeface="Segoe UI" panose="020B0502040204020203" pitchFamily="34" charset="0"/>
                <a:ea typeface="+mn-ea"/>
                <a:cs typeface="+mn-cs"/>
              </a:defRPr>
            </a:lvl1pPr>
            <a:lvl2pPr marL="455613" indent="1588" algn="l" defTabSz="912813" rtl="0" eaLnBrk="0" fontAlgn="base" hangingPunct="0">
              <a:spcBef>
                <a:spcPct val="0"/>
              </a:spcBef>
              <a:spcAft>
                <a:spcPct val="0"/>
              </a:spcAft>
              <a:defRPr sz="1700" kern="1200">
                <a:solidFill>
                  <a:schemeClr val="tx1"/>
                </a:solidFill>
                <a:latin typeface="Segoe UI" panose="020B0502040204020203" pitchFamily="34" charset="0"/>
                <a:ea typeface="+mn-ea"/>
                <a:cs typeface="+mn-cs"/>
              </a:defRPr>
            </a:lvl2pPr>
            <a:lvl3pPr marL="912813" indent="1588" algn="l" defTabSz="912813" rtl="0" eaLnBrk="0" fontAlgn="base" hangingPunct="0">
              <a:spcBef>
                <a:spcPct val="0"/>
              </a:spcBef>
              <a:spcAft>
                <a:spcPct val="0"/>
              </a:spcAft>
              <a:defRPr sz="1700" kern="1200">
                <a:solidFill>
                  <a:schemeClr val="tx1"/>
                </a:solidFill>
                <a:latin typeface="Segoe UI" panose="020B0502040204020203" pitchFamily="34" charset="0"/>
                <a:ea typeface="+mn-ea"/>
                <a:cs typeface="+mn-cs"/>
              </a:defRPr>
            </a:lvl3pPr>
            <a:lvl4pPr marL="1370013" indent="1588" algn="l" defTabSz="912813" rtl="0" eaLnBrk="0" fontAlgn="base" hangingPunct="0">
              <a:spcBef>
                <a:spcPct val="0"/>
              </a:spcBef>
              <a:spcAft>
                <a:spcPct val="0"/>
              </a:spcAft>
              <a:defRPr sz="1700" kern="1200">
                <a:solidFill>
                  <a:schemeClr val="tx1"/>
                </a:solidFill>
                <a:latin typeface="Segoe UI" panose="020B0502040204020203" pitchFamily="34" charset="0"/>
                <a:ea typeface="+mn-ea"/>
                <a:cs typeface="+mn-cs"/>
              </a:defRPr>
            </a:lvl4pPr>
            <a:lvl5pPr marL="1827213" indent="1588" algn="l" defTabSz="912813" rtl="0" eaLnBrk="0" fontAlgn="base" hangingPunct="0">
              <a:spcBef>
                <a:spcPct val="0"/>
              </a:spcBef>
              <a:spcAft>
                <a:spcPct val="0"/>
              </a:spcAft>
              <a:defRPr sz="1700" kern="1200">
                <a:solidFill>
                  <a:schemeClr val="tx1"/>
                </a:solidFill>
                <a:latin typeface="Segoe UI" panose="020B0502040204020203" pitchFamily="34" charset="0"/>
                <a:ea typeface="+mn-ea"/>
                <a:cs typeface="+mn-cs"/>
              </a:defRPr>
            </a:lvl5pPr>
            <a:lvl6pPr marL="2286000" algn="l" defTabSz="914400" rtl="0" eaLnBrk="1" latinLnBrk="0" hangingPunct="1">
              <a:defRPr sz="1700" kern="1200">
                <a:solidFill>
                  <a:schemeClr val="tx1"/>
                </a:solidFill>
                <a:latin typeface="Segoe UI" panose="020B0502040204020203" pitchFamily="34" charset="0"/>
                <a:ea typeface="+mn-ea"/>
                <a:cs typeface="+mn-cs"/>
              </a:defRPr>
            </a:lvl6pPr>
            <a:lvl7pPr marL="2743200" algn="l" defTabSz="914400" rtl="0" eaLnBrk="1" latinLnBrk="0" hangingPunct="1">
              <a:defRPr sz="1700" kern="1200">
                <a:solidFill>
                  <a:schemeClr val="tx1"/>
                </a:solidFill>
                <a:latin typeface="Segoe UI" panose="020B0502040204020203" pitchFamily="34" charset="0"/>
                <a:ea typeface="+mn-ea"/>
                <a:cs typeface="+mn-cs"/>
              </a:defRPr>
            </a:lvl7pPr>
            <a:lvl8pPr marL="3200400" algn="l" defTabSz="914400" rtl="0" eaLnBrk="1" latinLnBrk="0" hangingPunct="1">
              <a:defRPr sz="1700" kern="1200">
                <a:solidFill>
                  <a:schemeClr val="tx1"/>
                </a:solidFill>
                <a:latin typeface="Segoe UI" panose="020B0502040204020203" pitchFamily="34" charset="0"/>
                <a:ea typeface="+mn-ea"/>
                <a:cs typeface="+mn-cs"/>
              </a:defRPr>
            </a:lvl8pPr>
            <a:lvl9pPr marL="3657600" algn="l" defTabSz="914400" rtl="0" eaLnBrk="1" latinLnBrk="0" hangingPunct="1">
              <a:defRPr sz="1700" kern="1200">
                <a:solidFill>
                  <a:schemeClr val="tx1"/>
                </a:solidFill>
                <a:latin typeface="Segoe UI" panose="020B0502040204020203" pitchFamily="34" charset="0"/>
                <a:ea typeface="+mn-ea"/>
                <a:cs typeface="+mn-cs"/>
              </a:defRPr>
            </a:lvl9pPr>
          </a:lstStyle>
          <a:p>
            <a:pPr marL="0" marR="0" lvl="0" indent="0" algn="l" defTabSz="912813" rtl="0" eaLnBrk="0" fontAlgn="base" latinLnBrk="0" hangingPunct="0">
              <a:lnSpc>
                <a:spcPct val="100000"/>
              </a:lnSpc>
              <a:spcBef>
                <a:spcPct val="0"/>
              </a:spcBef>
              <a:spcAft>
                <a:spcPct val="0"/>
              </a:spcAft>
              <a:buClrTx/>
              <a:buSzTx/>
              <a:buFontTx/>
              <a:buNone/>
              <a:tabLst/>
              <a:defRPr/>
            </a:pPr>
            <a:r>
              <a:rPr kumimoji="0" lang="en-DE" sz="800" b="0" i="0" u="none" strike="noStrike" kern="1200" cap="none" spc="0" normalizeH="0" baseline="0" noProof="0" dirty="0">
                <a:ln>
                  <a:noFill/>
                </a:ln>
                <a:solidFill>
                  <a:srgbClr val="000000"/>
                </a:solidFill>
                <a:effectLst/>
                <a:uLnTx/>
                <a:uFillTx/>
                <a:latin typeface="72 Brand"/>
                <a:ea typeface="+mn-ea"/>
                <a:cs typeface="72" panose="020B0503030000000003" pitchFamily="34" charset="0"/>
              </a:rPr>
              <a:t>PostgreSQL, </a:t>
            </a:r>
            <a:br>
              <a:rPr kumimoji="0" lang="en-US" sz="800" b="0" i="0" u="none" strike="noStrike" kern="1200" cap="none" spc="0" normalizeH="0" baseline="0" noProof="0" dirty="0">
                <a:ln>
                  <a:noFill/>
                </a:ln>
                <a:solidFill>
                  <a:srgbClr val="000000"/>
                </a:solidFill>
                <a:effectLst/>
                <a:uLnTx/>
                <a:uFillTx/>
                <a:latin typeface="72 Brand"/>
                <a:ea typeface="+mn-ea"/>
                <a:cs typeface="72" panose="020B0503030000000003" pitchFamily="34" charset="0"/>
              </a:rPr>
            </a:br>
            <a:r>
              <a:rPr kumimoji="0" lang="en-DE" sz="800" b="0" i="0" u="none" strike="noStrike" kern="1200" cap="none" spc="0" normalizeH="0" baseline="0" noProof="0" dirty="0">
                <a:ln>
                  <a:noFill/>
                </a:ln>
                <a:solidFill>
                  <a:srgbClr val="000000"/>
                </a:solidFill>
                <a:effectLst/>
                <a:uLnTx/>
                <a:uFillTx/>
                <a:latin typeface="72 Brand"/>
                <a:ea typeface="+mn-ea"/>
                <a:cs typeface="72" panose="020B0503030000000003" pitchFamily="34" charset="0"/>
              </a:rPr>
              <a:t>Red</a:t>
            </a:r>
            <a:r>
              <a:rPr kumimoji="0" lang="en-US" sz="800" b="0" i="0" u="none" strike="noStrike" kern="1200" cap="none" spc="0" normalizeH="0" baseline="0" noProof="0" dirty="0" err="1">
                <a:ln>
                  <a:noFill/>
                </a:ln>
                <a:solidFill>
                  <a:srgbClr val="000000"/>
                </a:solidFill>
                <a:effectLst/>
                <a:uLnTx/>
                <a:uFillTx/>
                <a:latin typeface="72 Brand"/>
                <a:ea typeface="+mn-ea"/>
                <a:cs typeface="72" panose="020B0503030000000003" pitchFamily="34" charset="0"/>
              </a:rPr>
              <a:t>i</a:t>
            </a:r>
            <a:r>
              <a:rPr kumimoji="0" lang="en-DE" sz="800" b="0" i="0" u="none" strike="noStrike" kern="1200" cap="none" spc="0" normalizeH="0" baseline="0" noProof="0" dirty="0">
                <a:ln>
                  <a:noFill/>
                </a:ln>
                <a:solidFill>
                  <a:srgbClr val="000000"/>
                </a:solidFill>
                <a:effectLst/>
                <a:uLnTx/>
                <a:uFillTx/>
                <a:latin typeface="72 Brand"/>
                <a:ea typeface="+mn-ea"/>
                <a:cs typeface="72" panose="020B0503030000000003" pitchFamily="34" charset="0"/>
              </a:rPr>
              <a:t>s</a:t>
            </a:r>
          </a:p>
        </p:txBody>
      </p:sp>
      <p:cxnSp>
        <p:nvCxnSpPr>
          <p:cNvPr id="27" name="Straight Connector 26">
            <a:extLst>
              <a:ext uri="{FF2B5EF4-FFF2-40B4-BE49-F238E27FC236}">
                <a16:creationId xmlns:a16="http://schemas.microsoft.com/office/drawing/2014/main" id="{B284B0A0-E980-85C9-BEA1-0157FCCAAF11}"/>
              </a:ext>
            </a:extLst>
          </p:cNvPr>
          <p:cNvCxnSpPr/>
          <p:nvPr/>
        </p:nvCxnSpPr>
        <p:spPr>
          <a:xfrm>
            <a:off x="8485128" y="5941755"/>
            <a:ext cx="0" cy="260365"/>
          </a:xfrm>
          <a:prstGeom prst="line">
            <a:avLst/>
          </a:prstGeom>
          <a:noFill/>
          <a:ln w="19050" algn="ctr">
            <a:solidFill>
              <a:schemeClr val="accent3"/>
            </a:solidFill>
            <a:prstDash val="sysDot"/>
            <a:miter lim="800000"/>
            <a:headEnd/>
            <a:tailEnd/>
          </a:ln>
        </p:spPr>
      </p:cxnSp>
      <p:sp>
        <p:nvSpPr>
          <p:cNvPr id="3" name="TextBox 2">
            <a:extLst>
              <a:ext uri="{FF2B5EF4-FFF2-40B4-BE49-F238E27FC236}">
                <a16:creationId xmlns:a16="http://schemas.microsoft.com/office/drawing/2014/main" id="{E1A6FAEA-6811-0B52-F4FC-5B6D476109D6}"/>
              </a:ext>
            </a:extLst>
          </p:cNvPr>
          <p:cNvSpPr txBox="1"/>
          <p:nvPr/>
        </p:nvSpPr>
        <p:spPr>
          <a:xfrm>
            <a:off x="10777243" y="3390454"/>
            <a:ext cx="722955" cy="161583"/>
          </a:xfrm>
          <a:prstGeom prst="rect">
            <a:avLst/>
          </a:prstGeom>
          <a:noFill/>
        </p:spPr>
        <p:txBody>
          <a:bodyPr wrap="none" lIns="0" tIns="0" rIns="0" bIns="0" rtlCol="0">
            <a:spAutoFit/>
          </a:bodyPr>
          <a:lstStyle/>
          <a:p>
            <a:pPr marL="0" marR="0" lvl="0" indent="0" algn="l" defTabSz="1088776" rtl="0" eaLnBrk="1" fontAlgn="base" latinLnBrk="0" hangingPunct="1">
              <a:lnSpc>
                <a:spcPct val="100000"/>
              </a:lnSpc>
              <a:spcBef>
                <a:spcPct val="50000"/>
              </a:spcBef>
              <a:spcAft>
                <a:spcPct val="0"/>
              </a:spcAft>
              <a:buClr>
                <a:srgbClr val="F0AB00"/>
              </a:buClr>
              <a:buSzPct val="80000"/>
              <a:buFontTx/>
              <a:buNone/>
              <a:tabLst/>
              <a:defRPr/>
            </a:pPr>
            <a:r>
              <a:rPr kumimoji="0" lang="en-US" sz="1050" b="1" i="0" u="none" strike="noStrike" kern="0" cap="none" spc="0" normalizeH="0" baseline="0" noProof="0" dirty="0">
                <a:ln>
                  <a:noFill/>
                </a:ln>
                <a:solidFill>
                  <a:srgbClr val="000000"/>
                </a:solidFill>
                <a:effectLst/>
                <a:uLnTx/>
                <a:uFillTx/>
                <a:latin typeface="72 Brand" panose="020B0504030603020204" pitchFamily="34" charset="0"/>
                <a:ea typeface="Arial Unicode MS" pitchFamily="34" charset="-128"/>
                <a:cs typeface="Arial Unicode MS" pitchFamily="34" charset="-128"/>
              </a:rPr>
              <a:t>Tradacoms</a:t>
            </a:r>
          </a:p>
        </p:txBody>
      </p:sp>
      <p:sp>
        <p:nvSpPr>
          <p:cNvPr id="22" name="TextBox 17">
            <a:hlinkClick r:id="" action="ppaction://noaction"/>
            <a:extLst>
              <a:ext uri="{FF2B5EF4-FFF2-40B4-BE49-F238E27FC236}">
                <a16:creationId xmlns:a16="http://schemas.microsoft.com/office/drawing/2014/main" id="{BE7B1DD8-0602-821E-9E78-FC11205A30B5}"/>
              </a:ext>
            </a:extLst>
          </p:cNvPr>
          <p:cNvSpPr txBox="1"/>
          <p:nvPr>
            <p:custDataLst>
              <p:tags r:id="rId2"/>
            </p:custDataLst>
          </p:nvPr>
        </p:nvSpPr>
        <p:spPr bwMode="gray">
          <a:xfrm flipH="1">
            <a:off x="3242063" y="4600235"/>
            <a:ext cx="2386529" cy="453301"/>
          </a:xfrm>
          <a:prstGeom prst="rect">
            <a:avLst/>
          </a:prstGeom>
          <a:noFill/>
        </p:spPr>
        <p:txBody>
          <a:bodyPr wrap="square" lIns="0" tIns="0" rIns="0" bIns="0" rtlCol="0" anchor="t" anchorCtr="0">
            <a:noAutofit/>
          </a:bodyPr>
          <a:lstStyle>
            <a:defPPr>
              <a:defRPr lang="de-DE"/>
            </a:defPPr>
            <a:lvl1pPr algn="l" defTabSz="3391325" rtl="0" fontAlgn="base">
              <a:spcBef>
                <a:spcPct val="0"/>
              </a:spcBef>
              <a:spcAft>
                <a:spcPct val="0"/>
              </a:spcAft>
              <a:defRPr sz="6500" kern="1200">
                <a:solidFill>
                  <a:schemeClr val="tx1"/>
                </a:solidFill>
                <a:latin typeface="Arial" charset="0"/>
                <a:ea typeface="ＭＳ Ｐゴシック" pitchFamily="34" charset="-128"/>
                <a:cs typeface="+mn-cs"/>
              </a:defRPr>
            </a:lvl1pPr>
            <a:lvl2pPr marL="1692223" indent="-266560" algn="l" defTabSz="3391325" rtl="0" fontAlgn="base">
              <a:spcBef>
                <a:spcPct val="0"/>
              </a:spcBef>
              <a:spcAft>
                <a:spcPct val="0"/>
              </a:spcAft>
              <a:defRPr sz="6500" kern="1200">
                <a:solidFill>
                  <a:schemeClr val="tx1"/>
                </a:solidFill>
                <a:latin typeface="Arial" charset="0"/>
                <a:ea typeface="ＭＳ Ｐゴシック" pitchFamily="34" charset="-128"/>
                <a:cs typeface="+mn-cs"/>
              </a:defRPr>
            </a:lvl2pPr>
            <a:lvl3pPr marL="3391325" indent="-538279" algn="l" defTabSz="3391325" rtl="0" fontAlgn="base">
              <a:spcBef>
                <a:spcPct val="0"/>
              </a:spcBef>
              <a:spcAft>
                <a:spcPct val="0"/>
              </a:spcAft>
              <a:defRPr sz="6500" kern="1200">
                <a:solidFill>
                  <a:schemeClr val="tx1"/>
                </a:solidFill>
                <a:latin typeface="Arial" charset="0"/>
                <a:ea typeface="ＭＳ Ｐゴシック" pitchFamily="34" charset="-128"/>
                <a:cs typeface="+mn-cs"/>
              </a:defRPr>
            </a:lvl3pPr>
            <a:lvl4pPr marL="5088708" indent="-811717" algn="l" defTabSz="3391325" rtl="0" fontAlgn="base">
              <a:spcBef>
                <a:spcPct val="0"/>
              </a:spcBef>
              <a:spcAft>
                <a:spcPct val="0"/>
              </a:spcAft>
              <a:defRPr sz="6500" kern="1200">
                <a:solidFill>
                  <a:schemeClr val="tx1"/>
                </a:solidFill>
                <a:latin typeface="Arial" charset="0"/>
                <a:ea typeface="ＭＳ Ｐゴシック" pitchFamily="34" charset="-128"/>
                <a:cs typeface="+mn-cs"/>
              </a:defRPr>
            </a:lvl4pPr>
            <a:lvl5pPr marL="6787809" indent="-1083435" algn="l" defTabSz="3391325" rtl="0" fontAlgn="base">
              <a:spcBef>
                <a:spcPct val="0"/>
              </a:spcBef>
              <a:spcAft>
                <a:spcPct val="0"/>
              </a:spcAft>
              <a:defRPr sz="6500" kern="1200">
                <a:solidFill>
                  <a:schemeClr val="tx1"/>
                </a:solidFill>
                <a:latin typeface="Arial" charset="0"/>
                <a:ea typeface="ＭＳ Ｐゴシック" pitchFamily="34" charset="-128"/>
                <a:cs typeface="+mn-cs"/>
              </a:defRPr>
            </a:lvl5pPr>
            <a:lvl6pPr marL="2476424" algn="l" defTabSz="990570" rtl="0" eaLnBrk="1" latinLnBrk="0" hangingPunct="1">
              <a:defRPr sz="6500" kern="1200">
                <a:solidFill>
                  <a:schemeClr val="tx1"/>
                </a:solidFill>
                <a:latin typeface="Arial" charset="0"/>
                <a:ea typeface="ＭＳ Ｐゴシック" pitchFamily="34" charset="-128"/>
                <a:cs typeface="+mn-cs"/>
              </a:defRPr>
            </a:lvl6pPr>
            <a:lvl7pPr marL="2971709" algn="l" defTabSz="990570" rtl="0" eaLnBrk="1" latinLnBrk="0" hangingPunct="1">
              <a:defRPr sz="6500" kern="1200">
                <a:solidFill>
                  <a:schemeClr val="tx1"/>
                </a:solidFill>
                <a:latin typeface="Arial" charset="0"/>
                <a:ea typeface="ＭＳ Ｐゴシック" pitchFamily="34" charset="-128"/>
                <a:cs typeface="+mn-cs"/>
              </a:defRPr>
            </a:lvl7pPr>
            <a:lvl8pPr marL="3466993" algn="l" defTabSz="990570" rtl="0" eaLnBrk="1" latinLnBrk="0" hangingPunct="1">
              <a:defRPr sz="6500" kern="1200">
                <a:solidFill>
                  <a:schemeClr val="tx1"/>
                </a:solidFill>
                <a:latin typeface="Arial" charset="0"/>
                <a:ea typeface="ＭＳ Ｐゴシック" pitchFamily="34" charset="-128"/>
                <a:cs typeface="+mn-cs"/>
              </a:defRPr>
            </a:lvl8pPr>
            <a:lvl9pPr marL="3962278" algn="l" defTabSz="990570" rtl="0" eaLnBrk="1" latinLnBrk="0" hangingPunct="1">
              <a:defRPr sz="6500" kern="1200">
                <a:solidFill>
                  <a:schemeClr val="tx1"/>
                </a:solidFill>
                <a:latin typeface="Arial" charset="0"/>
                <a:ea typeface="ＭＳ Ｐゴシック" pitchFamily="34" charset="-128"/>
                <a:cs typeface="+mn-cs"/>
              </a:defRPr>
            </a:lvl9pPr>
          </a:lstStyle>
          <a:p>
            <a:pPr marL="0" marR="0" lvl="0" indent="0" algn="ctr" defTabSz="1794879" rtl="0" eaLnBrk="1" fontAlgn="base" latinLnBrk="0" hangingPunct="1">
              <a:lnSpc>
                <a:spcPct val="100000"/>
              </a:lnSpc>
              <a:spcBef>
                <a:spcPts val="0"/>
              </a:spcBef>
              <a:spcAft>
                <a:spcPts val="0"/>
              </a:spcAft>
              <a:buClr>
                <a:srgbClr val="F0AB00"/>
              </a:buClr>
              <a:buSzPct val="80000"/>
              <a:buFontTx/>
              <a:buNone/>
              <a:tabLst/>
              <a:defRPr/>
            </a:pPr>
            <a:r>
              <a:rPr kumimoji="0" lang="en-US" sz="1200" b="1" i="0" u="none" strike="noStrike" kern="0" cap="none" spc="0" normalizeH="0" baseline="0" noProof="0" dirty="0">
                <a:ln>
                  <a:noFill/>
                </a:ln>
                <a:solidFill>
                  <a:srgbClr val="000000"/>
                </a:solidFill>
                <a:effectLst/>
                <a:uLnTx/>
                <a:uFillTx/>
                <a:latin typeface="72 Brand"/>
                <a:ea typeface="ＭＳ Ｐゴシック"/>
                <a:cs typeface="72" panose="020B0503030000000003" pitchFamily="34" charset="0"/>
              </a:rPr>
              <a:t>Event Mesh | SAP Integration Suite, advanced event mesh</a:t>
            </a:r>
            <a:r>
              <a:rPr kumimoji="0" lang="en-US" sz="1050" b="0" i="0" u="none" strike="noStrike" kern="0" cap="none" spc="0" normalizeH="0" baseline="30000" noProof="0" dirty="0">
                <a:ln>
                  <a:noFill/>
                </a:ln>
                <a:solidFill>
                  <a:srgbClr val="000000"/>
                </a:solidFill>
                <a:effectLst/>
                <a:uLnTx/>
                <a:uFillTx/>
                <a:latin typeface="72 Brand Medium"/>
                <a:ea typeface="ＭＳ Ｐゴシック" pitchFamily="34" charset="-128"/>
                <a:cs typeface="72" panose="020B0503030000000003" pitchFamily="34" charset="0"/>
              </a:rPr>
              <a:t>1</a:t>
            </a:r>
            <a:br>
              <a:rPr kumimoji="0" lang="en-US" sz="1400" b="0" i="0" u="none" strike="noStrike" kern="0" cap="none" spc="0" normalizeH="0" baseline="0" noProof="0" dirty="0">
                <a:ln>
                  <a:noFill/>
                </a:ln>
                <a:solidFill>
                  <a:srgbClr val="000000"/>
                </a:solidFill>
                <a:effectLst/>
                <a:uLnTx/>
                <a:uFillTx/>
                <a:latin typeface="72 Brand" panose="020B0504030603020204" pitchFamily="34" charset="0"/>
                <a:ea typeface="ＭＳ Ｐゴシック" pitchFamily="34" charset="-128"/>
                <a:cs typeface="72" panose="020B0503030000000003" pitchFamily="34" charset="0"/>
              </a:rPr>
            </a:br>
            <a:r>
              <a:rPr kumimoji="0" lang="en-US" sz="900" b="0" i="0" u="none" strike="noStrike" kern="0" cap="none" spc="0" normalizeH="0" baseline="0" noProof="0" dirty="0">
                <a:ln>
                  <a:noFill/>
                </a:ln>
                <a:solidFill>
                  <a:srgbClr val="000000"/>
                </a:solidFill>
                <a:effectLst/>
                <a:uLnTx/>
                <a:uFillTx/>
                <a:latin typeface="72 Brand"/>
                <a:ea typeface="ＭＳ Ｐゴシック"/>
                <a:cs typeface="72" panose="020B0503030000000003" pitchFamily="34" charset="0"/>
              </a:rPr>
              <a:t>Sense and respond to business events</a:t>
            </a:r>
            <a:endParaRPr kumimoji="0" lang="en-US" sz="900" b="0" i="0" u="none" strike="noStrike" kern="0" cap="none" spc="0" normalizeH="0" baseline="0" noProof="0" dirty="0">
              <a:ln>
                <a:noFill/>
              </a:ln>
              <a:solidFill>
                <a:srgbClr val="000000"/>
              </a:solidFill>
              <a:effectLst/>
              <a:uLnTx/>
              <a:uFillTx/>
              <a:latin typeface="72 Brand" panose="020B0504030603020204" pitchFamily="34" charset="0"/>
              <a:ea typeface="ＭＳ Ｐゴシック" pitchFamily="34" charset="-128"/>
              <a:cs typeface="72" panose="020B0503030000000003" pitchFamily="34" charset="0"/>
            </a:endParaRPr>
          </a:p>
        </p:txBody>
      </p:sp>
      <p:sp>
        <p:nvSpPr>
          <p:cNvPr id="42" name="TextBox 3">
            <a:extLst>
              <a:ext uri="{FF2B5EF4-FFF2-40B4-BE49-F238E27FC236}">
                <a16:creationId xmlns:a16="http://schemas.microsoft.com/office/drawing/2014/main" id="{22F984CA-A52A-6E5F-E3C9-44F6C555DD8D}"/>
              </a:ext>
            </a:extLst>
          </p:cNvPr>
          <p:cNvSpPr txBox="1"/>
          <p:nvPr/>
        </p:nvSpPr>
        <p:spPr>
          <a:xfrm>
            <a:off x="493217" y="6387228"/>
            <a:ext cx="9659655" cy="123111"/>
          </a:xfrm>
          <a:prstGeom prst="rect">
            <a:avLst/>
          </a:prstGeom>
          <a:noFill/>
        </p:spPr>
        <p:txBody>
          <a:bodyPr wrap="square" lIns="0" tIns="0" rIns="0" bIns="0" rtlCol="0" anchor="t">
            <a:spAutoFit/>
          </a:bodyPr>
          <a:lstStyle/>
          <a:p>
            <a:pPr marL="0" marR="0" lvl="0" indent="0" algn="l" defTabSz="1088449" rtl="0" eaLnBrk="1" fontAlgn="base" latinLnBrk="0" hangingPunct="1">
              <a:lnSpc>
                <a:spcPct val="100000"/>
              </a:lnSpc>
              <a:spcBef>
                <a:spcPts val="0"/>
              </a:spcBef>
              <a:spcAft>
                <a:spcPct val="0"/>
              </a:spcAft>
              <a:buClr>
                <a:srgbClr val="F0AB00"/>
              </a:buClr>
              <a:buSzPct val="80000"/>
              <a:buFontTx/>
              <a:buNone/>
              <a:tabLst/>
              <a:defRPr/>
            </a:pPr>
            <a:r>
              <a:rPr kumimoji="0" lang="en-US" sz="800" b="0" i="0" u="none" strike="noStrike" kern="0" cap="none" spc="0" normalizeH="0" baseline="30000" noProof="0" dirty="0">
                <a:ln>
                  <a:noFill/>
                </a:ln>
                <a:solidFill>
                  <a:srgbClr val="000000"/>
                </a:solidFill>
                <a:effectLst/>
                <a:uLnTx/>
                <a:uFillTx/>
                <a:latin typeface="+mn-lt"/>
                <a:ea typeface="+mn-ea"/>
                <a:cs typeface="72" panose="020B0503030000000003" pitchFamily="34" charset="0"/>
              </a:rPr>
              <a:t>1</a:t>
            </a:r>
            <a:r>
              <a:rPr kumimoji="0" lang="en-US" sz="800" b="0" i="0" u="none" strike="noStrike" kern="0" cap="none" spc="0" normalizeH="0" baseline="0" noProof="0" dirty="0">
                <a:ln>
                  <a:noFill/>
                </a:ln>
                <a:solidFill>
                  <a:srgbClr val="000000"/>
                </a:solidFill>
                <a:effectLst/>
                <a:uLnTx/>
                <a:uFillTx/>
                <a:latin typeface="+mn-lt"/>
                <a:ea typeface="Arial Unicode MS"/>
                <a:cs typeface="72" panose="020B0503030000000003" pitchFamily="34" charset="0"/>
              </a:rPr>
              <a:t> Optional separate license   | </a:t>
            </a:r>
            <a:r>
              <a:rPr kumimoji="0" lang="en-US" sz="800" b="0" i="0" u="none" strike="noStrike" kern="0" cap="none" spc="0" normalizeH="0" baseline="30000" noProof="0" dirty="0">
                <a:ln>
                  <a:noFill/>
                </a:ln>
                <a:solidFill>
                  <a:srgbClr val="000000"/>
                </a:solidFill>
                <a:effectLst/>
                <a:uLnTx/>
                <a:uFillTx/>
                <a:latin typeface="+mn-lt"/>
                <a:ea typeface="Arial Unicode MS"/>
                <a:cs typeface="72" panose="020B0503030000000003" pitchFamily="34" charset="0"/>
              </a:rPr>
              <a:t>2</a:t>
            </a:r>
            <a:r>
              <a:rPr kumimoji="0" lang="en-US" sz="800" b="0" i="0" u="none" strike="noStrike" kern="0" cap="none" spc="0" normalizeH="0" baseline="0" noProof="0" dirty="0">
                <a:ln>
                  <a:noFill/>
                </a:ln>
                <a:solidFill>
                  <a:srgbClr val="000000"/>
                </a:solidFill>
                <a:effectLst/>
                <a:uLnTx/>
                <a:uFillTx/>
                <a:latin typeface="+mn-lt"/>
                <a:ea typeface="Arial Unicode MS"/>
                <a:cs typeface="72" panose="020B0503030000000003" pitchFamily="34" charset="0"/>
              </a:rPr>
              <a:t>  Private landscape corresponds to on premise or private cloud </a:t>
            </a:r>
          </a:p>
        </p:txBody>
      </p:sp>
      <p:sp>
        <p:nvSpPr>
          <p:cNvPr id="4" name="Rectangle 3">
            <a:extLst>
              <a:ext uri="{FF2B5EF4-FFF2-40B4-BE49-F238E27FC236}">
                <a16:creationId xmlns:a16="http://schemas.microsoft.com/office/drawing/2014/main" id="{A4173DD4-4F65-6EFD-0506-B643FC840AF7}"/>
              </a:ext>
            </a:extLst>
          </p:cNvPr>
          <p:cNvSpPr/>
          <p:nvPr/>
        </p:nvSpPr>
        <p:spPr bwMode="gray">
          <a:xfrm flipH="1">
            <a:off x="935989" y="4802042"/>
            <a:ext cx="1499697" cy="400099"/>
          </a:xfrm>
          <a:prstGeom prst="rect">
            <a:avLst/>
          </a:prstGeom>
          <a:noFill/>
          <a:ln w="9525">
            <a:noFill/>
            <a:prstDash val="solid"/>
          </a:ln>
        </p:spPr>
        <p:txBody>
          <a:bodyPr wrap="square" lIns="38095" tIns="38095" rIns="38095" bIns="38095" rtlCol="0" anchor="ctr" anchorCtr="0">
            <a:spAutoFit/>
          </a:bodyP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marL="0" marR="0" lvl="0" indent="0" algn="ctr" defTabSz="609276"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dirty="0">
                <a:ln>
                  <a:noFill/>
                </a:ln>
                <a:solidFill>
                  <a:srgbClr val="000000"/>
                </a:solidFill>
                <a:effectLst/>
                <a:uLnTx/>
                <a:uFillTx/>
                <a:latin typeface="72 Brand"/>
                <a:ea typeface="+mn-ea"/>
                <a:cs typeface="Arial"/>
                <a:sym typeface="72" panose="020B0503030000000003" pitchFamily="34" charset="0"/>
              </a:rPr>
              <a:t>SAP Integrated Business Planning</a:t>
            </a:r>
            <a:endParaRPr kumimoji="0" lang="en-US" sz="1050" b="0" i="0" u="none" strike="noStrike" kern="1200" cap="none" spc="0" normalizeH="0" baseline="0" noProof="0" dirty="0">
              <a:ln>
                <a:noFill/>
              </a:ln>
              <a:solidFill>
                <a:srgbClr val="000000"/>
              </a:solidFill>
              <a:effectLst/>
              <a:uLnTx/>
              <a:uFillTx/>
              <a:latin typeface="72 Brand"/>
              <a:ea typeface="+mn-ea"/>
              <a:cs typeface="Arial"/>
            </a:endParaRPr>
          </a:p>
        </p:txBody>
      </p:sp>
    </p:spTree>
    <p:extLst>
      <p:ext uri="{BB962C8B-B14F-4D97-AF65-F5344CB8AC3E}">
        <p14:creationId xmlns:p14="http://schemas.microsoft.com/office/powerpoint/2010/main" val="219355383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38E81FA-BD36-D246-A0BA-94256E3D831A}"/>
              </a:ext>
            </a:extLst>
          </p:cNvPr>
          <p:cNvSpPr>
            <a:spLocks noGrp="1"/>
          </p:cNvSpPr>
          <p:nvPr>
            <p:ph type="body" sz="quarter" idx="10"/>
          </p:nvPr>
        </p:nvSpPr>
        <p:spPr>
          <a:xfrm>
            <a:off x="504001" y="1035050"/>
            <a:ext cx="5593586" cy="4787900"/>
          </a:xfrm>
        </p:spPr>
        <p:txBody>
          <a:bodyPr>
            <a:noAutofit/>
          </a:bodyPr>
          <a:lstStyle/>
          <a:p>
            <a:pPr>
              <a:buNone/>
            </a:pPr>
            <a:r>
              <a:rPr lang="en-US" dirty="0"/>
              <a:t>Pre-packaged content covering </a:t>
            </a:r>
          </a:p>
          <a:p>
            <a:pPr marL="342900" indent="-342900">
              <a:buFont typeface="Arial" panose="020B0604020202020204" pitchFamily="34" charset="0"/>
              <a:buChar char="•"/>
            </a:pPr>
            <a:r>
              <a:rPr lang="en-US" u="sng" dirty="0"/>
              <a:t>First connectivity</a:t>
            </a:r>
            <a:br>
              <a:rPr lang="en-US" u="sng" dirty="0"/>
            </a:br>
            <a:r>
              <a:rPr lang="en-US" dirty="0"/>
              <a:t>Create your own IFlow and learn how to connect it to the SAP Advanced </a:t>
            </a:r>
            <a:r>
              <a:rPr lang="en-US"/>
              <a:t>Event Mesh</a:t>
            </a:r>
            <a:r>
              <a:rPr lang="en-US" dirty="0"/>
              <a:t> via the AEM Adapter using the SMF protocol</a:t>
            </a:r>
            <a:endParaRPr lang="en-US" u="sng" dirty="0"/>
          </a:p>
          <a:p>
            <a:pPr marL="342900" indent="-342900">
              <a:buFont typeface="Arial" panose="020B0604020202020204" pitchFamily="34" charset="0"/>
              <a:buChar char="•"/>
            </a:pPr>
            <a:r>
              <a:rPr lang="en-US" u="sng" dirty="0"/>
              <a:t>Dead Message Queues</a:t>
            </a:r>
            <a:br>
              <a:rPr lang="en-US"/>
            </a:br>
            <a:r>
              <a:rPr lang="en-US" dirty="0"/>
              <a:t>Learn how </a:t>
            </a:r>
            <a:r>
              <a:rPr lang="en-US"/>
              <a:t>to configure </a:t>
            </a:r>
            <a:r>
              <a:rPr lang="en-US" dirty="0"/>
              <a:t>and handle retries and error behaviors</a:t>
            </a:r>
          </a:p>
        </p:txBody>
      </p:sp>
      <p:sp>
        <p:nvSpPr>
          <p:cNvPr id="24" name="Title"/>
          <p:cNvSpPr>
            <a:spLocks noGrp="1"/>
          </p:cNvSpPr>
          <p:nvPr>
            <p:ph type="title"/>
          </p:nvPr>
        </p:nvSpPr>
        <p:spPr bwMode="gray">
          <a:noFill/>
        </p:spPr>
        <p:txBody>
          <a:bodyPr/>
          <a:lstStyle/>
          <a:p>
            <a:r>
              <a:rPr lang="en-US" dirty="0"/>
              <a:t>Scenario Cloud Integration</a:t>
            </a:r>
          </a:p>
        </p:txBody>
      </p:sp>
      <p:pic>
        <p:nvPicPr>
          <p:cNvPr id="4" name="Picture 3">
            <a:extLst>
              <a:ext uri="{FF2B5EF4-FFF2-40B4-BE49-F238E27FC236}">
                <a16:creationId xmlns:a16="http://schemas.microsoft.com/office/drawing/2014/main" id="{4D8657EF-4C2F-EF95-45D0-EAA6370C2D10}"/>
              </a:ext>
            </a:extLst>
          </p:cNvPr>
          <p:cNvPicPr>
            <a:picLocks noChangeAspect="1"/>
          </p:cNvPicPr>
          <p:nvPr/>
        </p:nvPicPr>
        <p:blipFill>
          <a:blip r:embed="rId5"/>
          <a:stretch>
            <a:fillRect/>
          </a:stretch>
        </p:blipFill>
        <p:spPr>
          <a:xfrm>
            <a:off x="6555542" y="503999"/>
            <a:ext cx="4945578" cy="2287275"/>
          </a:xfrm>
          <a:prstGeom prst="rect">
            <a:avLst/>
          </a:prstGeom>
        </p:spPr>
      </p:pic>
      <p:pic>
        <p:nvPicPr>
          <p:cNvPr id="5" name="Picture 4">
            <a:extLst>
              <a:ext uri="{FF2B5EF4-FFF2-40B4-BE49-F238E27FC236}">
                <a16:creationId xmlns:a16="http://schemas.microsoft.com/office/drawing/2014/main" id="{325C42E6-4ADD-C1E9-FFAE-18AE5E21A575}"/>
              </a:ext>
            </a:extLst>
          </p:cNvPr>
          <p:cNvPicPr>
            <a:picLocks noChangeAspect="1"/>
          </p:cNvPicPr>
          <p:nvPr/>
        </p:nvPicPr>
        <p:blipFill>
          <a:blip r:embed="rId6"/>
          <a:stretch>
            <a:fillRect/>
          </a:stretch>
        </p:blipFill>
        <p:spPr>
          <a:xfrm>
            <a:off x="6390640" y="3429000"/>
            <a:ext cx="5110480" cy="2287275"/>
          </a:xfrm>
          <a:prstGeom prst="rect">
            <a:avLst/>
          </a:prstGeom>
        </p:spPr>
      </p:pic>
    </p:spTree>
    <p:custDataLst>
      <p:custData r:id="rId1"/>
      <p:custData r:id="rId2"/>
    </p:custDataLst>
    <p:extLst>
      <p:ext uri="{BB962C8B-B14F-4D97-AF65-F5344CB8AC3E}">
        <p14:creationId xmlns:p14="http://schemas.microsoft.com/office/powerpoint/2010/main" val="160968210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79ABB63-24DC-00A9-D483-6BBD697C9F6D}"/>
              </a:ext>
            </a:extLst>
          </p:cNvPr>
          <p:cNvSpPr>
            <a:spLocks noGrp="1"/>
          </p:cNvSpPr>
          <p:nvPr>
            <p:ph type="body" sz="quarter" idx="10"/>
          </p:nvPr>
        </p:nvSpPr>
        <p:spPr>
          <a:xfrm>
            <a:off x="504001" y="1035050"/>
            <a:ext cx="5288295" cy="5243830"/>
          </a:xfrm>
        </p:spPr>
        <p:txBody>
          <a:bodyPr/>
          <a:lstStyle/>
          <a:p>
            <a:r>
              <a:rPr lang="en-US" u="sng" dirty="0"/>
              <a:t>Mail Notification Flow</a:t>
            </a:r>
            <a:br>
              <a:rPr lang="en-US" u="sng"/>
            </a:br>
            <a:r>
              <a:rPr lang="en-US"/>
              <a:t>Connect your </a:t>
            </a:r>
            <a:r>
              <a:rPr lang="en-US" dirty="0"/>
              <a:t>events to a basic notification service via E-Mail</a:t>
            </a:r>
            <a:endParaRPr lang="en-US" u="sng" dirty="0"/>
          </a:p>
          <a:p>
            <a:pPr marL="342900" indent="-342900">
              <a:buFont typeface="Arial" panose="020B0604020202020204" pitchFamily="34" charset="0"/>
              <a:buChar char="•"/>
            </a:pPr>
            <a:endParaRPr lang="en-DE" dirty="0"/>
          </a:p>
        </p:txBody>
      </p:sp>
      <p:sp>
        <p:nvSpPr>
          <p:cNvPr id="3" name="Title 2">
            <a:extLst>
              <a:ext uri="{FF2B5EF4-FFF2-40B4-BE49-F238E27FC236}">
                <a16:creationId xmlns:a16="http://schemas.microsoft.com/office/drawing/2014/main" id="{07657CCD-3D37-B0B4-1D37-F16F90743865}"/>
              </a:ext>
            </a:extLst>
          </p:cNvPr>
          <p:cNvSpPr>
            <a:spLocks noGrp="1"/>
          </p:cNvSpPr>
          <p:nvPr>
            <p:ph type="title"/>
          </p:nvPr>
        </p:nvSpPr>
        <p:spPr/>
        <p:txBody>
          <a:bodyPr/>
          <a:lstStyle/>
          <a:p>
            <a:r>
              <a:rPr lang="en-US" dirty="0"/>
              <a:t>Scenario Cloud Integration</a:t>
            </a:r>
            <a:endParaRPr lang="en-DE"/>
          </a:p>
        </p:txBody>
      </p:sp>
      <p:pic>
        <p:nvPicPr>
          <p:cNvPr id="5" name="Picture 4">
            <a:extLst>
              <a:ext uri="{FF2B5EF4-FFF2-40B4-BE49-F238E27FC236}">
                <a16:creationId xmlns:a16="http://schemas.microsoft.com/office/drawing/2014/main" id="{70A54EB0-769B-8491-AC81-51EE68CB9609}"/>
              </a:ext>
            </a:extLst>
          </p:cNvPr>
          <p:cNvPicPr>
            <a:picLocks noChangeAspect="1"/>
          </p:cNvPicPr>
          <p:nvPr/>
        </p:nvPicPr>
        <p:blipFill>
          <a:blip r:embed="rId3"/>
          <a:stretch>
            <a:fillRect/>
          </a:stretch>
        </p:blipFill>
        <p:spPr>
          <a:xfrm>
            <a:off x="4485625" y="2190812"/>
            <a:ext cx="6283975" cy="3781618"/>
          </a:xfrm>
          <a:prstGeom prst="rect">
            <a:avLst/>
          </a:prstGeom>
        </p:spPr>
      </p:pic>
    </p:spTree>
    <p:extLst>
      <p:ext uri="{BB962C8B-B14F-4D97-AF65-F5344CB8AC3E}">
        <p14:creationId xmlns:p14="http://schemas.microsoft.com/office/powerpoint/2010/main" val="178362347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79ABB63-24DC-00A9-D483-6BBD697C9F6D}"/>
              </a:ext>
            </a:extLst>
          </p:cNvPr>
          <p:cNvSpPr>
            <a:spLocks noGrp="1"/>
          </p:cNvSpPr>
          <p:nvPr>
            <p:ph type="body" sz="quarter" idx="10"/>
          </p:nvPr>
        </p:nvSpPr>
        <p:spPr>
          <a:xfrm>
            <a:off x="504001" y="1035050"/>
            <a:ext cx="4545519" cy="5223510"/>
          </a:xfrm>
        </p:spPr>
        <p:txBody>
          <a:bodyPr/>
          <a:lstStyle/>
          <a:p>
            <a:r>
              <a:rPr lang="en-US" u="sng" dirty="0"/>
              <a:t>SAP Data Quality Management</a:t>
            </a:r>
            <a:br>
              <a:rPr lang="en-US"/>
            </a:br>
            <a:r>
              <a:rPr lang="en-US"/>
              <a:t>Integrate </a:t>
            </a:r>
            <a:r>
              <a:rPr lang="en-US" dirty="0"/>
              <a:t>with SAP DQM </a:t>
            </a:r>
            <a:r>
              <a:rPr lang="en-US"/>
              <a:t>to cleanse </a:t>
            </a:r>
            <a:r>
              <a:rPr lang="en-US" dirty="0"/>
              <a:t>address data </a:t>
            </a:r>
            <a:r>
              <a:rPr lang="en-US"/>
              <a:t>in </a:t>
            </a:r>
            <a:r>
              <a:rPr lang="en-US" dirty="0" err="1"/>
              <a:t>BusinessPartner</a:t>
            </a:r>
            <a:r>
              <a:rPr lang="en-US" dirty="0"/>
              <a:t> events</a:t>
            </a:r>
            <a:endParaRPr lang="en-DE"/>
          </a:p>
        </p:txBody>
      </p:sp>
      <p:sp>
        <p:nvSpPr>
          <p:cNvPr id="3" name="Title 2">
            <a:extLst>
              <a:ext uri="{FF2B5EF4-FFF2-40B4-BE49-F238E27FC236}">
                <a16:creationId xmlns:a16="http://schemas.microsoft.com/office/drawing/2014/main" id="{07657CCD-3D37-B0B4-1D37-F16F90743865}"/>
              </a:ext>
            </a:extLst>
          </p:cNvPr>
          <p:cNvSpPr>
            <a:spLocks noGrp="1"/>
          </p:cNvSpPr>
          <p:nvPr>
            <p:ph type="title"/>
          </p:nvPr>
        </p:nvSpPr>
        <p:spPr/>
        <p:txBody>
          <a:bodyPr/>
          <a:lstStyle/>
          <a:p>
            <a:r>
              <a:rPr lang="en-US"/>
              <a:t>Scenario Cloud Integration</a:t>
            </a:r>
            <a:endParaRPr lang="en-DE" dirty="0"/>
          </a:p>
        </p:txBody>
      </p:sp>
      <p:pic>
        <p:nvPicPr>
          <p:cNvPr id="5" name="Picture 4">
            <a:extLst>
              <a:ext uri="{FF2B5EF4-FFF2-40B4-BE49-F238E27FC236}">
                <a16:creationId xmlns:a16="http://schemas.microsoft.com/office/drawing/2014/main" id="{D6C92E56-924C-4DB4-B805-591BCC7950EB}"/>
              </a:ext>
            </a:extLst>
          </p:cNvPr>
          <p:cNvPicPr>
            <a:picLocks noChangeAspect="1"/>
          </p:cNvPicPr>
          <p:nvPr/>
        </p:nvPicPr>
        <p:blipFill>
          <a:blip r:embed="rId2"/>
          <a:stretch>
            <a:fillRect/>
          </a:stretch>
        </p:blipFill>
        <p:spPr>
          <a:xfrm>
            <a:off x="1895096" y="2399941"/>
            <a:ext cx="9094341" cy="3423009"/>
          </a:xfrm>
          <a:prstGeom prst="rect">
            <a:avLst/>
          </a:prstGeom>
        </p:spPr>
      </p:pic>
    </p:spTree>
    <p:extLst>
      <p:ext uri="{BB962C8B-B14F-4D97-AF65-F5344CB8AC3E}">
        <p14:creationId xmlns:p14="http://schemas.microsoft.com/office/powerpoint/2010/main" val="1207617717"/>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79ABB63-24DC-00A9-D483-6BBD697C9F6D}"/>
              </a:ext>
            </a:extLst>
          </p:cNvPr>
          <p:cNvSpPr>
            <a:spLocks noGrp="1"/>
          </p:cNvSpPr>
          <p:nvPr>
            <p:ph type="body" sz="quarter" idx="10"/>
          </p:nvPr>
        </p:nvSpPr>
        <p:spPr>
          <a:xfrm>
            <a:off x="504001" y="1035050"/>
            <a:ext cx="5205920" cy="4787900"/>
          </a:xfrm>
        </p:spPr>
        <p:txBody>
          <a:bodyPr/>
          <a:lstStyle/>
          <a:p>
            <a:r>
              <a:rPr lang="en-US" u="sng" dirty="0"/>
              <a:t>File-based integration via SFTP</a:t>
            </a:r>
            <a:br>
              <a:rPr lang="en-US" dirty="0"/>
            </a:br>
            <a:r>
              <a:rPr lang="en-US"/>
              <a:t>Leverage Integration Suite </a:t>
            </a:r>
            <a:r>
              <a:rPr lang="en-US" dirty="0"/>
              <a:t>to enable </a:t>
            </a:r>
            <a:r>
              <a:rPr lang="en-US"/>
              <a:t>legacy integrations by </a:t>
            </a:r>
            <a:r>
              <a:rPr lang="en-US" dirty="0"/>
              <a:t>batching events in the </a:t>
            </a:r>
            <a:r>
              <a:rPr lang="en-US"/>
              <a:t>Cloud Integration Data Store</a:t>
            </a:r>
            <a:br>
              <a:rPr lang="en-US" dirty="0"/>
            </a:br>
            <a:endParaRPr lang="en-US"/>
          </a:p>
        </p:txBody>
      </p:sp>
      <p:sp>
        <p:nvSpPr>
          <p:cNvPr id="3" name="Title 2">
            <a:extLst>
              <a:ext uri="{FF2B5EF4-FFF2-40B4-BE49-F238E27FC236}">
                <a16:creationId xmlns:a16="http://schemas.microsoft.com/office/drawing/2014/main" id="{07657CCD-3D37-B0B4-1D37-F16F90743865}"/>
              </a:ext>
            </a:extLst>
          </p:cNvPr>
          <p:cNvSpPr>
            <a:spLocks noGrp="1"/>
          </p:cNvSpPr>
          <p:nvPr>
            <p:ph type="title"/>
          </p:nvPr>
        </p:nvSpPr>
        <p:spPr/>
        <p:txBody>
          <a:bodyPr/>
          <a:lstStyle/>
          <a:p>
            <a:r>
              <a:rPr lang="en-US" dirty="0"/>
              <a:t>Scenario Cloud Integration</a:t>
            </a:r>
            <a:endParaRPr lang="en-DE" dirty="0"/>
          </a:p>
        </p:txBody>
      </p:sp>
      <p:pic>
        <p:nvPicPr>
          <p:cNvPr id="5" name="Picture 4">
            <a:extLst>
              <a:ext uri="{FF2B5EF4-FFF2-40B4-BE49-F238E27FC236}">
                <a16:creationId xmlns:a16="http://schemas.microsoft.com/office/drawing/2014/main" id="{B02CD0C3-CA5F-A79E-0B3D-4C4F9B9A318E}"/>
              </a:ext>
            </a:extLst>
          </p:cNvPr>
          <p:cNvPicPr>
            <a:picLocks noChangeAspect="1"/>
          </p:cNvPicPr>
          <p:nvPr/>
        </p:nvPicPr>
        <p:blipFill>
          <a:blip r:embed="rId2"/>
          <a:stretch>
            <a:fillRect/>
          </a:stretch>
        </p:blipFill>
        <p:spPr>
          <a:xfrm>
            <a:off x="6219535" y="1218362"/>
            <a:ext cx="5067904" cy="2368118"/>
          </a:xfrm>
          <a:prstGeom prst="rect">
            <a:avLst/>
          </a:prstGeom>
        </p:spPr>
      </p:pic>
      <p:pic>
        <p:nvPicPr>
          <p:cNvPr id="7" name="Picture 6">
            <a:extLst>
              <a:ext uri="{FF2B5EF4-FFF2-40B4-BE49-F238E27FC236}">
                <a16:creationId xmlns:a16="http://schemas.microsoft.com/office/drawing/2014/main" id="{2AF057DF-FAD8-21C5-07B3-D269B7B522F6}"/>
              </a:ext>
            </a:extLst>
          </p:cNvPr>
          <p:cNvPicPr>
            <a:picLocks noChangeAspect="1"/>
          </p:cNvPicPr>
          <p:nvPr/>
        </p:nvPicPr>
        <p:blipFill>
          <a:blip r:embed="rId3"/>
          <a:stretch>
            <a:fillRect/>
          </a:stretch>
        </p:blipFill>
        <p:spPr>
          <a:xfrm>
            <a:off x="4248117" y="3745490"/>
            <a:ext cx="5831383" cy="2422490"/>
          </a:xfrm>
          <a:prstGeom prst="rect">
            <a:avLst/>
          </a:prstGeom>
        </p:spPr>
      </p:pic>
    </p:spTree>
    <p:extLst>
      <p:ext uri="{BB962C8B-B14F-4D97-AF65-F5344CB8AC3E}">
        <p14:creationId xmlns:p14="http://schemas.microsoft.com/office/powerpoint/2010/main" val="1703777975"/>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88DC5D5-9356-4E95-A313-04A7544255D5}"/>
              </a:ext>
            </a:extLst>
          </p:cNvPr>
          <p:cNvGraphicFramePr>
            <a:graphicFrameLocks noChangeAspect="1"/>
          </p:cNvGraphicFramePr>
          <p:nvPr>
            <p:custDataLst>
              <p:tags r:id="rId1"/>
            </p:custDataLst>
          </p:nvPr>
        </p:nvGraphicFramePr>
        <p:xfrm>
          <a:off x="4761" y="2480"/>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5" progId="TCLayout.ActiveDocument.1">
                  <p:embed/>
                </p:oleObj>
              </mc:Choice>
              <mc:Fallback>
                <p:oleObj name="think-cell Slide" r:id="rId4" imgW="592" imgH="595" progId="TCLayout.ActiveDocument.1">
                  <p:embed/>
                  <p:pic>
                    <p:nvPicPr>
                      <p:cNvPr id="6" name="Object 5" hidden="1">
                        <a:extLst>
                          <a:ext uri="{FF2B5EF4-FFF2-40B4-BE49-F238E27FC236}">
                            <a16:creationId xmlns:a16="http://schemas.microsoft.com/office/drawing/2014/main" id="{288DC5D5-9356-4E95-A313-04A7544255D5}"/>
                          </a:ext>
                        </a:extLst>
                      </p:cNvPr>
                      <p:cNvPicPr/>
                      <p:nvPr/>
                    </p:nvPicPr>
                    <p:blipFill>
                      <a:blip r:embed="rId5"/>
                      <a:stretch>
                        <a:fillRect/>
                      </a:stretch>
                    </p:blipFill>
                    <p:spPr>
                      <a:xfrm>
                        <a:off x="4761" y="2480"/>
                        <a:ext cx="1588" cy="1588"/>
                      </a:xfrm>
                      <a:prstGeom prst="rect">
                        <a:avLst/>
                      </a:prstGeom>
                    </p:spPr>
                  </p:pic>
                </p:oleObj>
              </mc:Fallback>
            </mc:AlternateContent>
          </a:graphicData>
        </a:graphic>
      </p:graphicFrame>
      <p:sp>
        <p:nvSpPr>
          <p:cNvPr id="63" name="Rectangle: Rounded Corners 62">
            <a:extLst>
              <a:ext uri="{FF2B5EF4-FFF2-40B4-BE49-F238E27FC236}">
                <a16:creationId xmlns:a16="http://schemas.microsoft.com/office/drawing/2014/main" id="{DEB4212C-4C83-49C5-B09D-B1773C7E4C84}"/>
              </a:ext>
            </a:extLst>
          </p:cNvPr>
          <p:cNvSpPr/>
          <p:nvPr/>
        </p:nvSpPr>
        <p:spPr bwMode="gray">
          <a:xfrm>
            <a:off x="2155562" y="2384953"/>
            <a:ext cx="7790249" cy="2890764"/>
          </a:xfrm>
          <a:prstGeom prst="roundRect">
            <a:avLst>
              <a:gd name="adj" fmla="val 2574"/>
            </a:avLst>
          </a:prstGeom>
          <a:solidFill>
            <a:schemeClr val="bg1"/>
          </a:solidFill>
          <a:ln w="19050" algn="ctr">
            <a:solidFill>
              <a:schemeClr val="tx2"/>
            </a:solidFill>
            <a:prstDash val="solid"/>
            <a:miter lim="800000"/>
            <a:headEnd/>
            <a:tailEnd/>
          </a:ln>
          <a:effectLst/>
        </p:spPr>
        <p:txBody>
          <a:bodyPr lIns="89977" tIns="71981" rIns="89977" bIns="71981" rtlCol="0" anchor="ctr"/>
          <a:lstStyle/>
          <a:p>
            <a:pPr algn="ctr" defTabSz="914126">
              <a:spcBef>
                <a:spcPct val="50000"/>
              </a:spcBef>
              <a:buClr>
                <a:srgbClr val="F0AB00"/>
              </a:buClr>
              <a:buSzPct val="80000"/>
              <a:defRPr/>
            </a:pPr>
            <a:endParaRPr lang="en-US" sz="1799" kern="0">
              <a:solidFill>
                <a:srgbClr val="000000"/>
              </a:solidFill>
              <a:latin typeface="+mn-lt"/>
              <a:ea typeface="Arial Unicode MS" pitchFamily="34" charset="-128"/>
              <a:cs typeface="72" panose="020B0503030000000003" pitchFamily="34" charset="0"/>
            </a:endParaRPr>
          </a:p>
        </p:txBody>
      </p:sp>
      <p:sp>
        <p:nvSpPr>
          <p:cNvPr id="64" name="Rectangle 63">
            <a:extLst>
              <a:ext uri="{FF2B5EF4-FFF2-40B4-BE49-F238E27FC236}">
                <a16:creationId xmlns:a16="http://schemas.microsoft.com/office/drawing/2014/main" id="{34E23CA1-53C7-42A1-AC69-B76E2B2E337E}"/>
              </a:ext>
            </a:extLst>
          </p:cNvPr>
          <p:cNvSpPr/>
          <p:nvPr/>
        </p:nvSpPr>
        <p:spPr>
          <a:xfrm>
            <a:off x="2155559" y="3346984"/>
            <a:ext cx="1778635" cy="461545"/>
          </a:xfrm>
          <a:prstGeom prst="rect">
            <a:avLst/>
          </a:prstGeom>
        </p:spPr>
        <p:txBody>
          <a:bodyPr wrap="square">
            <a:spAutoFit/>
          </a:bodyPr>
          <a:lstStyle/>
          <a:p>
            <a:pPr algn="ctr" defTabSz="1088449">
              <a:defRPr/>
            </a:pPr>
            <a:r>
              <a:rPr lang="en-US" sz="1200" dirty="0">
                <a:solidFill>
                  <a:srgbClr val="000000"/>
                </a:solidFill>
                <a:latin typeface="+mn-lt"/>
                <a:cs typeface="72" panose="020B0503030000000003" pitchFamily="34" charset="0"/>
              </a:rPr>
              <a:t>Processes and</a:t>
            </a:r>
          </a:p>
          <a:p>
            <a:pPr algn="ctr" defTabSz="1088449">
              <a:defRPr/>
            </a:pPr>
            <a:r>
              <a:rPr lang="en-US" sz="1200" dirty="0">
                <a:solidFill>
                  <a:srgbClr val="000000"/>
                </a:solidFill>
                <a:latin typeface="+mn-lt"/>
                <a:cs typeface="72" panose="020B0503030000000003" pitchFamily="34" charset="0"/>
              </a:rPr>
              <a:t>workflows </a:t>
            </a:r>
          </a:p>
        </p:txBody>
      </p:sp>
      <p:pic>
        <p:nvPicPr>
          <p:cNvPr id="65" name="Picture 64">
            <a:extLst>
              <a:ext uri="{FF2B5EF4-FFF2-40B4-BE49-F238E27FC236}">
                <a16:creationId xmlns:a16="http://schemas.microsoft.com/office/drawing/2014/main" id="{63767475-6D56-4A23-82B2-062FDB81B27F}"/>
              </a:ext>
            </a:extLst>
          </p:cNvPr>
          <p:cNvPicPr>
            <a:picLocks noChangeAspect="1"/>
          </p:cNvPicPr>
          <p:nvPr/>
        </p:nvPicPr>
        <p:blipFill>
          <a:blip r:embed="rId6"/>
          <a:srcRect/>
          <a:stretch/>
        </p:blipFill>
        <p:spPr>
          <a:xfrm>
            <a:off x="2748909" y="2788894"/>
            <a:ext cx="608997" cy="532619"/>
          </a:xfrm>
          <a:prstGeom prst="rect">
            <a:avLst/>
          </a:prstGeom>
        </p:spPr>
      </p:pic>
      <p:sp>
        <p:nvSpPr>
          <p:cNvPr id="66" name="Rectangle 65">
            <a:extLst>
              <a:ext uri="{FF2B5EF4-FFF2-40B4-BE49-F238E27FC236}">
                <a16:creationId xmlns:a16="http://schemas.microsoft.com/office/drawing/2014/main" id="{3FAB0DA1-00C2-4979-98FC-AE025EBADFE9}"/>
              </a:ext>
            </a:extLst>
          </p:cNvPr>
          <p:cNvSpPr/>
          <p:nvPr/>
        </p:nvSpPr>
        <p:spPr>
          <a:xfrm>
            <a:off x="3944181" y="3346984"/>
            <a:ext cx="1863469" cy="461545"/>
          </a:xfrm>
          <a:prstGeom prst="rect">
            <a:avLst/>
          </a:prstGeom>
        </p:spPr>
        <p:txBody>
          <a:bodyPr wrap="square">
            <a:spAutoFit/>
          </a:bodyPr>
          <a:lstStyle/>
          <a:p>
            <a:pPr algn="ctr" defTabSz="1088449">
              <a:defRPr/>
            </a:pPr>
            <a:r>
              <a:rPr lang="en-US" sz="1200">
                <a:solidFill>
                  <a:srgbClr val="000000"/>
                </a:solidFill>
                <a:latin typeface="+mn-lt"/>
                <a:cs typeface="72" panose="020B0503030000000003" pitchFamily="34" charset="0"/>
              </a:rPr>
              <a:t>Forms and </a:t>
            </a:r>
          </a:p>
          <a:p>
            <a:pPr algn="ctr" defTabSz="1088449">
              <a:defRPr/>
            </a:pPr>
            <a:r>
              <a:rPr lang="en-US" sz="1200">
                <a:solidFill>
                  <a:srgbClr val="000000"/>
                </a:solidFill>
                <a:latin typeface="+mn-lt"/>
                <a:cs typeface="72" panose="020B0503030000000003" pitchFamily="34" charset="0"/>
              </a:rPr>
              <a:t>multistep approvals </a:t>
            </a:r>
          </a:p>
        </p:txBody>
      </p:sp>
      <p:pic>
        <p:nvPicPr>
          <p:cNvPr id="67" name="Picture 66">
            <a:extLst>
              <a:ext uri="{FF2B5EF4-FFF2-40B4-BE49-F238E27FC236}">
                <a16:creationId xmlns:a16="http://schemas.microsoft.com/office/drawing/2014/main" id="{2D3ECA63-9892-4B12-82CA-A4978FA61A09}"/>
              </a:ext>
            </a:extLst>
          </p:cNvPr>
          <p:cNvPicPr>
            <a:picLocks noChangeAspect="1"/>
          </p:cNvPicPr>
          <p:nvPr/>
        </p:nvPicPr>
        <p:blipFill>
          <a:blip r:embed="rId7"/>
          <a:srcRect/>
          <a:stretch/>
        </p:blipFill>
        <p:spPr>
          <a:xfrm>
            <a:off x="4638489" y="2736847"/>
            <a:ext cx="511989" cy="584666"/>
          </a:xfrm>
          <a:prstGeom prst="rect">
            <a:avLst/>
          </a:prstGeom>
        </p:spPr>
      </p:pic>
      <p:sp>
        <p:nvSpPr>
          <p:cNvPr id="68" name="Rectangle 67">
            <a:extLst>
              <a:ext uri="{FF2B5EF4-FFF2-40B4-BE49-F238E27FC236}">
                <a16:creationId xmlns:a16="http://schemas.microsoft.com/office/drawing/2014/main" id="{B68EE2DC-9B4D-45AE-80E2-F4B48D8CBB93}"/>
              </a:ext>
            </a:extLst>
          </p:cNvPr>
          <p:cNvSpPr/>
          <p:nvPr/>
        </p:nvSpPr>
        <p:spPr>
          <a:xfrm>
            <a:off x="5814306" y="3346984"/>
            <a:ext cx="2077791" cy="461545"/>
          </a:xfrm>
          <a:prstGeom prst="rect">
            <a:avLst/>
          </a:prstGeom>
        </p:spPr>
        <p:txBody>
          <a:bodyPr wrap="square">
            <a:spAutoFit/>
          </a:bodyPr>
          <a:lstStyle/>
          <a:p>
            <a:pPr algn="ctr" defTabSz="1088449">
              <a:defRPr/>
            </a:pPr>
            <a:r>
              <a:rPr lang="en-US" sz="1200">
                <a:solidFill>
                  <a:srgbClr val="000000"/>
                </a:solidFill>
                <a:latin typeface="+mn-lt"/>
                <a:cs typeface="72" panose="020B0503030000000003" pitchFamily="34" charset="0"/>
              </a:rPr>
              <a:t>Task </a:t>
            </a:r>
          </a:p>
          <a:p>
            <a:pPr algn="ctr" defTabSz="1088449">
              <a:defRPr/>
            </a:pPr>
            <a:r>
              <a:rPr lang="en-US" sz="1200">
                <a:solidFill>
                  <a:srgbClr val="000000"/>
                </a:solidFill>
                <a:latin typeface="+mn-lt"/>
                <a:cs typeface="72" panose="020B0503030000000003" pitchFamily="34" charset="0"/>
              </a:rPr>
              <a:t>automation</a:t>
            </a:r>
          </a:p>
        </p:txBody>
      </p:sp>
      <p:cxnSp>
        <p:nvCxnSpPr>
          <p:cNvPr id="69" name="Straight Connector 68">
            <a:extLst>
              <a:ext uri="{FF2B5EF4-FFF2-40B4-BE49-F238E27FC236}">
                <a16:creationId xmlns:a16="http://schemas.microsoft.com/office/drawing/2014/main" id="{39C45EA8-BAAD-4729-96C6-C5BA3440F9C9}"/>
              </a:ext>
            </a:extLst>
          </p:cNvPr>
          <p:cNvCxnSpPr>
            <a:cxnSpLocks/>
          </p:cNvCxnSpPr>
          <p:nvPr/>
        </p:nvCxnSpPr>
        <p:spPr>
          <a:xfrm>
            <a:off x="3934196" y="3023425"/>
            <a:ext cx="0" cy="1746823"/>
          </a:xfrm>
          <a:prstGeom prst="line">
            <a:avLst/>
          </a:prstGeom>
          <a:ln w="3175">
            <a:gradFill flip="none" rotWithShape="1">
              <a:gsLst>
                <a:gs pos="0">
                  <a:schemeClr val="tx1"/>
                </a:gs>
                <a:gs pos="100000">
                  <a:schemeClr val="bg1"/>
                </a:gs>
              </a:gsLst>
              <a:path path="circle">
                <a:fillToRect l="50000" t="50000" r="50000" b="50000"/>
              </a:path>
              <a:tileRect/>
            </a:gra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B774A7D8-050B-4F03-A7EC-B9BC606DF89F}"/>
              </a:ext>
            </a:extLst>
          </p:cNvPr>
          <p:cNvCxnSpPr>
            <a:cxnSpLocks/>
          </p:cNvCxnSpPr>
          <p:nvPr/>
        </p:nvCxnSpPr>
        <p:spPr>
          <a:xfrm>
            <a:off x="5810977" y="3012890"/>
            <a:ext cx="0" cy="1746823"/>
          </a:xfrm>
          <a:prstGeom prst="line">
            <a:avLst/>
          </a:prstGeom>
          <a:ln w="3175">
            <a:gradFill flip="none" rotWithShape="1">
              <a:gsLst>
                <a:gs pos="0">
                  <a:schemeClr val="tx1"/>
                </a:gs>
                <a:gs pos="100000">
                  <a:schemeClr val="bg1"/>
                </a:gs>
              </a:gsLst>
              <a:path path="circle">
                <a:fillToRect l="50000" t="50000" r="50000" b="50000"/>
              </a:path>
              <a:tileRect/>
            </a:gra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D3B1626E-CA60-4B0A-8217-E7385D6747B9}"/>
              </a:ext>
            </a:extLst>
          </p:cNvPr>
          <p:cNvCxnSpPr>
            <a:cxnSpLocks/>
          </p:cNvCxnSpPr>
          <p:nvPr/>
        </p:nvCxnSpPr>
        <p:spPr>
          <a:xfrm>
            <a:off x="7895425" y="3059370"/>
            <a:ext cx="0" cy="1746823"/>
          </a:xfrm>
          <a:prstGeom prst="line">
            <a:avLst/>
          </a:prstGeom>
          <a:ln w="3175">
            <a:gradFill flip="none" rotWithShape="1">
              <a:gsLst>
                <a:gs pos="0">
                  <a:schemeClr val="tx1"/>
                </a:gs>
                <a:gs pos="100000">
                  <a:schemeClr val="bg1"/>
                </a:gs>
              </a:gsLst>
              <a:path path="circle">
                <a:fillToRect l="50000" t="50000" r="50000" b="50000"/>
              </a:path>
              <a:tileRect/>
            </a:gra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752E89E0-AFFC-4530-BE8E-3EC09096DB21}"/>
              </a:ext>
            </a:extLst>
          </p:cNvPr>
          <p:cNvCxnSpPr>
            <a:cxnSpLocks/>
          </p:cNvCxnSpPr>
          <p:nvPr/>
        </p:nvCxnSpPr>
        <p:spPr>
          <a:xfrm flipH="1">
            <a:off x="2254927" y="3863956"/>
            <a:ext cx="7549305" cy="0"/>
          </a:xfrm>
          <a:prstGeom prst="line">
            <a:avLst/>
          </a:prstGeom>
          <a:ln w="3175">
            <a:gradFill flip="none" rotWithShape="1">
              <a:gsLst>
                <a:gs pos="0">
                  <a:schemeClr val="tx1"/>
                </a:gs>
                <a:gs pos="100000">
                  <a:schemeClr val="bg1"/>
                </a:gs>
              </a:gsLst>
              <a:path path="circle">
                <a:fillToRect l="50000" t="50000" r="50000" b="50000"/>
              </a:path>
              <a:tileRect/>
            </a:gra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81" name="TextBox 80">
            <a:extLst>
              <a:ext uri="{FF2B5EF4-FFF2-40B4-BE49-F238E27FC236}">
                <a16:creationId xmlns:a16="http://schemas.microsoft.com/office/drawing/2014/main" id="{B9F1B197-41A3-4B0A-82DC-C52EC37E7DFC}"/>
              </a:ext>
            </a:extLst>
          </p:cNvPr>
          <p:cNvSpPr txBox="1"/>
          <p:nvPr/>
        </p:nvSpPr>
        <p:spPr>
          <a:xfrm>
            <a:off x="4379808" y="2227071"/>
            <a:ext cx="3477759" cy="276999"/>
          </a:xfrm>
          <a:prstGeom prst="rect">
            <a:avLst/>
          </a:prstGeom>
          <a:solidFill>
            <a:schemeClr val="bg1"/>
          </a:solidFill>
        </p:spPr>
        <p:txBody>
          <a:bodyPr wrap="square" lIns="0" tIns="0" rIns="0" bIns="0" rtlCol="0">
            <a:spAutoFit/>
          </a:bodyPr>
          <a:lstStyle/>
          <a:p>
            <a:pPr algn="ctr" defTabSz="1088449">
              <a:spcBef>
                <a:spcPct val="50000"/>
              </a:spcBef>
              <a:buClr>
                <a:srgbClr val="F0AB00"/>
              </a:buClr>
              <a:buSzPct val="80000"/>
              <a:defRPr/>
            </a:pPr>
            <a:r>
              <a:rPr lang="en-US" sz="1800" kern="0">
                <a:solidFill>
                  <a:schemeClr val="tx2"/>
                </a:solidFill>
                <a:latin typeface="72 Brand Medium" panose="020B0504030603020204" pitchFamily="34" charset="0"/>
                <a:ea typeface="Arial Unicode MS" pitchFamily="34" charset="-128"/>
                <a:cs typeface="72" panose="020B0503030000000003" pitchFamily="34" charset="0"/>
              </a:rPr>
              <a:t> SAP Build Process Automation</a:t>
            </a:r>
          </a:p>
        </p:txBody>
      </p:sp>
      <p:sp>
        <p:nvSpPr>
          <p:cNvPr id="82" name="TextBox 81">
            <a:extLst>
              <a:ext uri="{FF2B5EF4-FFF2-40B4-BE49-F238E27FC236}">
                <a16:creationId xmlns:a16="http://schemas.microsoft.com/office/drawing/2014/main" id="{47465678-B3B4-4E29-84C2-D98D6ED696DE}"/>
              </a:ext>
            </a:extLst>
          </p:cNvPr>
          <p:cNvSpPr txBox="1"/>
          <p:nvPr/>
        </p:nvSpPr>
        <p:spPr>
          <a:xfrm>
            <a:off x="401647" y="4788253"/>
            <a:ext cx="1440799" cy="684803"/>
          </a:xfrm>
          <a:prstGeom prst="rect">
            <a:avLst/>
          </a:prstGeom>
          <a:noFill/>
        </p:spPr>
        <p:txBody>
          <a:bodyPr wrap="square" lIns="0" tIns="0" rIns="0" bIns="0" rtlCol="0">
            <a:spAutoFit/>
          </a:bodyPr>
          <a:lstStyle/>
          <a:p>
            <a:pPr algn="ctr" defTabSz="1088449">
              <a:spcBef>
                <a:spcPct val="50000"/>
              </a:spcBef>
              <a:buClr>
                <a:srgbClr val="F0AB00"/>
              </a:buClr>
              <a:buSzPct val="80000"/>
              <a:defRPr/>
            </a:pPr>
            <a:r>
              <a:rPr lang="en-US" sz="1050" kern="0">
                <a:solidFill>
                  <a:srgbClr val="000000"/>
                </a:solidFill>
                <a:latin typeface="+mn-lt"/>
                <a:ea typeface="Arial Unicode MS" pitchFamily="34" charset="-128"/>
                <a:cs typeface="72" panose="020B0503030000000003" pitchFamily="34" charset="0"/>
              </a:rPr>
              <a:t>Business process insights and transformation</a:t>
            </a:r>
          </a:p>
          <a:p>
            <a:pPr algn="ctr" defTabSz="1088449">
              <a:spcBef>
                <a:spcPts val="300"/>
              </a:spcBef>
              <a:buClr>
                <a:srgbClr val="F0AB00"/>
              </a:buClr>
              <a:buSzPct val="80000"/>
              <a:defRPr/>
            </a:pPr>
            <a:r>
              <a:rPr lang="en-US" sz="1050" b="1" kern="0">
                <a:solidFill>
                  <a:srgbClr val="000000"/>
                </a:solidFill>
                <a:latin typeface="+mn-lt"/>
                <a:ea typeface="Arial Unicode MS" pitchFamily="34" charset="-128"/>
              </a:rPr>
              <a:t>SAP Signavio</a:t>
            </a:r>
            <a:endParaRPr lang="en-US" sz="1050" kern="0">
              <a:solidFill>
                <a:srgbClr val="000000"/>
              </a:solidFill>
              <a:latin typeface="+mn-lt"/>
              <a:ea typeface="Arial Unicode MS" pitchFamily="34" charset="-128"/>
              <a:cs typeface="72" panose="020B0503030000000003" pitchFamily="34" charset="0"/>
            </a:endParaRPr>
          </a:p>
        </p:txBody>
      </p:sp>
      <p:pic>
        <p:nvPicPr>
          <p:cNvPr id="85" name="Picture 84">
            <a:extLst>
              <a:ext uri="{FF2B5EF4-FFF2-40B4-BE49-F238E27FC236}">
                <a16:creationId xmlns:a16="http://schemas.microsoft.com/office/drawing/2014/main" id="{961BF4B0-EBD8-4B1B-B995-10F8970A0C0E}"/>
              </a:ext>
            </a:extLst>
          </p:cNvPr>
          <p:cNvPicPr>
            <a:picLocks noChangeAspect="1"/>
          </p:cNvPicPr>
          <p:nvPr/>
        </p:nvPicPr>
        <p:blipFill>
          <a:blip r:embed="rId8"/>
          <a:srcRect/>
          <a:stretch/>
        </p:blipFill>
        <p:spPr>
          <a:xfrm>
            <a:off x="10654230" y="4148457"/>
            <a:ext cx="591635" cy="591635"/>
          </a:xfrm>
          <a:prstGeom prst="rect">
            <a:avLst/>
          </a:prstGeom>
        </p:spPr>
      </p:pic>
      <p:sp>
        <p:nvSpPr>
          <p:cNvPr id="86" name="TextBox 85">
            <a:extLst>
              <a:ext uri="{FF2B5EF4-FFF2-40B4-BE49-F238E27FC236}">
                <a16:creationId xmlns:a16="http://schemas.microsoft.com/office/drawing/2014/main" id="{5641CE6B-5363-40AE-930A-DFC8FAB35846}"/>
              </a:ext>
            </a:extLst>
          </p:cNvPr>
          <p:cNvSpPr txBox="1"/>
          <p:nvPr/>
        </p:nvSpPr>
        <p:spPr>
          <a:xfrm>
            <a:off x="10229648" y="4774803"/>
            <a:ext cx="1440799" cy="523220"/>
          </a:xfrm>
          <a:prstGeom prst="rect">
            <a:avLst/>
          </a:prstGeom>
          <a:noFill/>
        </p:spPr>
        <p:txBody>
          <a:bodyPr wrap="square" lIns="0" tIns="0" rIns="0" bIns="0" rtlCol="0">
            <a:spAutoFit/>
          </a:bodyPr>
          <a:lstStyle/>
          <a:p>
            <a:pPr algn="ctr" defTabSz="1088449">
              <a:spcBef>
                <a:spcPct val="50000"/>
              </a:spcBef>
              <a:buClr>
                <a:srgbClr val="F0AB00"/>
              </a:buClr>
              <a:buSzPct val="80000"/>
              <a:defRPr/>
            </a:pPr>
            <a:r>
              <a:rPr lang="en-US" sz="1050" kern="0">
                <a:solidFill>
                  <a:srgbClr val="000000"/>
                </a:solidFill>
                <a:latin typeface="+mn-lt"/>
                <a:ea typeface="Arial Unicode MS" pitchFamily="34" charset="-128"/>
                <a:cs typeface="72" panose="020B0503030000000003" pitchFamily="34" charset="0"/>
              </a:rPr>
              <a:t>Pro-code</a:t>
            </a:r>
            <a:br>
              <a:rPr lang="en-US" sz="1050" kern="0">
                <a:solidFill>
                  <a:srgbClr val="000000"/>
                </a:solidFill>
                <a:latin typeface="+mn-lt"/>
                <a:ea typeface="Arial Unicode MS" pitchFamily="34" charset="-128"/>
                <a:cs typeface="72" panose="020B0503030000000003" pitchFamily="34" charset="0"/>
              </a:rPr>
            </a:br>
            <a:r>
              <a:rPr lang="en-US" sz="1050" kern="0">
                <a:solidFill>
                  <a:srgbClr val="000000"/>
                </a:solidFill>
                <a:latin typeface="+mn-lt"/>
                <a:ea typeface="Arial Unicode MS" pitchFamily="34" charset="-128"/>
                <a:cs typeface="72" panose="020B0503030000000003" pitchFamily="34" charset="0"/>
              </a:rPr>
              <a:t>app dev</a:t>
            </a:r>
          </a:p>
          <a:p>
            <a:pPr algn="ctr" defTabSz="1088449">
              <a:spcBef>
                <a:spcPts val="300"/>
              </a:spcBef>
              <a:buClr>
                <a:srgbClr val="F0AB00"/>
              </a:buClr>
              <a:buSzPct val="80000"/>
              <a:defRPr/>
            </a:pPr>
            <a:r>
              <a:rPr lang="en-US" sz="1050" b="1" kern="0">
                <a:solidFill>
                  <a:srgbClr val="000000"/>
                </a:solidFill>
                <a:latin typeface="+mn-lt"/>
                <a:ea typeface="Arial Unicode MS" pitchFamily="34" charset="-128"/>
              </a:rPr>
              <a:t>SAP Build Code</a:t>
            </a:r>
          </a:p>
        </p:txBody>
      </p:sp>
      <p:pic>
        <p:nvPicPr>
          <p:cNvPr id="87" name="Picture 86">
            <a:extLst>
              <a:ext uri="{FF2B5EF4-FFF2-40B4-BE49-F238E27FC236}">
                <a16:creationId xmlns:a16="http://schemas.microsoft.com/office/drawing/2014/main" id="{C4A7D135-6189-4768-8AF5-19FCDEA8E785}"/>
              </a:ext>
            </a:extLst>
          </p:cNvPr>
          <p:cNvPicPr>
            <a:picLocks noChangeAspect="1"/>
          </p:cNvPicPr>
          <p:nvPr/>
        </p:nvPicPr>
        <p:blipFill>
          <a:blip r:embed="rId9"/>
          <a:srcRect/>
          <a:stretch/>
        </p:blipFill>
        <p:spPr>
          <a:xfrm>
            <a:off x="10738363" y="2741562"/>
            <a:ext cx="423369" cy="592567"/>
          </a:xfrm>
          <a:prstGeom prst="rect">
            <a:avLst/>
          </a:prstGeom>
        </p:spPr>
      </p:pic>
      <p:sp>
        <p:nvSpPr>
          <p:cNvPr id="88" name="TextBox 87">
            <a:extLst>
              <a:ext uri="{FF2B5EF4-FFF2-40B4-BE49-F238E27FC236}">
                <a16:creationId xmlns:a16="http://schemas.microsoft.com/office/drawing/2014/main" id="{058756F3-72A2-4EF7-8F3F-C40F1F1ED573}"/>
              </a:ext>
            </a:extLst>
          </p:cNvPr>
          <p:cNvSpPr txBox="1"/>
          <p:nvPr/>
        </p:nvSpPr>
        <p:spPr>
          <a:xfrm>
            <a:off x="10229648" y="3380532"/>
            <a:ext cx="1440799" cy="684803"/>
          </a:xfrm>
          <a:prstGeom prst="rect">
            <a:avLst/>
          </a:prstGeom>
          <a:noFill/>
        </p:spPr>
        <p:txBody>
          <a:bodyPr wrap="square" lIns="0" tIns="0" rIns="0" bIns="0" rtlCol="0">
            <a:spAutoFit/>
          </a:bodyPr>
          <a:lstStyle/>
          <a:p>
            <a:pPr algn="ctr" defTabSz="1088449">
              <a:spcBef>
                <a:spcPct val="50000"/>
              </a:spcBef>
              <a:buClr>
                <a:srgbClr val="F0AB00"/>
              </a:buClr>
              <a:buSzPct val="80000"/>
              <a:defRPr/>
            </a:pPr>
            <a:r>
              <a:rPr lang="en-US" sz="1050" kern="0">
                <a:solidFill>
                  <a:srgbClr val="000000"/>
                </a:solidFill>
                <a:latin typeface="+mn-lt"/>
                <a:ea typeface="Arial Unicode MS" pitchFamily="34" charset="-128"/>
                <a:cs typeface="72" panose="020B0503030000000003" pitchFamily="34" charset="0"/>
              </a:rPr>
              <a:t>Low-code </a:t>
            </a:r>
          </a:p>
          <a:p>
            <a:pPr algn="ctr" defTabSz="1088449">
              <a:buClr>
                <a:srgbClr val="F0AB00"/>
              </a:buClr>
              <a:buSzPct val="80000"/>
              <a:defRPr/>
            </a:pPr>
            <a:r>
              <a:rPr lang="en-US" sz="1050" kern="0">
                <a:solidFill>
                  <a:srgbClr val="000000"/>
                </a:solidFill>
                <a:latin typeface="+mn-lt"/>
                <a:ea typeface="Arial Unicode MS" pitchFamily="34" charset="-128"/>
                <a:cs typeface="72" panose="020B0503030000000003" pitchFamily="34" charset="0"/>
              </a:rPr>
              <a:t>app dev and </a:t>
            </a:r>
          </a:p>
          <a:p>
            <a:pPr algn="ctr" defTabSz="1088449">
              <a:buClr>
                <a:srgbClr val="F0AB00"/>
              </a:buClr>
              <a:buSzPct val="80000"/>
              <a:defRPr/>
            </a:pPr>
            <a:r>
              <a:rPr lang="en-US" sz="1050" kern="0">
                <a:solidFill>
                  <a:srgbClr val="000000"/>
                </a:solidFill>
                <a:latin typeface="+mn-lt"/>
                <a:ea typeface="Arial Unicode MS" pitchFamily="34" charset="-128"/>
                <a:cs typeface="72" panose="020B0503030000000003" pitchFamily="34" charset="0"/>
              </a:rPr>
              <a:t>business sites</a:t>
            </a:r>
          </a:p>
          <a:p>
            <a:pPr algn="ctr" defTabSz="1088449">
              <a:spcBef>
                <a:spcPts val="300"/>
              </a:spcBef>
              <a:buClr>
                <a:srgbClr val="F0AB00"/>
              </a:buClr>
              <a:buSzPct val="80000"/>
              <a:defRPr/>
            </a:pPr>
            <a:r>
              <a:rPr lang="en-US" sz="1050" b="1" kern="0">
                <a:solidFill>
                  <a:srgbClr val="000000"/>
                </a:solidFill>
                <a:latin typeface="+mn-lt"/>
                <a:ea typeface="Arial Unicode MS" pitchFamily="34" charset="-128"/>
              </a:rPr>
              <a:t>SAP Build</a:t>
            </a:r>
          </a:p>
        </p:txBody>
      </p:sp>
      <p:sp>
        <p:nvSpPr>
          <p:cNvPr id="93" name="Oval 92">
            <a:extLst>
              <a:ext uri="{FF2B5EF4-FFF2-40B4-BE49-F238E27FC236}">
                <a16:creationId xmlns:a16="http://schemas.microsoft.com/office/drawing/2014/main" id="{1A394F99-99B6-4FB2-80FA-D5127D4025CD}"/>
              </a:ext>
            </a:extLst>
          </p:cNvPr>
          <p:cNvSpPr/>
          <p:nvPr/>
        </p:nvSpPr>
        <p:spPr bwMode="gray">
          <a:xfrm>
            <a:off x="2111093" y="4385257"/>
            <a:ext cx="91416" cy="91416"/>
          </a:xfrm>
          <a:prstGeom prst="ellipse">
            <a:avLst/>
          </a:prstGeom>
          <a:solidFill>
            <a:schemeClr val="bg1"/>
          </a:solidFill>
          <a:ln w="12700" algn="ctr">
            <a:solidFill>
              <a:schemeClr val="tx2"/>
            </a:solidFill>
            <a:miter lim="800000"/>
            <a:headEnd/>
            <a:tailEnd/>
          </a:ln>
        </p:spPr>
        <p:txBody>
          <a:bodyPr lIns="89977" tIns="71981" rIns="89977" bIns="71981" rtlCol="0" anchor="ctr"/>
          <a:lstStyle/>
          <a:p>
            <a:pPr algn="ctr" defTabSz="914126">
              <a:spcBef>
                <a:spcPct val="50000"/>
              </a:spcBef>
              <a:buClr>
                <a:srgbClr val="F0AB00"/>
              </a:buClr>
              <a:buSzPct val="80000"/>
              <a:defRPr/>
            </a:pPr>
            <a:endParaRPr lang="en-US" sz="1799" kern="0">
              <a:solidFill>
                <a:srgbClr val="000000"/>
              </a:solidFill>
              <a:latin typeface="+mn-lt"/>
              <a:ea typeface="Arial Unicode MS" pitchFamily="34" charset="-128"/>
              <a:cs typeface="72" panose="020B0503030000000003" pitchFamily="34" charset="0"/>
            </a:endParaRPr>
          </a:p>
        </p:txBody>
      </p:sp>
      <p:sp>
        <p:nvSpPr>
          <p:cNvPr id="105" name="Rectangle 104">
            <a:extLst>
              <a:ext uri="{FF2B5EF4-FFF2-40B4-BE49-F238E27FC236}">
                <a16:creationId xmlns:a16="http://schemas.microsoft.com/office/drawing/2014/main" id="{4EA96C0A-1590-4265-A372-6EA706DFF09E}"/>
              </a:ext>
            </a:extLst>
          </p:cNvPr>
          <p:cNvSpPr/>
          <p:nvPr/>
        </p:nvSpPr>
        <p:spPr>
          <a:xfrm>
            <a:off x="2155559" y="4721686"/>
            <a:ext cx="1778635" cy="461545"/>
          </a:xfrm>
          <a:prstGeom prst="rect">
            <a:avLst/>
          </a:prstGeom>
        </p:spPr>
        <p:txBody>
          <a:bodyPr wrap="square">
            <a:spAutoFit/>
          </a:bodyPr>
          <a:lstStyle/>
          <a:p>
            <a:pPr algn="ctr" defTabSz="1088449">
              <a:defRPr/>
            </a:pPr>
            <a:r>
              <a:rPr lang="en-US" sz="1200">
                <a:solidFill>
                  <a:srgbClr val="000000"/>
                </a:solidFill>
                <a:latin typeface="+mn-lt"/>
                <a:cs typeface="72" panose="020B0503030000000003" pitchFamily="34" charset="0"/>
              </a:rPr>
              <a:t>Business rules </a:t>
            </a:r>
          </a:p>
          <a:p>
            <a:pPr algn="ctr" defTabSz="1088449">
              <a:defRPr/>
            </a:pPr>
            <a:r>
              <a:rPr lang="en-US" sz="1200">
                <a:solidFill>
                  <a:srgbClr val="000000"/>
                </a:solidFill>
                <a:latin typeface="+mn-lt"/>
                <a:cs typeface="72" panose="020B0503030000000003" pitchFamily="34" charset="0"/>
              </a:rPr>
              <a:t>and decisions</a:t>
            </a:r>
          </a:p>
        </p:txBody>
      </p:sp>
      <p:pic>
        <p:nvPicPr>
          <p:cNvPr id="108" name="Picture 107">
            <a:extLst>
              <a:ext uri="{FF2B5EF4-FFF2-40B4-BE49-F238E27FC236}">
                <a16:creationId xmlns:a16="http://schemas.microsoft.com/office/drawing/2014/main" id="{AB0F9104-1396-4543-8B2C-F73BBB39DF17}"/>
              </a:ext>
            </a:extLst>
          </p:cNvPr>
          <p:cNvPicPr>
            <a:picLocks noChangeAspect="1"/>
          </p:cNvPicPr>
          <p:nvPr/>
        </p:nvPicPr>
        <p:blipFill>
          <a:blip r:embed="rId10"/>
          <a:srcRect/>
          <a:stretch/>
        </p:blipFill>
        <p:spPr>
          <a:xfrm>
            <a:off x="6559417" y="2788894"/>
            <a:ext cx="591635" cy="591635"/>
          </a:xfrm>
          <a:prstGeom prst="rect">
            <a:avLst/>
          </a:prstGeom>
        </p:spPr>
      </p:pic>
      <p:sp>
        <p:nvSpPr>
          <p:cNvPr id="114" name="Rectangle 113">
            <a:extLst>
              <a:ext uri="{FF2B5EF4-FFF2-40B4-BE49-F238E27FC236}">
                <a16:creationId xmlns:a16="http://schemas.microsoft.com/office/drawing/2014/main" id="{289CCCC8-FE97-463B-9A20-FC8A652C771A}"/>
              </a:ext>
            </a:extLst>
          </p:cNvPr>
          <p:cNvSpPr/>
          <p:nvPr/>
        </p:nvSpPr>
        <p:spPr>
          <a:xfrm>
            <a:off x="522384" y="1905624"/>
            <a:ext cx="1199325" cy="584775"/>
          </a:xfrm>
          <a:prstGeom prst="rect">
            <a:avLst/>
          </a:prstGeom>
        </p:spPr>
        <p:txBody>
          <a:bodyPr wrap="square" lIns="0" rIns="0">
            <a:spAutoFit/>
          </a:bodyPr>
          <a:lstStyle/>
          <a:p>
            <a:pPr algn="ctr" defTabSz="1088449">
              <a:defRPr/>
            </a:pPr>
            <a:r>
              <a:rPr lang="en-US" sz="1600">
                <a:solidFill>
                  <a:schemeClr val="tx2"/>
                </a:solidFill>
                <a:latin typeface="+mn-lt"/>
                <a:cs typeface="72" panose="020B0503030000000003" pitchFamily="34" charset="0"/>
              </a:rPr>
              <a:t>Enterprise Automation</a:t>
            </a:r>
          </a:p>
        </p:txBody>
      </p:sp>
      <p:sp>
        <p:nvSpPr>
          <p:cNvPr id="116" name="Rectangle 115">
            <a:extLst>
              <a:ext uri="{FF2B5EF4-FFF2-40B4-BE49-F238E27FC236}">
                <a16:creationId xmlns:a16="http://schemas.microsoft.com/office/drawing/2014/main" id="{DA10DCBB-8B32-42EE-99A2-995C9FF0679E}"/>
              </a:ext>
            </a:extLst>
          </p:cNvPr>
          <p:cNvSpPr/>
          <p:nvPr/>
        </p:nvSpPr>
        <p:spPr>
          <a:xfrm>
            <a:off x="10246970" y="1905624"/>
            <a:ext cx="1406155" cy="584775"/>
          </a:xfrm>
          <a:prstGeom prst="rect">
            <a:avLst/>
          </a:prstGeom>
        </p:spPr>
        <p:txBody>
          <a:bodyPr wrap="none">
            <a:spAutoFit/>
          </a:bodyPr>
          <a:lstStyle/>
          <a:p>
            <a:pPr algn="ctr" defTabSz="1088449">
              <a:defRPr/>
            </a:pPr>
            <a:r>
              <a:rPr lang="en-US" sz="1600">
                <a:solidFill>
                  <a:schemeClr val="tx2"/>
                </a:solidFill>
                <a:latin typeface="72 Brand" panose="020B0504030603020204" pitchFamily="34" charset="0"/>
                <a:cs typeface="72" panose="020B0503030000000003" pitchFamily="34" charset="0"/>
              </a:rPr>
              <a:t>Fusion team </a:t>
            </a:r>
          </a:p>
          <a:p>
            <a:pPr algn="ctr" defTabSz="1088449">
              <a:defRPr/>
            </a:pPr>
            <a:r>
              <a:rPr lang="en-US" sz="1600">
                <a:solidFill>
                  <a:schemeClr val="tx2"/>
                </a:solidFill>
                <a:latin typeface="72 Brand" panose="020B0504030603020204" pitchFamily="34" charset="0"/>
                <a:cs typeface="72" panose="020B0503030000000003" pitchFamily="34" charset="0"/>
              </a:rPr>
              <a:t>development</a:t>
            </a:r>
          </a:p>
        </p:txBody>
      </p:sp>
      <p:sp>
        <p:nvSpPr>
          <p:cNvPr id="123" name="Rectangle 122">
            <a:extLst>
              <a:ext uri="{FF2B5EF4-FFF2-40B4-BE49-F238E27FC236}">
                <a16:creationId xmlns:a16="http://schemas.microsoft.com/office/drawing/2014/main" id="{722990DE-0C56-4D46-9131-DD8687B6AF62}"/>
              </a:ext>
            </a:extLst>
          </p:cNvPr>
          <p:cNvSpPr/>
          <p:nvPr/>
        </p:nvSpPr>
        <p:spPr>
          <a:xfrm>
            <a:off x="7888770" y="3346984"/>
            <a:ext cx="2057040" cy="430775"/>
          </a:xfrm>
          <a:prstGeom prst="rect">
            <a:avLst/>
          </a:prstGeom>
        </p:spPr>
        <p:txBody>
          <a:bodyPr wrap="square" lIns="91416" tIns="45708" rIns="91416" bIns="45708" anchor="t">
            <a:spAutoFit/>
          </a:bodyP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algn="ctr" defTabSz="1088122"/>
            <a:r>
              <a:rPr lang="en-US" sz="1100">
                <a:solidFill>
                  <a:srgbClr val="000000"/>
                </a:solidFill>
                <a:latin typeface="+mn-lt"/>
                <a:cs typeface="72" panose="020B0503030000000003" pitchFamily="34" charset="0"/>
              </a:rPr>
              <a:t>Unified launchpad </a:t>
            </a:r>
            <a:endParaRPr lang="en-US" sz="2099">
              <a:solidFill>
                <a:srgbClr val="000000"/>
              </a:solidFill>
              <a:latin typeface="+mn-lt"/>
              <a:cs typeface="72" panose="020B0503030000000003" pitchFamily="34" charset="0"/>
            </a:endParaRPr>
          </a:p>
          <a:p>
            <a:pPr algn="ctr" defTabSz="1088122"/>
            <a:r>
              <a:rPr lang="en-US" sz="1100">
                <a:solidFill>
                  <a:srgbClr val="000000"/>
                </a:solidFill>
                <a:latin typeface="+mn-lt"/>
                <a:cs typeface="72" panose="020B0503030000000003" pitchFamily="34" charset="0"/>
              </a:rPr>
              <a:t>and task center </a:t>
            </a:r>
            <a:endParaRPr lang="en-US" sz="2099">
              <a:latin typeface="+mn-lt"/>
              <a:cs typeface="72" panose="020B0503030000000003" pitchFamily="34" charset="0"/>
            </a:endParaRPr>
          </a:p>
        </p:txBody>
      </p:sp>
      <p:pic>
        <p:nvPicPr>
          <p:cNvPr id="124" name="Picture 123">
            <a:extLst>
              <a:ext uri="{FF2B5EF4-FFF2-40B4-BE49-F238E27FC236}">
                <a16:creationId xmlns:a16="http://schemas.microsoft.com/office/drawing/2014/main" id="{97F99C97-A461-49AF-AC03-E3F5235CED3F}"/>
              </a:ext>
            </a:extLst>
          </p:cNvPr>
          <p:cNvPicPr>
            <a:picLocks noChangeAspect="1"/>
          </p:cNvPicPr>
          <p:nvPr/>
        </p:nvPicPr>
        <p:blipFill>
          <a:blip r:embed="rId11"/>
          <a:srcRect/>
          <a:stretch/>
        </p:blipFill>
        <p:spPr>
          <a:xfrm>
            <a:off x="8627537" y="2760235"/>
            <a:ext cx="584366" cy="584366"/>
          </a:xfrm>
          <a:prstGeom prst="rect">
            <a:avLst/>
          </a:prstGeom>
        </p:spPr>
      </p:pic>
      <p:pic>
        <p:nvPicPr>
          <p:cNvPr id="125" name="Picture 124">
            <a:extLst>
              <a:ext uri="{FF2B5EF4-FFF2-40B4-BE49-F238E27FC236}">
                <a16:creationId xmlns:a16="http://schemas.microsoft.com/office/drawing/2014/main" id="{D82EE7F6-A583-42E0-BE9A-0B6DE430F09B}"/>
              </a:ext>
            </a:extLst>
          </p:cNvPr>
          <p:cNvPicPr>
            <a:picLocks noChangeAspect="1"/>
          </p:cNvPicPr>
          <p:nvPr/>
        </p:nvPicPr>
        <p:blipFill>
          <a:blip r:embed="rId12"/>
          <a:srcRect/>
          <a:stretch/>
        </p:blipFill>
        <p:spPr>
          <a:xfrm>
            <a:off x="2747505" y="4096799"/>
            <a:ext cx="588875" cy="588221"/>
          </a:xfrm>
          <a:prstGeom prst="rect">
            <a:avLst/>
          </a:prstGeom>
        </p:spPr>
      </p:pic>
      <p:sp>
        <p:nvSpPr>
          <p:cNvPr id="128" name="Rectangle 127">
            <a:extLst>
              <a:ext uri="{FF2B5EF4-FFF2-40B4-BE49-F238E27FC236}">
                <a16:creationId xmlns:a16="http://schemas.microsoft.com/office/drawing/2014/main" id="{1C2A427B-BB25-46A0-892E-01F2E86CA7FD}"/>
              </a:ext>
            </a:extLst>
          </p:cNvPr>
          <p:cNvSpPr/>
          <p:nvPr/>
        </p:nvSpPr>
        <p:spPr>
          <a:xfrm>
            <a:off x="3934198" y="4721686"/>
            <a:ext cx="1883437" cy="430775"/>
          </a:xfrm>
          <a:prstGeom prst="rect">
            <a:avLst/>
          </a:prstGeom>
        </p:spPr>
        <p:txBody>
          <a:bodyPr wrap="square" lIns="91416" tIns="45708" rIns="91416" bIns="45708" anchor="t">
            <a:spAutoFit/>
          </a:bodyP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algn="ctr" defTabSz="1088122"/>
            <a:r>
              <a:rPr lang="en-US" sz="1100">
                <a:solidFill>
                  <a:srgbClr val="000000"/>
                </a:solidFill>
                <a:latin typeface="+mn-lt"/>
                <a:cs typeface="72" panose="020B0503030000000003" pitchFamily="34" charset="0"/>
              </a:rPr>
              <a:t>Prebuilt </a:t>
            </a:r>
            <a:endParaRPr lang="en-US" sz="2099">
              <a:solidFill>
                <a:srgbClr val="000000"/>
              </a:solidFill>
              <a:latin typeface="+mn-lt"/>
              <a:cs typeface="72" panose="020B0503030000000003" pitchFamily="34" charset="0"/>
            </a:endParaRPr>
          </a:p>
          <a:p>
            <a:pPr algn="ctr" defTabSz="1088122"/>
            <a:r>
              <a:rPr lang="en-US" sz="1100">
                <a:solidFill>
                  <a:srgbClr val="000000"/>
                </a:solidFill>
                <a:latin typeface="+mn-lt"/>
                <a:cs typeface="72" panose="020B0503030000000003" pitchFamily="34" charset="0"/>
              </a:rPr>
              <a:t>content</a:t>
            </a:r>
            <a:endParaRPr lang="en-US" sz="2099">
              <a:latin typeface="+mn-lt"/>
              <a:cs typeface="72" panose="020B0503030000000003" pitchFamily="34" charset="0"/>
            </a:endParaRPr>
          </a:p>
        </p:txBody>
      </p:sp>
      <p:pic>
        <p:nvPicPr>
          <p:cNvPr id="129" name="Picture 128">
            <a:extLst>
              <a:ext uri="{FF2B5EF4-FFF2-40B4-BE49-F238E27FC236}">
                <a16:creationId xmlns:a16="http://schemas.microsoft.com/office/drawing/2014/main" id="{49FC1F48-E7B4-4042-AE3B-6E96473B7CA7}"/>
              </a:ext>
            </a:extLst>
          </p:cNvPr>
          <p:cNvPicPr>
            <a:picLocks noChangeAspect="1"/>
          </p:cNvPicPr>
          <p:nvPr/>
        </p:nvPicPr>
        <p:blipFill>
          <a:blip r:embed="rId13"/>
          <a:srcRect/>
          <a:stretch/>
        </p:blipFill>
        <p:spPr>
          <a:xfrm rot="10800000" flipV="1">
            <a:off x="4616821" y="4078766"/>
            <a:ext cx="527052" cy="602633"/>
          </a:xfrm>
          <a:prstGeom prst="rect">
            <a:avLst/>
          </a:prstGeom>
        </p:spPr>
      </p:pic>
      <p:sp>
        <p:nvSpPr>
          <p:cNvPr id="133" name="Rectangle 132">
            <a:extLst>
              <a:ext uri="{FF2B5EF4-FFF2-40B4-BE49-F238E27FC236}">
                <a16:creationId xmlns:a16="http://schemas.microsoft.com/office/drawing/2014/main" id="{63BA1DD2-05A5-46E8-8F8E-40897F2236FE}"/>
              </a:ext>
            </a:extLst>
          </p:cNvPr>
          <p:cNvSpPr/>
          <p:nvPr/>
        </p:nvSpPr>
        <p:spPr>
          <a:xfrm>
            <a:off x="5814306" y="4721686"/>
            <a:ext cx="2077790" cy="430775"/>
          </a:xfrm>
          <a:prstGeom prst="rect">
            <a:avLst/>
          </a:prstGeom>
        </p:spPr>
        <p:txBody>
          <a:bodyPr wrap="square" lIns="91416" tIns="45708" rIns="91416" bIns="45708" anchor="t">
            <a:spAutoFit/>
          </a:bodyP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algn="ctr" defTabSz="1088122"/>
            <a:r>
              <a:rPr lang="en-US" sz="1100">
                <a:solidFill>
                  <a:srgbClr val="000000"/>
                </a:solidFill>
                <a:latin typeface="+mn-lt"/>
                <a:cs typeface="72" panose="020B0503030000000003" pitchFamily="34" charset="0"/>
              </a:rPr>
              <a:t>Document </a:t>
            </a:r>
          </a:p>
          <a:p>
            <a:pPr algn="ctr" defTabSz="1088122"/>
            <a:r>
              <a:rPr lang="en-US" sz="1100">
                <a:solidFill>
                  <a:srgbClr val="000000"/>
                </a:solidFill>
                <a:latin typeface="+mn-lt"/>
                <a:cs typeface="72" panose="020B0503030000000003" pitchFamily="34" charset="0"/>
              </a:rPr>
              <a:t>understanding</a:t>
            </a:r>
            <a:endParaRPr lang="en-US" sz="2099">
              <a:latin typeface="+mn-lt"/>
              <a:cs typeface="72" panose="020B0503030000000003" pitchFamily="34" charset="0"/>
            </a:endParaRPr>
          </a:p>
        </p:txBody>
      </p:sp>
      <p:pic>
        <p:nvPicPr>
          <p:cNvPr id="134" name="Picture 133">
            <a:extLst>
              <a:ext uri="{FF2B5EF4-FFF2-40B4-BE49-F238E27FC236}">
                <a16:creationId xmlns:a16="http://schemas.microsoft.com/office/drawing/2014/main" id="{FC8570CE-91EB-42A3-BE5D-CADA21D35928}"/>
              </a:ext>
            </a:extLst>
          </p:cNvPr>
          <p:cNvPicPr>
            <a:picLocks noChangeAspect="1"/>
          </p:cNvPicPr>
          <p:nvPr/>
        </p:nvPicPr>
        <p:blipFill>
          <a:blip r:embed="rId14"/>
          <a:srcRect/>
          <a:stretch/>
        </p:blipFill>
        <p:spPr>
          <a:xfrm>
            <a:off x="6636240" y="4096146"/>
            <a:ext cx="442147" cy="589529"/>
          </a:xfrm>
          <a:prstGeom prst="rect">
            <a:avLst/>
          </a:prstGeom>
        </p:spPr>
      </p:pic>
      <p:pic>
        <p:nvPicPr>
          <p:cNvPr id="137" name="Picture 136">
            <a:extLst>
              <a:ext uri="{FF2B5EF4-FFF2-40B4-BE49-F238E27FC236}">
                <a16:creationId xmlns:a16="http://schemas.microsoft.com/office/drawing/2014/main" id="{1932F667-F2FB-46F1-9C26-5948A4507FE3}"/>
              </a:ext>
            </a:extLst>
          </p:cNvPr>
          <p:cNvPicPr>
            <a:picLocks noChangeAspect="1"/>
          </p:cNvPicPr>
          <p:nvPr/>
        </p:nvPicPr>
        <p:blipFill>
          <a:blip r:embed="rId15"/>
          <a:srcRect/>
          <a:stretch/>
        </p:blipFill>
        <p:spPr>
          <a:xfrm>
            <a:off x="8623392" y="4099180"/>
            <a:ext cx="588875" cy="589530"/>
          </a:xfrm>
          <a:prstGeom prst="rect">
            <a:avLst/>
          </a:prstGeom>
        </p:spPr>
      </p:pic>
      <p:sp>
        <p:nvSpPr>
          <p:cNvPr id="136" name="Rectangle 135">
            <a:extLst>
              <a:ext uri="{FF2B5EF4-FFF2-40B4-BE49-F238E27FC236}">
                <a16:creationId xmlns:a16="http://schemas.microsoft.com/office/drawing/2014/main" id="{BFB4D76F-33C5-4105-AFF7-E8ED2A21220D}"/>
              </a:ext>
            </a:extLst>
          </p:cNvPr>
          <p:cNvSpPr/>
          <p:nvPr/>
        </p:nvSpPr>
        <p:spPr>
          <a:xfrm>
            <a:off x="7900936" y="4721686"/>
            <a:ext cx="2032709" cy="430775"/>
          </a:xfrm>
          <a:prstGeom prst="rect">
            <a:avLst/>
          </a:prstGeom>
        </p:spPr>
        <p:txBody>
          <a:bodyPr wrap="square" lIns="91416" tIns="45708" rIns="91416" bIns="45708" anchor="t">
            <a:spAutoFit/>
          </a:bodyP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algn="ctr" defTabSz="1088122"/>
            <a:r>
              <a:rPr lang="en-US" sz="1100">
                <a:solidFill>
                  <a:srgbClr val="000000"/>
                </a:solidFill>
                <a:latin typeface="+mn-lt"/>
                <a:cs typeface="72" panose="020B0503030000000003" pitchFamily="34" charset="0"/>
              </a:rPr>
              <a:t>Process v</a:t>
            </a:r>
            <a:r>
              <a:rPr lang="en-US" sz="1100">
                <a:latin typeface="+mn-lt"/>
                <a:cs typeface="72" panose="020B0503030000000003" pitchFamily="34" charset="0"/>
              </a:rPr>
              <a:t>isibility</a:t>
            </a:r>
            <a:r>
              <a:rPr lang="en-US" sz="1100">
                <a:solidFill>
                  <a:srgbClr val="000000"/>
                </a:solidFill>
                <a:latin typeface="+mn-lt"/>
                <a:cs typeface="72" panose="020B0503030000000003" pitchFamily="34" charset="0"/>
              </a:rPr>
              <a:t> </a:t>
            </a:r>
          </a:p>
          <a:p>
            <a:pPr algn="ctr" defTabSz="1088122"/>
            <a:r>
              <a:rPr lang="en-US" sz="1100">
                <a:solidFill>
                  <a:srgbClr val="000000"/>
                </a:solidFill>
                <a:latin typeface="+mn-lt"/>
                <a:cs typeface="72" panose="020B0503030000000003" pitchFamily="34" charset="0"/>
              </a:rPr>
              <a:t>and flexibility</a:t>
            </a:r>
            <a:endParaRPr lang="en-US" sz="1100">
              <a:latin typeface="+mn-lt"/>
              <a:cs typeface="72" panose="020B0503030000000003" pitchFamily="34" charset="0"/>
            </a:endParaRPr>
          </a:p>
        </p:txBody>
      </p:sp>
      <p:pic>
        <p:nvPicPr>
          <p:cNvPr id="140" name="Picture 139">
            <a:extLst>
              <a:ext uri="{FF2B5EF4-FFF2-40B4-BE49-F238E27FC236}">
                <a16:creationId xmlns:a16="http://schemas.microsoft.com/office/drawing/2014/main" id="{39165742-12AD-4BDF-B586-380B03C3221C}"/>
              </a:ext>
            </a:extLst>
          </p:cNvPr>
          <p:cNvPicPr>
            <a:picLocks noChangeAspect="1"/>
          </p:cNvPicPr>
          <p:nvPr/>
        </p:nvPicPr>
        <p:blipFill>
          <a:blip r:embed="rId16"/>
          <a:srcRect/>
          <a:stretch/>
        </p:blipFill>
        <p:spPr>
          <a:xfrm>
            <a:off x="842459" y="2759522"/>
            <a:ext cx="559175" cy="559175"/>
          </a:xfrm>
          <a:prstGeom prst="rect">
            <a:avLst/>
          </a:prstGeom>
          <a:ln>
            <a:noFill/>
          </a:ln>
        </p:spPr>
      </p:pic>
      <p:sp>
        <p:nvSpPr>
          <p:cNvPr id="141" name="TextBox 140">
            <a:extLst>
              <a:ext uri="{FF2B5EF4-FFF2-40B4-BE49-F238E27FC236}">
                <a16:creationId xmlns:a16="http://schemas.microsoft.com/office/drawing/2014/main" id="{A580BF76-AEE0-4291-8DC6-6EF2B0962B74}"/>
              </a:ext>
            </a:extLst>
          </p:cNvPr>
          <p:cNvSpPr txBox="1"/>
          <p:nvPr/>
        </p:nvSpPr>
        <p:spPr>
          <a:xfrm>
            <a:off x="401647" y="3429000"/>
            <a:ext cx="1440799" cy="523220"/>
          </a:xfrm>
          <a:prstGeom prst="rect">
            <a:avLst/>
          </a:prstGeom>
          <a:noFill/>
        </p:spPr>
        <p:txBody>
          <a:bodyPr wrap="square" lIns="0" tIns="0" rIns="0" bIns="0" rtlCol="0">
            <a:spAutoFit/>
          </a:bodyPr>
          <a:lstStyle/>
          <a:p>
            <a:pPr algn="ctr" defTabSz="1088449">
              <a:spcBef>
                <a:spcPct val="50000"/>
              </a:spcBef>
              <a:buClr>
                <a:srgbClr val="F0AB00"/>
              </a:buClr>
              <a:buSzPct val="80000"/>
              <a:defRPr/>
            </a:pPr>
            <a:r>
              <a:rPr lang="en-US" sz="1050" kern="0" dirty="0">
                <a:solidFill>
                  <a:srgbClr val="000000"/>
                </a:solidFill>
                <a:latin typeface="+mn-lt"/>
                <a:ea typeface="Arial Unicode MS" pitchFamily="34" charset="-128"/>
                <a:cs typeface="72" panose="020B0503030000000003" pitchFamily="34" charset="0"/>
              </a:rPr>
              <a:t>SAP and non-SAP integration </a:t>
            </a:r>
          </a:p>
          <a:p>
            <a:pPr algn="ctr" defTabSz="1088449">
              <a:spcBef>
                <a:spcPts val="300"/>
              </a:spcBef>
              <a:buClr>
                <a:srgbClr val="F0AB00"/>
              </a:buClr>
              <a:buSzPct val="80000"/>
              <a:defRPr/>
            </a:pPr>
            <a:r>
              <a:rPr lang="en-US" sz="1050" b="1" kern="0" dirty="0">
                <a:solidFill>
                  <a:srgbClr val="000000"/>
                </a:solidFill>
                <a:latin typeface="+mn-lt"/>
                <a:ea typeface="Arial Unicode MS" pitchFamily="34" charset="-128"/>
                <a:cs typeface="72" panose="020B0503030000000003" pitchFamily="34" charset="0"/>
              </a:rPr>
              <a:t>SAP Integration Suite</a:t>
            </a:r>
          </a:p>
        </p:txBody>
      </p:sp>
      <p:cxnSp>
        <p:nvCxnSpPr>
          <p:cNvPr id="142" name="Straight Connector 35">
            <a:extLst>
              <a:ext uri="{FF2B5EF4-FFF2-40B4-BE49-F238E27FC236}">
                <a16:creationId xmlns:a16="http://schemas.microsoft.com/office/drawing/2014/main" id="{0B75BFD3-5D71-40E3-8DDE-2E178DFF7DE4}"/>
              </a:ext>
            </a:extLst>
          </p:cNvPr>
          <p:cNvCxnSpPr>
            <a:cxnSpLocks/>
          </p:cNvCxnSpPr>
          <p:nvPr/>
        </p:nvCxnSpPr>
        <p:spPr>
          <a:xfrm flipH="1">
            <a:off x="1606028" y="3032955"/>
            <a:ext cx="548497" cy="0"/>
          </a:xfrm>
          <a:prstGeom prst="straightConnector1">
            <a:avLst/>
          </a:prstGeom>
          <a:ln w="1905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43" name="Oval 142">
            <a:extLst>
              <a:ext uri="{FF2B5EF4-FFF2-40B4-BE49-F238E27FC236}">
                <a16:creationId xmlns:a16="http://schemas.microsoft.com/office/drawing/2014/main" id="{CF26AC6A-80B8-45E2-B32E-EBA5A8397AD5}"/>
              </a:ext>
            </a:extLst>
          </p:cNvPr>
          <p:cNvSpPr/>
          <p:nvPr/>
        </p:nvSpPr>
        <p:spPr bwMode="gray">
          <a:xfrm>
            <a:off x="2117535" y="2990255"/>
            <a:ext cx="91416" cy="91416"/>
          </a:xfrm>
          <a:prstGeom prst="ellipse">
            <a:avLst/>
          </a:prstGeom>
          <a:solidFill>
            <a:schemeClr val="bg1"/>
          </a:solidFill>
          <a:ln w="12700" algn="ctr">
            <a:solidFill>
              <a:schemeClr val="tx2"/>
            </a:solidFill>
            <a:miter lim="800000"/>
            <a:headEnd/>
            <a:tailEnd/>
          </a:ln>
        </p:spPr>
        <p:txBody>
          <a:bodyPr lIns="89977" tIns="71981" rIns="89977" bIns="71981" rtlCol="0" anchor="ctr"/>
          <a:lstStyle/>
          <a:p>
            <a:pPr algn="ctr" defTabSz="914126">
              <a:spcBef>
                <a:spcPct val="50000"/>
              </a:spcBef>
              <a:buClr>
                <a:srgbClr val="F0AB00"/>
              </a:buClr>
              <a:buSzPct val="80000"/>
              <a:defRPr/>
            </a:pPr>
            <a:endParaRPr lang="en-US" sz="1799" kern="0">
              <a:solidFill>
                <a:srgbClr val="000000"/>
              </a:solidFill>
              <a:latin typeface="+mn-lt"/>
              <a:ea typeface="Arial Unicode MS" pitchFamily="34" charset="-128"/>
              <a:cs typeface="72" panose="020B0503030000000003" pitchFamily="34" charset="0"/>
            </a:endParaRPr>
          </a:p>
        </p:txBody>
      </p:sp>
      <p:sp>
        <p:nvSpPr>
          <p:cNvPr id="3" name="Title 2">
            <a:extLst>
              <a:ext uri="{FF2B5EF4-FFF2-40B4-BE49-F238E27FC236}">
                <a16:creationId xmlns:a16="http://schemas.microsoft.com/office/drawing/2014/main" id="{D9C4EB7F-682F-9EAE-3EF5-64E9DE2C1386}"/>
              </a:ext>
            </a:extLst>
          </p:cNvPr>
          <p:cNvSpPr>
            <a:spLocks noGrp="1"/>
          </p:cNvSpPr>
          <p:nvPr>
            <p:ph type="title"/>
          </p:nvPr>
        </p:nvSpPr>
        <p:spPr/>
        <p:txBody>
          <a:bodyPr/>
          <a:lstStyle/>
          <a:p>
            <a:r>
              <a:rPr lang="en-US">
                <a:latin typeface="+mj-lt"/>
              </a:rPr>
              <a:t>SAP Build Process Automation</a:t>
            </a:r>
            <a:br>
              <a:rPr lang="en-US"/>
            </a:br>
            <a:r>
              <a:rPr lang="en-US" sz="2000">
                <a:latin typeface="72 Brand" panose="020B0504030603020204" pitchFamily="34" charset="0"/>
              </a:rPr>
              <a:t>Automate processes and tasks with drag-and-drop-simplicity</a:t>
            </a:r>
            <a:endParaRPr lang="en-US">
              <a:latin typeface="72 Brand" panose="020B0504030603020204" pitchFamily="34" charset="0"/>
            </a:endParaRPr>
          </a:p>
        </p:txBody>
      </p:sp>
      <p:cxnSp>
        <p:nvCxnSpPr>
          <p:cNvPr id="2" name="Straight Connector 1">
            <a:extLst>
              <a:ext uri="{FF2B5EF4-FFF2-40B4-BE49-F238E27FC236}">
                <a16:creationId xmlns:a16="http://schemas.microsoft.com/office/drawing/2014/main" id="{74F7550A-084C-CB92-B814-D9103F0C62E4}"/>
              </a:ext>
            </a:extLst>
          </p:cNvPr>
          <p:cNvCxnSpPr/>
          <p:nvPr/>
        </p:nvCxnSpPr>
        <p:spPr>
          <a:xfrm>
            <a:off x="2256149" y="5697281"/>
            <a:ext cx="7546810" cy="0"/>
          </a:xfrm>
          <a:prstGeom prst="line">
            <a:avLst/>
          </a:prstGeom>
          <a:ln w="2540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 name="Textfeld 15">
            <a:extLst>
              <a:ext uri="{FF2B5EF4-FFF2-40B4-BE49-F238E27FC236}">
                <a16:creationId xmlns:a16="http://schemas.microsoft.com/office/drawing/2014/main" id="{70F29597-93AE-EB48-EFD1-21C5C582A201}"/>
              </a:ext>
            </a:extLst>
          </p:cNvPr>
          <p:cNvSpPr txBox="1"/>
          <p:nvPr/>
        </p:nvSpPr>
        <p:spPr>
          <a:xfrm>
            <a:off x="4295029" y="5457672"/>
            <a:ext cx="3312510" cy="584775"/>
          </a:xfrm>
          <a:prstGeom prst="rect">
            <a:avLst/>
          </a:prstGeom>
          <a:solidFill>
            <a:srgbClr val="FFFFFF"/>
          </a:solidFill>
          <a:ln>
            <a:noFill/>
          </a:ln>
        </p:spPr>
        <p:txBody>
          <a:bodyPr wrap="square" rtlCol="0">
            <a:spAutoFit/>
          </a:bodyPr>
          <a:lstStyle/>
          <a:p>
            <a:pPr algn="ctr" defTabSz="1088449">
              <a:defRPr/>
            </a:pPr>
            <a:r>
              <a:rPr lang="en-GB" sz="1600" dirty="0">
                <a:solidFill>
                  <a:schemeClr val="tx2"/>
                </a:solidFill>
                <a:latin typeface="72 Brand Medium" panose="020B0504030603020204" pitchFamily="34" charset="0"/>
                <a:ea typeface="Times New Roman" panose="02020603050405020304" pitchFamily="18" charset="0"/>
                <a:cs typeface="Arial" panose="020B0604020202020204" pitchFamily="34" charset="0"/>
              </a:rPr>
              <a:t>430+ prebuilt </a:t>
            </a:r>
          </a:p>
          <a:p>
            <a:pPr algn="ctr" defTabSz="1088449">
              <a:defRPr/>
            </a:pPr>
            <a:r>
              <a:rPr lang="en-GB" sz="1600" dirty="0">
                <a:solidFill>
                  <a:schemeClr val="tx2"/>
                </a:solidFill>
                <a:latin typeface="72 Brand Medium" panose="020B0504030603020204" pitchFamily="34" charset="0"/>
                <a:ea typeface="Times New Roman" panose="02020603050405020304" pitchFamily="18" charset="0"/>
                <a:cs typeface="Arial" panose="020B0604020202020204" pitchFamily="34" charset="0"/>
              </a:rPr>
              <a:t>processes and automations</a:t>
            </a:r>
          </a:p>
        </p:txBody>
      </p:sp>
      <p:pic>
        <p:nvPicPr>
          <p:cNvPr id="10" name="Picture 9">
            <a:extLst>
              <a:ext uri="{FF2B5EF4-FFF2-40B4-BE49-F238E27FC236}">
                <a16:creationId xmlns:a16="http://schemas.microsoft.com/office/drawing/2014/main" id="{83B17B02-1F5C-BF9C-0FE4-61A483F529FB}"/>
              </a:ext>
            </a:extLst>
          </p:cNvPr>
          <p:cNvPicPr>
            <a:picLocks noChangeAspect="1"/>
          </p:cNvPicPr>
          <p:nvPr/>
        </p:nvPicPr>
        <p:blipFill>
          <a:blip r:embed="rId17"/>
          <a:stretch>
            <a:fillRect/>
          </a:stretch>
        </p:blipFill>
        <p:spPr>
          <a:xfrm>
            <a:off x="862119" y="4194433"/>
            <a:ext cx="519854" cy="486966"/>
          </a:xfrm>
          <a:prstGeom prst="rect">
            <a:avLst/>
          </a:prstGeom>
        </p:spPr>
      </p:pic>
      <p:cxnSp>
        <p:nvCxnSpPr>
          <p:cNvPr id="14" name="Straight Connector 35">
            <a:extLst>
              <a:ext uri="{FF2B5EF4-FFF2-40B4-BE49-F238E27FC236}">
                <a16:creationId xmlns:a16="http://schemas.microsoft.com/office/drawing/2014/main" id="{BEC88FE6-CB03-5876-86BC-51200D937F33}"/>
              </a:ext>
            </a:extLst>
          </p:cNvPr>
          <p:cNvCxnSpPr>
            <a:cxnSpLocks/>
          </p:cNvCxnSpPr>
          <p:nvPr/>
        </p:nvCxnSpPr>
        <p:spPr>
          <a:xfrm flipH="1">
            <a:off x="1560025" y="4434220"/>
            <a:ext cx="548497" cy="0"/>
          </a:xfrm>
          <a:prstGeom prst="straightConnector1">
            <a:avLst/>
          </a:prstGeom>
          <a:ln w="1905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 name="Straight Connector 35">
            <a:extLst>
              <a:ext uri="{FF2B5EF4-FFF2-40B4-BE49-F238E27FC236}">
                <a16:creationId xmlns:a16="http://schemas.microsoft.com/office/drawing/2014/main" id="{8616A5A5-3A9D-4579-4401-0999E910AA3E}"/>
              </a:ext>
            </a:extLst>
          </p:cNvPr>
          <p:cNvCxnSpPr>
            <a:cxnSpLocks/>
          </p:cNvCxnSpPr>
          <p:nvPr/>
        </p:nvCxnSpPr>
        <p:spPr>
          <a:xfrm flipH="1">
            <a:off x="10015460" y="3048195"/>
            <a:ext cx="548497" cy="0"/>
          </a:xfrm>
          <a:prstGeom prst="straightConnector1">
            <a:avLst/>
          </a:prstGeom>
          <a:ln w="1905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6" name="Oval 15">
            <a:extLst>
              <a:ext uri="{FF2B5EF4-FFF2-40B4-BE49-F238E27FC236}">
                <a16:creationId xmlns:a16="http://schemas.microsoft.com/office/drawing/2014/main" id="{45A83BAC-914A-FD31-F817-E05A2110F794}"/>
              </a:ext>
            </a:extLst>
          </p:cNvPr>
          <p:cNvSpPr/>
          <p:nvPr/>
        </p:nvSpPr>
        <p:spPr bwMode="gray">
          <a:xfrm>
            <a:off x="9905175" y="2996351"/>
            <a:ext cx="91416" cy="91416"/>
          </a:xfrm>
          <a:prstGeom prst="ellipse">
            <a:avLst/>
          </a:prstGeom>
          <a:solidFill>
            <a:schemeClr val="bg1"/>
          </a:solidFill>
          <a:ln w="12700" algn="ctr">
            <a:solidFill>
              <a:schemeClr val="tx2"/>
            </a:solidFill>
            <a:miter lim="800000"/>
            <a:headEnd/>
            <a:tailEnd/>
          </a:ln>
        </p:spPr>
        <p:txBody>
          <a:bodyPr lIns="89977" tIns="71981" rIns="89977" bIns="71981" rtlCol="0" anchor="ctr"/>
          <a:lstStyle/>
          <a:p>
            <a:pPr algn="ctr" defTabSz="914126">
              <a:spcBef>
                <a:spcPct val="50000"/>
              </a:spcBef>
              <a:buClr>
                <a:srgbClr val="F0AB00"/>
              </a:buClr>
              <a:buSzPct val="80000"/>
              <a:defRPr/>
            </a:pPr>
            <a:endParaRPr lang="en-US" sz="1799" kern="0">
              <a:solidFill>
                <a:srgbClr val="000000"/>
              </a:solidFill>
              <a:latin typeface="+mn-lt"/>
              <a:ea typeface="Arial Unicode MS" pitchFamily="34" charset="-128"/>
              <a:cs typeface="72" panose="020B0503030000000003" pitchFamily="34" charset="0"/>
            </a:endParaRPr>
          </a:p>
        </p:txBody>
      </p:sp>
      <p:cxnSp>
        <p:nvCxnSpPr>
          <p:cNvPr id="17" name="Straight Connector 35">
            <a:extLst>
              <a:ext uri="{FF2B5EF4-FFF2-40B4-BE49-F238E27FC236}">
                <a16:creationId xmlns:a16="http://schemas.microsoft.com/office/drawing/2014/main" id="{F5F60554-A7E5-F283-B169-3564F05C8422}"/>
              </a:ext>
            </a:extLst>
          </p:cNvPr>
          <p:cNvCxnSpPr>
            <a:cxnSpLocks/>
          </p:cNvCxnSpPr>
          <p:nvPr/>
        </p:nvCxnSpPr>
        <p:spPr>
          <a:xfrm flipH="1">
            <a:off x="10021061" y="4431147"/>
            <a:ext cx="548497" cy="0"/>
          </a:xfrm>
          <a:prstGeom prst="straightConnector1">
            <a:avLst/>
          </a:prstGeom>
          <a:ln w="1905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8" name="Oval 17">
            <a:extLst>
              <a:ext uri="{FF2B5EF4-FFF2-40B4-BE49-F238E27FC236}">
                <a16:creationId xmlns:a16="http://schemas.microsoft.com/office/drawing/2014/main" id="{580404F3-078F-6172-5541-48CEBF5330E6}"/>
              </a:ext>
            </a:extLst>
          </p:cNvPr>
          <p:cNvSpPr/>
          <p:nvPr/>
        </p:nvSpPr>
        <p:spPr bwMode="gray">
          <a:xfrm>
            <a:off x="9910776" y="4379303"/>
            <a:ext cx="91416" cy="91416"/>
          </a:xfrm>
          <a:prstGeom prst="ellipse">
            <a:avLst/>
          </a:prstGeom>
          <a:solidFill>
            <a:schemeClr val="bg1"/>
          </a:solidFill>
          <a:ln w="12700" algn="ctr">
            <a:solidFill>
              <a:schemeClr val="tx2"/>
            </a:solidFill>
            <a:miter lim="800000"/>
            <a:headEnd/>
            <a:tailEnd/>
          </a:ln>
        </p:spPr>
        <p:txBody>
          <a:bodyPr lIns="89977" tIns="71981" rIns="89977" bIns="71981" rtlCol="0" anchor="ctr"/>
          <a:lstStyle/>
          <a:p>
            <a:pPr algn="ctr" defTabSz="914126">
              <a:spcBef>
                <a:spcPct val="50000"/>
              </a:spcBef>
              <a:buClr>
                <a:srgbClr val="F0AB00"/>
              </a:buClr>
              <a:buSzPct val="80000"/>
              <a:defRPr/>
            </a:pPr>
            <a:endParaRPr lang="en-US" sz="1799" kern="0">
              <a:solidFill>
                <a:srgbClr val="000000"/>
              </a:solidFill>
              <a:latin typeface="+mn-lt"/>
              <a:ea typeface="Arial Unicode MS" pitchFamily="34" charset="-128"/>
              <a:cs typeface="72" panose="020B0503030000000003" pitchFamily="34" charset="0"/>
            </a:endParaRPr>
          </a:p>
        </p:txBody>
      </p:sp>
    </p:spTree>
    <p:extLst>
      <p:ext uri="{BB962C8B-B14F-4D97-AF65-F5344CB8AC3E}">
        <p14:creationId xmlns:p14="http://schemas.microsoft.com/office/powerpoint/2010/main" val="12679318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p:cNvSpPr>
            <a:spLocks noGrp="1"/>
          </p:cNvSpPr>
          <p:nvPr>
            <p:ph type="title"/>
          </p:nvPr>
        </p:nvSpPr>
        <p:spPr bwMode="gray">
          <a:noFill/>
        </p:spPr>
        <p:txBody>
          <a:bodyPr/>
          <a:lstStyle/>
          <a:p>
            <a:r>
              <a:rPr lang="en-US" dirty="0"/>
              <a:t>Scenario BPA</a:t>
            </a:r>
          </a:p>
        </p:txBody>
      </p:sp>
      <p:pic>
        <p:nvPicPr>
          <p:cNvPr id="3" name="Picture 2">
            <a:extLst>
              <a:ext uri="{FF2B5EF4-FFF2-40B4-BE49-F238E27FC236}">
                <a16:creationId xmlns:a16="http://schemas.microsoft.com/office/drawing/2014/main" id="{0DF93714-9D6E-A31D-FF77-2502BF2024E1}"/>
              </a:ext>
            </a:extLst>
          </p:cNvPr>
          <p:cNvPicPr>
            <a:picLocks noChangeAspect="1"/>
          </p:cNvPicPr>
          <p:nvPr/>
        </p:nvPicPr>
        <p:blipFill>
          <a:blip r:embed="rId4"/>
          <a:stretch>
            <a:fillRect/>
          </a:stretch>
        </p:blipFill>
        <p:spPr>
          <a:xfrm>
            <a:off x="6259450" y="2556946"/>
            <a:ext cx="5593587" cy="2804150"/>
          </a:xfrm>
          <a:prstGeom prst="rect">
            <a:avLst/>
          </a:prstGeom>
        </p:spPr>
      </p:pic>
      <p:sp>
        <p:nvSpPr>
          <p:cNvPr id="5" name="Text Placeholder 1">
            <a:extLst>
              <a:ext uri="{FF2B5EF4-FFF2-40B4-BE49-F238E27FC236}">
                <a16:creationId xmlns:a16="http://schemas.microsoft.com/office/drawing/2014/main" id="{A8B16113-2599-8BAF-F0DF-8C58EC5F627C}"/>
              </a:ext>
            </a:extLst>
          </p:cNvPr>
          <p:cNvSpPr>
            <a:spLocks noGrp="1"/>
          </p:cNvSpPr>
          <p:nvPr>
            <p:ph type="body" sz="quarter" idx="10"/>
          </p:nvPr>
        </p:nvSpPr>
        <p:spPr>
          <a:xfrm>
            <a:off x="504001" y="1035050"/>
            <a:ext cx="5593586" cy="4787900"/>
          </a:xfrm>
        </p:spPr>
        <p:txBody>
          <a:bodyPr>
            <a:noAutofit/>
          </a:bodyPr>
          <a:lstStyle/>
          <a:p>
            <a:pPr>
              <a:buNone/>
            </a:pPr>
            <a:r>
              <a:rPr lang="en-US" dirty="0"/>
              <a:t>Pre-packaged content </a:t>
            </a:r>
            <a:r>
              <a:rPr lang="en-US"/>
              <a:t>for </a:t>
            </a:r>
            <a:r>
              <a:rPr lang="en-US" dirty="0"/>
              <a:t>Build Process Automation to handle the approval/rejection </a:t>
            </a:r>
            <a:r>
              <a:rPr lang="en-US"/>
              <a:t>of </a:t>
            </a:r>
            <a:r>
              <a:rPr lang="en-US" dirty="0"/>
              <a:t>failed </a:t>
            </a:r>
            <a:r>
              <a:rPr lang="en-US" dirty="0" err="1"/>
              <a:t>SalesOrders</a:t>
            </a:r>
            <a:r>
              <a:rPr lang="en-US" dirty="0"/>
              <a:t> from the users Inbox</a:t>
            </a:r>
          </a:p>
        </p:txBody>
      </p:sp>
      <p:pic>
        <p:nvPicPr>
          <p:cNvPr id="7" name="Picture 6">
            <a:extLst>
              <a:ext uri="{FF2B5EF4-FFF2-40B4-BE49-F238E27FC236}">
                <a16:creationId xmlns:a16="http://schemas.microsoft.com/office/drawing/2014/main" id="{C92EA76B-2AA4-E638-4C26-E1D89AD325BC}"/>
              </a:ext>
            </a:extLst>
          </p:cNvPr>
          <p:cNvPicPr>
            <a:picLocks noChangeAspect="1"/>
          </p:cNvPicPr>
          <p:nvPr/>
        </p:nvPicPr>
        <p:blipFill>
          <a:blip r:embed="rId5"/>
          <a:stretch>
            <a:fillRect/>
          </a:stretch>
        </p:blipFill>
        <p:spPr>
          <a:xfrm>
            <a:off x="342138" y="2303140"/>
            <a:ext cx="4244331" cy="3311761"/>
          </a:xfrm>
          <a:prstGeom prst="rect">
            <a:avLst/>
          </a:prstGeom>
        </p:spPr>
      </p:pic>
      <p:cxnSp>
        <p:nvCxnSpPr>
          <p:cNvPr id="8" name="Straight Arrow Connector 18">
            <a:extLst>
              <a:ext uri="{FF2B5EF4-FFF2-40B4-BE49-F238E27FC236}">
                <a16:creationId xmlns:a16="http://schemas.microsoft.com/office/drawing/2014/main" id="{53983834-3FC6-2872-CD77-536479F3C650}"/>
              </a:ext>
            </a:extLst>
          </p:cNvPr>
          <p:cNvCxnSpPr>
            <a:cxnSpLocks/>
          </p:cNvCxnSpPr>
          <p:nvPr/>
        </p:nvCxnSpPr>
        <p:spPr>
          <a:xfrm flipH="1" flipV="1">
            <a:off x="4704082" y="3881120"/>
            <a:ext cx="1393507" cy="12700"/>
          </a:xfrm>
          <a:prstGeom prst="straightConnector1">
            <a:avLst/>
          </a:prstGeom>
          <a:ln w="25400">
            <a:solidFill>
              <a:schemeClr val="tx1">
                <a:lumMod val="65000"/>
                <a:lumOff val="35000"/>
              </a:schemeClr>
            </a:solidFill>
            <a:headEnd type="triangle"/>
            <a:tailEnd type="none"/>
          </a:ln>
        </p:spPr>
        <p:style>
          <a:lnRef idx="1">
            <a:schemeClr val="accent1"/>
          </a:lnRef>
          <a:fillRef idx="0">
            <a:schemeClr val="accent1"/>
          </a:fillRef>
          <a:effectRef idx="0">
            <a:schemeClr val="accent1"/>
          </a:effectRef>
          <a:fontRef idx="minor">
            <a:schemeClr val="tx1"/>
          </a:fontRef>
        </p:style>
      </p:cxnSp>
    </p:spTree>
    <p:custDataLst>
      <p:custData r:id="rId1"/>
      <p:custData r:id="rId2"/>
    </p:custDataLst>
    <p:extLst>
      <p:ext uri="{BB962C8B-B14F-4D97-AF65-F5344CB8AC3E}">
        <p14:creationId xmlns:p14="http://schemas.microsoft.com/office/powerpoint/2010/main" val="1265747994"/>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p:cNvSpPr>
            <a:spLocks noGrp="1"/>
          </p:cNvSpPr>
          <p:nvPr>
            <p:ph type="title"/>
          </p:nvPr>
        </p:nvSpPr>
        <p:spPr bwMode="gray">
          <a:noFill/>
        </p:spPr>
        <p:txBody>
          <a:bodyPr/>
          <a:lstStyle/>
          <a:p>
            <a:r>
              <a:rPr lang="en-US" dirty="0"/>
              <a:t>Scenario BPA</a:t>
            </a:r>
          </a:p>
        </p:txBody>
      </p:sp>
      <p:pic>
        <p:nvPicPr>
          <p:cNvPr id="4" name="Picture 3">
            <a:extLst>
              <a:ext uri="{FF2B5EF4-FFF2-40B4-BE49-F238E27FC236}">
                <a16:creationId xmlns:a16="http://schemas.microsoft.com/office/drawing/2014/main" id="{6AEBBFCE-B84E-F9C4-739E-38E51AB2B0F9}"/>
              </a:ext>
            </a:extLst>
          </p:cNvPr>
          <p:cNvPicPr>
            <a:picLocks noChangeAspect="1"/>
          </p:cNvPicPr>
          <p:nvPr/>
        </p:nvPicPr>
        <p:blipFill>
          <a:blip r:embed="rId4"/>
          <a:stretch>
            <a:fillRect/>
          </a:stretch>
        </p:blipFill>
        <p:spPr>
          <a:xfrm>
            <a:off x="484622" y="873332"/>
            <a:ext cx="11225233" cy="5288738"/>
          </a:xfrm>
          <a:prstGeom prst="rect">
            <a:avLst/>
          </a:prstGeom>
        </p:spPr>
      </p:pic>
    </p:spTree>
    <p:custDataLst>
      <p:custData r:id="rId1"/>
      <p:custData r:id="rId2"/>
    </p:custDataLst>
    <p:extLst>
      <p:ext uri="{BB962C8B-B14F-4D97-AF65-F5344CB8AC3E}">
        <p14:creationId xmlns:p14="http://schemas.microsoft.com/office/powerpoint/2010/main" val="4018025862"/>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38E81FA-BD36-D246-A0BA-94256E3D831A}"/>
              </a:ext>
            </a:extLst>
          </p:cNvPr>
          <p:cNvSpPr>
            <a:spLocks noGrp="1"/>
          </p:cNvSpPr>
          <p:nvPr>
            <p:ph type="body" sz="quarter" idx="10"/>
          </p:nvPr>
        </p:nvSpPr>
        <p:spPr/>
        <p:txBody>
          <a:bodyPr>
            <a:noAutofit/>
          </a:bodyPr>
          <a:lstStyle/>
          <a:p>
            <a:r>
              <a:rPr lang="en-US" dirty="0"/>
              <a:t>What you will need for today:</a:t>
            </a:r>
          </a:p>
          <a:p>
            <a:pPr marL="342900" indent="-342900">
              <a:buFont typeface="Wingdings" panose="05000000000000000000" pitchFamily="2" charset="2"/>
              <a:buChar char="q"/>
            </a:pPr>
            <a:r>
              <a:rPr lang="en-US" sz="1600" dirty="0"/>
              <a:t>Access to the same AEM cloud console and broker you setup on Day 1</a:t>
            </a:r>
          </a:p>
          <a:p>
            <a:pPr marL="342900" indent="-342900">
              <a:buFont typeface="Wingdings" panose="05000000000000000000" pitchFamily="2" charset="2"/>
              <a:buChar char="q"/>
            </a:pPr>
            <a:r>
              <a:rPr lang="en-US" sz="1600" dirty="0"/>
              <a:t>Access to the event simulator from Day 1</a:t>
            </a:r>
          </a:p>
          <a:p>
            <a:pPr marL="342900" indent="-342900">
              <a:buFont typeface="Wingdings" panose="05000000000000000000" pitchFamily="2" charset="2"/>
              <a:buChar char="q"/>
            </a:pPr>
            <a:r>
              <a:rPr lang="en-US" sz="1600" dirty="0"/>
              <a:t>Access to an active SAP Integration Suite tenant</a:t>
            </a:r>
          </a:p>
          <a:p>
            <a:pPr marL="342900" indent="-342900">
              <a:buFont typeface="Wingdings" panose="05000000000000000000" pitchFamily="2" charset="2"/>
              <a:buChar char="q"/>
            </a:pPr>
            <a:r>
              <a:rPr lang="en-US" sz="1600" dirty="0"/>
              <a:t>Access to an active SAP Build Process Automation instance</a:t>
            </a:r>
          </a:p>
          <a:p>
            <a:pPr marL="342900" indent="-342900">
              <a:buFont typeface="Wingdings" panose="05000000000000000000" pitchFamily="2" charset="2"/>
              <a:buChar char="q"/>
            </a:pPr>
            <a:endParaRPr lang="en-US" sz="1600" dirty="0"/>
          </a:p>
          <a:p>
            <a:pPr>
              <a:buNone/>
            </a:pPr>
            <a:r>
              <a:rPr lang="en-US" dirty="0"/>
              <a:t>Nice to have:</a:t>
            </a:r>
          </a:p>
          <a:p>
            <a:pPr marL="342900" indent="-342900">
              <a:buFont typeface="Wingdings" panose="05000000000000000000" pitchFamily="2" charset="2"/>
              <a:buChar char="q"/>
            </a:pPr>
            <a:r>
              <a:rPr lang="en-US" sz="1600" dirty="0"/>
              <a:t>An active SAP Data Quality Management instance and service key</a:t>
            </a:r>
          </a:p>
          <a:p>
            <a:pPr marL="342900" indent="-342900">
              <a:buFont typeface="Wingdings" panose="05000000000000000000" pitchFamily="2" charset="2"/>
              <a:buChar char="q"/>
            </a:pPr>
            <a:r>
              <a:rPr lang="en-US" sz="1600" dirty="0"/>
              <a:t>Access to an SFTP server</a:t>
            </a:r>
          </a:p>
        </p:txBody>
      </p:sp>
      <p:sp>
        <p:nvSpPr>
          <p:cNvPr id="24" name="Title"/>
          <p:cNvSpPr>
            <a:spLocks noGrp="1"/>
          </p:cNvSpPr>
          <p:nvPr>
            <p:ph type="title"/>
          </p:nvPr>
        </p:nvSpPr>
        <p:spPr bwMode="gray">
          <a:noFill/>
        </p:spPr>
        <p:txBody>
          <a:bodyPr/>
          <a:lstStyle/>
          <a:p>
            <a:r>
              <a:rPr lang="en-US" dirty="0"/>
              <a:t>Prerequisites</a:t>
            </a:r>
          </a:p>
        </p:txBody>
      </p:sp>
    </p:spTree>
    <p:custDataLst>
      <p:custData r:id="rId1"/>
      <p:custData r:id="rId2"/>
    </p:custDataLst>
    <p:extLst>
      <p:ext uri="{BB962C8B-B14F-4D97-AF65-F5344CB8AC3E}">
        <p14:creationId xmlns:p14="http://schemas.microsoft.com/office/powerpoint/2010/main" val="1770240815"/>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841AF2EE-74FC-472C-8B32-F66FA8FA3B32}"/>
              </a:ext>
            </a:extLst>
          </p:cNvPr>
          <p:cNvSpPr/>
          <p:nvPr/>
        </p:nvSpPr>
        <p:spPr bwMode="gray">
          <a:xfrm>
            <a:off x="0" y="-64967"/>
            <a:ext cx="3492965" cy="6846905"/>
          </a:xfrm>
          <a:prstGeom prst="rect">
            <a:avLst/>
          </a:prstGeom>
          <a:solidFill>
            <a:schemeClr val="accent3"/>
          </a:solidFill>
          <a:ln w="25400" algn="ctr">
            <a:solidFill>
              <a:schemeClr val="accent4"/>
            </a:solidFill>
            <a:miter lim="800000"/>
            <a:headEnd/>
            <a:tailEnd/>
          </a:ln>
        </p:spPr>
        <p:txBody>
          <a:bodyPr lIns="89854" tIns="71884" rIns="89854" bIns="71884" rtlCol="0" anchor="ctr"/>
          <a:lstStyle/>
          <a:p>
            <a:pPr algn="ctr" defTabSz="912937" fontAlgn="base">
              <a:spcBef>
                <a:spcPct val="50000"/>
              </a:spcBef>
              <a:spcAft>
                <a:spcPct val="0"/>
              </a:spcAft>
              <a:buClr>
                <a:srgbClr val="F0AB00"/>
              </a:buClr>
              <a:buSzPct val="80000"/>
            </a:pPr>
            <a:endParaRPr lang="de-DE" sz="1797" kern="0">
              <a:solidFill>
                <a:srgbClr val="000000"/>
              </a:solidFill>
              <a:ea typeface="Arial Unicode MS" pitchFamily="34" charset="-128"/>
              <a:cs typeface="Arial Unicode MS" pitchFamily="34" charset="-128"/>
            </a:endParaRPr>
          </a:p>
        </p:txBody>
      </p:sp>
      <p:sp>
        <p:nvSpPr>
          <p:cNvPr id="4" name="Title"/>
          <p:cNvSpPr>
            <a:spLocks noGrp="1"/>
          </p:cNvSpPr>
          <p:nvPr>
            <p:ph type="title"/>
          </p:nvPr>
        </p:nvSpPr>
        <p:spPr bwMode="gray">
          <a:xfrm>
            <a:off x="234529" y="454570"/>
            <a:ext cx="3058346" cy="3724096"/>
          </a:xfrm>
        </p:spPr>
        <p:txBody>
          <a:bodyPr/>
          <a:lstStyle/>
          <a:p>
            <a:r>
              <a:rPr lang="en-US" sz="3200" dirty="0">
                <a:solidFill>
                  <a:schemeClr val="bg1"/>
                </a:solidFill>
              </a:rPr>
              <a:t>Exercise Flow</a:t>
            </a:r>
            <a:br>
              <a:rPr lang="en-US" sz="3200" dirty="0"/>
            </a:br>
            <a:r>
              <a:rPr lang="en-US" sz="1600" b="1" noProof="0" dirty="0"/>
              <a:t>Digital Integration Hub </a:t>
            </a:r>
            <a:br>
              <a:rPr lang="en-US" sz="1600" b="1" noProof="0" dirty="0"/>
            </a:br>
            <a:br>
              <a:rPr lang="en-US" sz="900" b="1" dirty="0">
                <a:solidFill>
                  <a:srgbClr val="427CAC"/>
                </a:solidFill>
                <a:latin typeface="Arial" charset="0"/>
                <a:ea typeface="Arial" charset="0"/>
                <a:cs typeface="Arial" charset="0"/>
              </a:rPr>
            </a:br>
            <a:br>
              <a:rPr lang="en-US" sz="900" b="1" dirty="0">
                <a:solidFill>
                  <a:srgbClr val="427CAC"/>
                </a:solidFill>
                <a:latin typeface="Arial" charset="0"/>
                <a:ea typeface="Arial" charset="0"/>
                <a:cs typeface="Arial" charset="0"/>
              </a:rPr>
            </a:br>
            <a:r>
              <a:rPr lang="en-US" sz="1600" b="1" dirty="0"/>
              <a:t>Topic 3</a:t>
            </a:r>
            <a:br>
              <a:rPr lang="en-US" sz="900" noProof="0" dirty="0"/>
            </a:br>
            <a:br>
              <a:rPr lang="en-US" sz="1200" b="0" noProof="0" dirty="0"/>
            </a:br>
            <a:r>
              <a:rPr lang="en-US" sz="1400" b="0" noProof="0" dirty="0"/>
              <a:t>1.Create queues/topic subscriptions in AEM</a:t>
            </a:r>
            <a:br>
              <a:rPr lang="en-US" sz="1400" dirty="0"/>
            </a:br>
            <a:r>
              <a:rPr lang="en-US" sz="1400" dirty="0"/>
              <a:t>2. Create consumer IFlows in Integration Suite</a:t>
            </a:r>
            <a:br>
              <a:rPr lang="en-US" sz="1400" dirty="0"/>
            </a:br>
            <a:r>
              <a:rPr lang="en-US" sz="1400" dirty="0"/>
              <a:t>3. Automation configuration of AEM using API (optional)</a:t>
            </a:r>
            <a:br>
              <a:rPr lang="en-US" sz="1400" dirty="0"/>
            </a:br>
            <a:r>
              <a:rPr lang="en-US" sz="1400" dirty="0"/>
              <a:t>4. Connect Process Automation</a:t>
            </a:r>
            <a:br>
              <a:rPr lang="en-US" sz="1400" dirty="0"/>
            </a:br>
            <a:r>
              <a:rPr lang="en-US" sz="1400" dirty="0"/>
              <a:t>5. Test and review with events</a:t>
            </a:r>
            <a:br>
              <a:rPr lang="en-US" sz="900" b="0" dirty="0"/>
            </a:br>
            <a:br>
              <a:rPr lang="en-US" sz="900" b="0" dirty="0"/>
            </a:br>
            <a:br>
              <a:rPr lang="en-US" sz="900" b="0" dirty="0"/>
            </a:br>
            <a:br>
              <a:rPr lang="en-US" sz="900" b="0" dirty="0"/>
            </a:br>
            <a:endParaRPr lang="en-US" sz="900" b="0" dirty="0"/>
          </a:p>
        </p:txBody>
      </p:sp>
      <p:sp>
        <p:nvSpPr>
          <p:cNvPr id="33" name="Rechteck 9">
            <a:extLst>
              <a:ext uri="{FF2B5EF4-FFF2-40B4-BE49-F238E27FC236}">
                <a16:creationId xmlns:a16="http://schemas.microsoft.com/office/drawing/2014/main" id="{ECD4176E-3307-4AEE-B858-A8911D07832D}"/>
              </a:ext>
            </a:extLst>
          </p:cNvPr>
          <p:cNvSpPr/>
          <p:nvPr/>
        </p:nvSpPr>
        <p:spPr>
          <a:xfrm>
            <a:off x="3891664" y="5963992"/>
            <a:ext cx="7621001" cy="718835"/>
          </a:xfrm>
          <a:prstGeom prst="rect">
            <a:avLst/>
          </a:prstGeom>
          <a:solidFill>
            <a:schemeClr val="bg1"/>
          </a:solidFill>
          <a:ln w="19050" cap="rnd">
            <a:solidFill>
              <a:srgbClr val="427CAC"/>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71884" tIns="71884" rIns="71884" bIns="71884" rtlCol="0" anchor="t"/>
          <a:lstStyle/>
          <a:p>
            <a:pPr defTabSz="1087034"/>
            <a:r>
              <a:rPr lang="en-US" sz="998" dirty="0">
                <a:solidFill>
                  <a:srgbClr val="000000">
                    <a:lumMod val="65000"/>
                    <a:lumOff val="35000"/>
                  </a:srgbClr>
                </a:solidFill>
                <a:latin typeface="Arial" charset="0"/>
                <a:ea typeface="Arial" charset="0"/>
                <a:cs typeface="Arial" charset="0"/>
              </a:rPr>
              <a:t>On Premise </a:t>
            </a:r>
            <a:br>
              <a:rPr lang="en-US" sz="998" dirty="0">
                <a:solidFill>
                  <a:srgbClr val="000000">
                    <a:lumMod val="65000"/>
                    <a:lumOff val="35000"/>
                  </a:srgbClr>
                </a:solidFill>
                <a:latin typeface="Arial" charset="0"/>
                <a:ea typeface="Arial" charset="0"/>
                <a:cs typeface="Arial" charset="0"/>
              </a:rPr>
            </a:br>
            <a:r>
              <a:rPr lang="en-US" sz="998" dirty="0">
                <a:solidFill>
                  <a:srgbClr val="000000">
                    <a:lumMod val="65000"/>
                    <a:lumOff val="35000"/>
                  </a:srgbClr>
                </a:solidFill>
                <a:latin typeface="Arial" charset="0"/>
                <a:ea typeface="Arial" charset="0"/>
                <a:cs typeface="Arial" charset="0"/>
              </a:rPr>
              <a:t>Apps I Data I Users | Things </a:t>
            </a:r>
          </a:p>
        </p:txBody>
      </p:sp>
      <p:sp>
        <p:nvSpPr>
          <p:cNvPr id="38" name="Rechteck 9">
            <a:extLst>
              <a:ext uri="{FF2B5EF4-FFF2-40B4-BE49-F238E27FC236}">
                <a16:creationId xmlns:a16="http://schemas.microsoft.com/office/drawing/2014/main" id="{EAD16E8C-38D0-4B49-8EF7-A47E41270DB8}"/>
              </a:ext>
            </a:extLst>
          </p:cNvPr>
          <p:cNvSpPr/>
          <p:nvPr/>
        </p:nvSpPr>
        <p:spPr>
          <a:xfrm>
            <a:off x="3915613" y="424256"/>
            <a:ext cx="7597053" cy="814181"/>
          </a:xfrm>
          <a:prstGeom prst="rect">
            <a:avLst/>
          </a:prstGeom>
          <a:noFill/>
          <a:ln w="19050" cap="rnd">
            <a:solidFill>
              <a:srgbClr val="427CAC"/>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71884" tIns="71884" rIns="71884" bIns="71884" rtlCol="0" anchor="t"/>
          <a:lstStyle/>
          <a:p>
            <a:pPr defTabSz="1087034"/>
            <a:r>
              <a:rPr lang="en-US" sz="998">
                <a:solidFill>
                  <a:srgbClr val="000000">
                    <a:lumMod val="65000"/>
                    <a:lumOff val="35000"/>
                  </a:srgbClr>
                </a:solidFill>
                <a:latin typeface="Arial" charset="0"/>
                <a:ea typeface="Arial" charset="0"/>
                <a:cs typeface="Arial" charset="0"/>
              </a:rPr>
              <a:t>Public Cloud </a:t>
            </a:r>
            <a:br>
              <a:rPr lang="en-US" sz="998">
                <a:solidFill>
                  <a:srgbClr val="000000">
                    <a:lumMod val="65000"/>
                    <a:lumOff val="35000"/>
                  </a:srgbClr>
                </a:solidFill>
                <a:latin typeface="Arial" charset="0"/>
                <a:ea typeface="Arial" charset="0"/>
                <a:cs typeface="Arial" charset="0"/>
              </a:rPr>
            </a:br>
            <a:r>
              <a:rPr lang="en-US" sz="998">
                <a:solidFill>
                  <a:srgbClr val="000000">
                    <a:lumMod val="65000"/>
                    <a:lumOff val="35000"/>
                  </a:srgbClr>
                </a:solidFill>
                <a:latin typeface="Arial" charset="0"/>
                <a:ea typeface="Arial" charset="0"/>
                <a:cs typeface="Arial" charset="0"/>
              </a:rPr>
              <a:t>Apps I Data I Users | Things </a:t>
            </a:r>
          </a:p>
        </p:txBody>
      </p:sp>
      <p:sp>
        <p:nvSpPr>
          <p:cNvPr id="51" name="Rectangle 50">
            <a:extLst>
              <a:ext uri="{FF2B5EF4-FFF2-40B4-BE49-F238E27FC236}">
                <a16:creationId xmlns:a16="http://schemas.microsoft.com/office/drawing/2014/main" id="{598E4FEB-2843-4C1C-B954-8794B2126AB9}"/>
              </a:ext>
            </a:extLst>
          </p:cNvPr>
          <p:cNvSpPr/>
          <p:nvPr/>
        </p:nvSpPr>
        <p:spPr bwMode="gray">
          <a:xfrm>
            <a:off x="3891663" y="4117414"/>
            <a:ext cx="7621001" cy="1437670"/>
          </a:xfrm>
          <a:prstGeom prst="rect">
            <a:avLst/>
          </a:prstGeom>
          <a:solidFill>
            <a:schemeClr val="bg1">
              <a:lumMod val="95000"/>
            </a:schemeClr>
          </a:solidFill>
          <a:ln w="12700" algn="ctr">
            <a:noFill/>
            <a:prstDash val="solid"/>
            <a:miter lim="800000"/>
            <a:headEnd/>
            <a:tailEnd/>
          </a:ln>
        </p:spPr>
        <p:txBody>
          <a:bodyPr lIns="89854" tIns="71884" rIns="89854" bIns="71884" rtlCol="0" anchor="t"/>
          <a:lstStyle/>
          <a:p>
            <a:pPr defTabSz="912937" fontAlgn="base">
              <a:spcBef>
                <a:spcPct val="50000"/>
              </a:spcBef>
              <a:spcAft>
                <a:spcPct val="0"/>
              </a:spcAft>
              <a:buClr>
                <a:srgbClr val="F0AB00"/>
              </a:buClr>
              <a:buSzPct val="80000"/>
            </a:pPr>
            <a:r>
              <a:rPr lang="en-US" sz="1098" kern="0">
                <a:solidFill>
                  <a:srgbClr val="427CAC"/>
                </a:solidFill>
                <a:ea typeface="Arial Unicode MS" pitchFamily="34" charset="-128"/>
                <a:cs typeface="Arial"/>
              </a:rPr>
              <a:t>On-Premise</a:t>
            </a:r>
            <a:br>
              <a:rPr lang="en-US" sz="1098" kern="0">
                <a:solidFill>
                  <a:srgbClr val="427CAC"/>
                </a:solidFill>
                <a:ea typeface="Arial Unicode MS" pitchFamily="34" charset="-128"/>
                <a:cs typeface="Arial"/>
              </a:rPr>
            </a:br>
            <a:r>
              <a:rPr lang="en-US" sz="1098" kern="0">
                <a:solidFill>
                  <a:srgbClr val="427CAC"/>
                </a:solidFill>
                <a:ea typeface="Arial Unicode MS" pitchFamily="34" charset="-128"/>
                <a:cs typeface="Arial"/>
              </a:rPr>
              <a:t>Integration </a:t>
            </a:r>
            <a:br>
              <a:rPr lang="en-US" sz="1098" kern="0">
                <a:solidFill>
                  <a:srgbClr val="427CAC"/>
                </a:solidFill>
                <a:ea typeface="Arial Unicode MS" pitchFamily="34" charset="-128"/>
                <a:cs typeface="Arial"/>
              </a:rPr>
            </a:br>
            <a:r>
              <a:rPr lang="en-US" sz="1098" kern="0">
                <a:solidFill>
                  <a:srgbClr val="427CAC"/>
                </a:solidFill>
                <a:ea typeface="Arial Unicode MS" pitchFamily="34" charset="-128"/>
                <a:cs typeface="Arial"/>
              </a:rPr>
              <a:t>Components </a:t>
            </a:r>
          </a:p>
        </p:txBody>
      </p:sp>
      <p:sp>
        <p:nvSpPr>
          <p:cNvPr id="72" name="Rectangle 71">
            <a:extLst>
              <a:ext uri="{FF2B5EF4-FFF2-40B4-BE49-F238E27FC236}">
                <a16:creationId xmlns:a16="http://schemas.microsoft.com/office/drawing/2014/main" id="{975858A8-7A1E-480C-A754-9B42AA1B2D0D}"/>
              </a:ext>
            </a:extLst>
          </p:cNvPr>
          <p:cNvSpPr/>
          <p:nvPr/>
        </p:nvSpPr>
        <p:spPr bwMode="gray">
          <a:xfrm>
            <a:off x="5780827" y="496198"/>
            <a:ext cx="2129162" cy="672019"/>
          </a:xfrm>
          <a:prstGeom prst="rect">
            <a:avLst/>
          </a:prstGeom>
          <a:noFill/>
          <a:ln w="19050" cap="rnd">
            <a:solidFill>
              <a:srgbClr val="1A9898"/>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71884" tIns="71884" rIns="71884" bIns="71884" rtlCol="0" anchor="t" anchorCtr="0"/>
          <a:lstStyle/>
          <a:p>
            <a:pPr algn="ctr" defTabSz="1087034" fontAlgn="base">
              <a:spcBef>
                <a:spcPts val="599"/>
              </a:spcBef>
              <a:spcAft>
                <a:spcPct val="0"/>
              </a:spcAft>
              <a:buClr>
                <a:srgbClr val="F0AB00"/>
              </a:buClr>
              <a:buSzPct val="80000"/>
              <a:defRPr/>
            </a:pPr>
            <a:r>
              <a:rPr lang="en-US" sz="1098" b="1" kern="0">
                <a:solidFill>
                  <a:srgbClr val="1A9898"/>
                </a:solidFill>
                <a:latin typeface="BentonSans Bold" charset="0"/>
                <a:ea typeface="BentonSans Bold" charset="0"/>
                <a:cs typeface="BentonSans Bold" charset="0"/>
              </a:rPr>
              <a:t> </a:t>
            </a:r>
          </a:p>
        </p:txBody>
      </p:sp>
      <p:grpSp>
        <p:nvGrpSpPr>
          <p:cNvPr id="2" name="Group 1">
            <a:extLst>
              <a:ext uri="{FF2B5EF4-FFF2-40B4-BE49-F238E27FC236}">
                <a16:creationId xmlns:a16="http://schemas.microsoft.com/office/drawing/2014/main" id="{28C95EE2-E27C-4F54-95FC-65B597D934ED}"/>
              </a:ext>
            </a:extLst>
          </p:cNvPr>
          <p:cNvGrpSpPr/>
          <p:nvPr/>
        </p:nvGrpSpPr>
        <p:grpSpPr>
          <a:xfrm>
            <a:off x="6343421" y="556542"/>
            <a:ext cx="986371" cy="683624"/>
            <a:chOff x="6482526" y="627232"/>
            <a:chExt cx="987969" cy="684732"/>
          </a:xfrm>
        </p:grpSpPr>
        <p:pic>
          <p:nvPicPr>
            <p:cNvPr id="74" name="Bild 7">
              <a:extLst>
                <a:ext uri="{FF2B5EF4-FFF2-40B4-BE49-F238E27FC236}">
                  <a16:creationId xmlns:a16="http://schemas.microsoft.com/office/drawing/2014/main" id="{DC05304C-BDDB-4C80-8895-B70699D217DE}"/>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778710" y="627232"/>
              <a:ext cx="390910" cy="390910"/>
            </a:xfrm>
            <a:prstGeom prst="rect">
              <a:avLst/>
            </a:prstGeom>
          </p:spPr>
        </p:pic>
        <p:sp>
          <p:nvSpPr>
            <p:cNvPr id="77" name="Abgerundetes Rechteck 30">
              <a:extLst>
                <a:ext uri="{FF2B5EF4-FFF2-40B4-BE49-F238E27FC236}">
                  <a16:creationId xmlns:a16="http://schemas.microsoft.com/office/drawing/2014/main" id="{BD2BC2C0-5438-4752-AAB3-8BC624CC06D5}"/>
                </a:ext>
              </a:extLst>
            </p:cNvPr>
            <p:cNvSpPr/>
            <p:nvPr/>
          </p:nvSpPr>
          <p:spPr>
            <a:xfrm>
              <a:off x="6482526" y="934264"/>
              <a:ext cx="987969" cy="377700"/>
            </a:xfrm>
            <a:prstGeom prst="roundRect">
              <a:avLst>
                <a:gd name="adj" fmla="val 0"/>
              </a:avLst>
            </a:prstGeom>
            <a:noFill/>
            <a:ln w="19050" cap="rnd">
              <a:noFill/>
            </a:ln>
          </p:spPr>
          <p:style>
            <a:lnRef idx="2">
              <a:schemeClr val="accent1">
                <a:shade val="50000"/>
              </a:schemeClr>
            </a:lnRef>
            <a:fillRef idx="1">
              <a:schemeClr val="accent1"/>
            </a:fillRef>
            <a:effectRef idx="0">
              <a:schemeClr val="accent1"/>
            </a:effectRef>
            <a:fontRef idx="minor">
              <a:schemeClr val="lt1"/>
            </a:fontRef>
          </p:style>
          <p:txBody>
            <a:bodyPr lIns="71884" tIns="71884" rIns="71884" bIns="71884" rtlCol="0" anchor="ctr">
              <a:noAutofit/>
            </a:bodyPr>
            <a:lstStyle/>
            <a:p>
              <a:pPr algn="ctr" defTabSz="1087034">
                <a:defRPr/>
              </a:pPr>
              <a:r>
                <a:rPr lang="en-US" sz="1098">
                  <a:solidFill>
                    <a:srgbClr val="000000">
                      <a:lumMod val="65000"/>
                      <a:lumOff val="35000"/>
                    </a:srgbClr>
                  </a:solidFill>
                  <a:latin typeface="Arial"/>
                </a:rPr>
                <a:t> Desktop</a:t>
              </a:r>
            </a:p>
          </p:txBody>
        </p:sp>
      </p:grpSp>
      <p:pic>
        <p:nvPicPr>
          <p:cNvPr id="79" name="Bild 3">
            <a:extLst>
              <a:ext uri="{FF2B5EF4-FFF2-40B4-BE49-F238E27FC236}">
                <a16:creationId xmlns:a16="http://schemas.microsoft.com/office/drawing/2014/main" id="{FBD4D9F3-EA88-47D0-B364-BDE1F598FC91}"/>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299" t="-2761" b="2812"/>
          <a:stretch/>
        </p:blipFill>
        <p:spPr>
          <a:xfrm>
            <a:off x="6037988" y="6070134"/>
            <a:ext cx="496393" cy="497623"/>
          </a:xfrm>
          <a:prstGeom prst="rect">
            <a:avLst/>
          </a:prstGeom>
        </p:spPr>
      </p:pic>
      <p:sp>
        <p:nvSpPr>
          <p:cNvPr id="80" name="Rectangle 79">
            <a:extLst>
              <a:ext uri="{FF2B5EF4-FFF2-40B4-BE49-F238E27FC236}">
                <a16:creationId xmlns:a16="http://schemas.microsoft.com/office/drawing/2014/main" id="{8A915F00-784D-4A5C-B681-4727CBB33DBB}"/>
              </a:ext>
            </a:extLst>
          </p:cNvPr>
          <p:cNvSpPr/>
          <p:nvPr/>
        </p:nvSpPr>
        <p:spPr>
          <a:xfrm>
            <a:off x="6094462" y="6098714"/>
            <a:ext cx="1677235" cy="405488"/>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lIns="35933" tIns="35933" rIns="35933" bIns="35933" rtlCol="0" anchor="ctr"/>
          <a:lstStyle/>
          <a:p>
            <a:pPr algn="ctr" defTabSz="1087034"/>
            <a:r>
              <a:rPr lang="en-US" sz="1098" b="1" dirty="0">
                <a:solidFill>
                  <a:srgbClr val="000000">
                    <a:lumMod val="65000"/>
                    <a:lumOff val="35000"/>
                  </a:srgbClr>
                </a:solidFill>
                <a:latin typeface="Arial" charset="0"/>
                <a:ea typeface="Arial" charset="0"/>
                <a:cs typeface="Arial" charset="0"/>
              </a:rPr>
              <a:t>S/4HANA</a:t>
            </a:r>
          </a:p>
        </p:txBody>
      </p:sp>
      <p:cxnSp>
        <p:nvCxnSpPr>
          <p:cNvPr id="82" name="Straight Arrow Connector 18">
            <a:extLst>
              <a:ext uri="{FF2B5EF4-FFF2-40B4-BE49-F238E27FC236}">
                <a16:creationId xmlns:a16="http://schemas.microsoft.com/office/drawing/2014/main" id="{CBE6B8F3-A844-4E81-AB65-F389917D2CA5}"/>
              </a:ext>
            </a:extLst>
          </p:cNvPr>
          <p:cNvCxnSpPr>
            <a:cxnSpLocks/>
            <a:endCxn id="72" idx="2"/>
          </p:cNvCxnSpPr>
          <p:nvPr/>
        </p:nvCxnSpPr>
        <p:spPr>
          <a:xfrm flipV="1">
            <a:off x="6836608" y="1168217"/>
            <a:ext cx="8800" cy="382690"/>
          </a:xfrm>
          <a:prstGeom prst="straightConnector1">
            <a:avLst/>
          </a:prstGeom>
          <a:ln w="25400">
            <a:solidFill>
              <a:schemeClr val="tx1">
                <a:lumMod val="65000"/>
                <a:lumOff val="35000"/>
              </a:schemeClr>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94" name="Rectangle 93">
            <a:extLst>
              <a:ext uri="{FF2B5EF4-FFF2-40B4-BE49-F238E27FC236}">
                <a16:creationId xmlns:a16="http://schemas.microsoft.com/office/drawing/2014/main" id="{F29D2FD9-3E31-43D0-B6DB-05EAAA586CEF}"/>
              </a:ext>
            </a:extLst>
          </p:cNvPr>
          <p:cNvSpPr/>
          <p:nvPr/>
        </p:nvSpPr>
        <p:spPr>
          <a:xfrm>
            <a:off x="5070826" y="1533178"/>
            <a:ext cx="1215356" cy="256006"/>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lIns="35942" tIns="35942" rIns="35942" bIns="0" rtlCol="0" anchor="ctr"/>
          <a:lstStyle/>
          <a:p>
            <a:pPr algn="ctr" defTabSz="1087034">
              <a:defRPr/>
            </a:pPr>
            <a:r>
              <a:rPr lang="en-US" sz="1098" b="1" dirty="0">
                <a:solidFill>
                  <a:srgbClr val="427CAC"/>
                </a:solidFill>
                <a:latin typeface="Arial" charset="0"/>
                <a:ea typeface="Arial" charset="0"/>
                <a:cs typeface="Arial" charset="0"/>
              </a:rPr>
              <a:t>Event Simulator</a:t>
            </a:r>
          </a:p>
        </p:txBody>
      </p:sp>
      <p:sp>
        <p:nvSpPr>
          <p:cNvPr id="81" name="Rechteck 9">
            <a:extLst>
              <a:ext uri="{FF2B5EF4-FFF2-40B4-BE49-F238E27FC236}">
                <a16:creationId xmlns:a16="http://schemas.microsoft.com/office/drawing/2014/main" id="{AF940E72-EDF3-43EB-A26C-B46E710C743F}"/>
              </a:ext>
            </a:extLst>
          </p:cNvPr>
          <p:cNvSpPr/>
          <p:nvPr/>
        </p:nvSpPr>
        <p:spPr>
          <a:xfrm>
            <a:off x="4939636" y="1529598"/>
            <a:ext cx="6411549" cy="2217827"/>
          </a:xfrm>
          <a:prstGeom prst="rect">
            <a:avLst/>
          </a:prstGeom>
          <a:noFill/>
          <a:ln w="19050">
            <a:solidFill>
              <a:srgbClr val="427CAC"/>
            </a:solidFill>
          </a:ln>
        </p:spPr>
        <p:style>
          <a:lnRef idx="2">
            <a:schemeClr val="accent1">
              <a:shade val="50000"/>
            </a:schemeClr>
          </a:lnRef>
          <a:fillRef idx="1">
            <a:schemeClr val="accent1"/>
          </a:fillRef>
          <a:effectRef idx="0">
            <a:schemeClr val="accent1"/>
          </a:effectRef>
          <a:fontRef idx="minor">
            <a:schemeClr val="lt1"/>
          </a:fontRef>
        </p:style>
        <p:txBody>
          <a:bodyPr lIns="71884" tIns="71884" rIns="71884" bIns="71884" rtlCol="0" anchor="t"/>
          <a:lstStyle/>
          <a:p>
            <a:pPr algn="r" defTabSz="1087034"/>
            <a:r>
              <a:rPr lang="en-US" sz="1198" b="1">
                <a:solidFill>
                  <a:srgbClr val="427CAC"/>
                </a:solidFill>
                <a:latin typeface="Arial"/>
              </a:rPr>
              <a:t>SAP Business</a:t>
            </a:r>
            <a:br>
              <a:rPr lang="en-US" sz="1198" b="1">
                <a:solidFill>
                  <a:srgbClr val="427CAC"/>
                </a:solidFill>
                <a:latin typeface="Arial"/>
              </a:rPr>
            </a:br>
            <a:r>
              <a:rPr lang="en-US" sz="1198" b="1">
                <a:solidFill>
                  <a:srgbClr val="427CAC"/>
                </a:solidFill>
                <a:latin typeface="Arial"/>
              </a:rPr>
              <a:t>Technology Platform</a:t>
            </a:r>
          </a:p>
        </p:txBody>
      </p:sp>
      <p:cxnSp>
        <p:nvCxnSpPr>
          <p:cNvPr id="86" name="Gerade Verbindung 60">
            <a:extLst>
              <a:ext uri="{FF2B5EF4-FFF2-40B4-BE49-F238E27FC236}">
                <a16:creationId xmlns:a16="http://schemas.microsoft.com/office/drawing/2014/main" id="{6B838110-4BBC-48BA-95EF-F172A9A2DAB6}"/>
              </a:ext>
            </a:extLst>
          </p:cNvPr>
          <p:cNvCxnSpPr>
            <a:cxnSpLocks/>
          </p:cNvCxnSpPr>
          <p:nvPr/>
        </p:nvCxnSpPr>
        <p:spPr>
          <a:xfrm flipH="1">
            <a:off x="5073350" y="4227074"/>
            <a:ext cx="5570973" cy="0"/>
          </a:xfrm>
          <a:prstGeom prst="line">
            <a:avLst/>
          </a:prstGeom>
          <a:ln w="38100" cap="rnd">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91" name="TextBox 90">
            <a:extLst>
              <a:ext uri="{FF2B5EF4-FFF2-40B4-BE49-F238E27FC236}">
                <a16:creationId xmlns:a16="http://schemas.microsoft.com/office/drawing/2014/main" id="{0E9C95C7-D862-461B-BAD9-B3350B3C6644}"/>
              </a:ext>
            </a:extLst>
          </p:cNvPr>
          <p:cNvSpPr txBox="1"/>
          <p:nvPr/>
        </p:nvSpPr>
        <p:spPr>
          <a:xfrm>
            <a:off x="10753931" y="4121033"/>
            <a:ext cx="597255" cy="169003"/>
          </a:xfrm>
          <a:prstGeom prst="rect">
            <a:avLst/>
          </a:prstGeom>
          <a:noFill/>
        </p:spPr>
        <p:txBody>
          <a:bodyPr wrap="square" lIns="0" tIns="0" rIns="0" bIns="0" rtlCol="0">
            <a:spAutoFit/>
          </a:bodyPr>
          <a:lstStyle/>
          <a:p>
            <a:pPr defTabSz="1087034" fontAlgn="base">
              <a:spcBef>
                <a:spcPct val="50000"/>
              </a:spcBef>
              <a:spcAft>
                <a:spcPct val="0"/>
              </a:spcAft>
              <a:buClr>
                <a:srgbClr val="F0AB00"/>
              </a:buClr>
              <a:buSzPct val="80000"/>
            </a:pPr>
            <a:r>
              <a:rPr lang="de-DE" sz="1098" kern="0">
                <a:solidFill>
                  <a:srgbClr val="000000"/>
                </a:solidFill>
                <a:ea typeface="Arial Unicode MS" pitchFamily="34" charset="-128"/>
                <a:cs typeface="Arial Unicode MS" pitchFamily="34" charset="-128"/>
              </a:rPr>
              <a:t>Firewall</a:t>
            </a:r>
          </a:p>
        </p:txBody>
      </p:sp>
      <p:sp>
        <p:nvSpPr>
          <p:cNvPr id="99" name="TextBox 98">
            <a:extLst>
              <a:ext uri="{FF2B5EF4-FFF2-40B4-BE49-F238E27FC236}">
                <a16:creationId xmlns:a16="http://schemas.microsoft.com/office/drawing/2014/main" id="{4054830F-1B44-4F6D-9ECE-EA898364CBE0}"/>
              </a:ext>
            </a:extLst>
          </p:cNvPr>
          <p:cNvSpPr txBox="1"/>
          <p:nvPr/>
        </p:nvSpPr>
        <p:spPr>
          <a:xfrm>
            <a:off x="10344801" y="4434390"/>
            <a:ext cx="318924" cy="153639"/>
          </a:xfrm>
          <a:prstGeom prst="rect">
            <a:avLst/>
          </a:prstGeom>
          <a:noFill/>
        </p:spPr>
        <p:txBody>
          <a:bodyPr wrap="square" lIns="0" tIns="0" rIns="0" bIns="0" rtlCol="0">
            <a:spAutoFit/>
          </a:bodyPr>
          <a:lstStyle/>
          <a:p>
            <a:pPr defTabSz="1087034" fontAlgn="base">
              <a:spcBef>
                <a:spcPct val="50000"/>
              </a:spcBef>
              <a:spcAft>
                <a:spcPct val="0"/>
              </a:spcAft>
              <a:buClr>
                <a:srgbClr val="F0AB00"/>
              </a:buClr>
              <a:buSzPct val="80000"/>
            </a:pPr>
            <a:r>
              <a:rPr lang="de-DE" sz="998" kern="0">
                <a:solidFill>
                  <a:srgbClr val="000000"/>
                </a:solidFill>
                <a:ea typeface="Arial Unicode MS" pitchFamily="34" charset="-128"/>
                <a:cs typeface="Arial Unicode MS" pitchFamily="34" charset="-128"/>
              </a:rPr>
              <a:t>DMZ</a:t>
            </a:r>
          </a:p>
        </p:txBody>
      </p:sp>
      <p:sp>
        <p:nvSpPr>
          <p:cNvPr id="100" name="TextBox 99">
            <a:extLst>
              <a:ext uri="{FF2B5EF4-FFF2-40B4-BE49-F238E27FC236}">
                <a16:creationId xmlns:a16="http://schemas.microsoft.com/office/drawing/2014/main" id="{313911BC-C231-4422-961B-C57C5038DA4D}"/>
              </a:ext>
            </a:extLst>
          </p:cNvPr>
          <p:cNvSpPr txBox="1"/>
          <p:nvPr/>
        </p:nvSpPr>
        <p:spPr>
          <a:xfrm>
            <a:off x="10753931" y="4747752"/>
            <a:ext cx="597255" cy="169003"/>
          </a:xfrm>
          <a:prstGeom prst="rect">
            <a:avLst/>
          </a:prstGeom>
          <a:noFill/>
        </p:spPr>
        <p:txBody>
          <a:bodyPr wrap="square" lIns="0" tIns="0" rIns="0" bIns="0" rtlCol="0">
            <a:spAutoFit/>
          </a:bodyPr>
          <a:lstStyle/>
          <a:p>
            <a:pPr defTabSz="1087034" fontAlgn="base">
              <a:spcBef>
                <a:spcPct val="50000"/>
              </a:spcBef>
              <a:spcAft>
                <a:spcPct val="0"/>
              </a:spcAft>
              <a:buClr>
                <a:srgbClr val="F0AB00"/>
              </a:buClr>
              <a:buSzPct val="80000"/>
            </a:pPr>
            <a:r>
              <a:rPr lang="de-DE" sz="1098" kern="0">
                <a:solidFill>
                  <a:srgbClr val="000000"/>
                </a:solidFill>
                <a:ea typeface="Arial Unicode MS" pitchFamily="34" charset="-128"/>
                <a:cs typeface="Arial Unicode MS" pitchFamily="34" charset="-128"/>
              </a:rPr>
              <a:t>Firewall</a:t>
            </a:r>
          </a:p>
        </p:txBody>
      </p:sp>
      <p:sp>
        <p:nvSpPr>
          <p:cNvPr id="101" name="TextBox 100">
            <a:extLst>
              <a:ext uri="{FF2B5EF4-FFF2-40B4-BE49-F238E27FC236}">
                <a16:creationId xmlns:a16="http://schemas.microsoft.com/office/drawing/2014/main" id="{E577F295-20C7-4377-A887-7CADD26C2986}"/>
              </a:ext>
            </a:extLst>
          </p:cNvPr>
          <p:cNvSpPr txBox="1"/>
          <p:nvPr/>
        </p:nvSpPr>
        <p:spPr>
          <a:xfrm>
            <a:off x="10753931" y="5423644"/>
            <a:ext cx="597255" cy="169003"/>
          </a:xfrm>
          <a:prstGeom prst="rect">
            <a:avLst/>
          </a:prstGeom>
          <a:noFill/>
        </p:spPr>
        <p:txBody>
          <a:bodyPr wrap="square" lIns="0" tIns="0" rIns="0" bIns="0" rtlCol="0">
            <a:spAutoFit/>
          </a:bodyPr>
          <a:lstStyle/>
          <a:p>
            <a:pPr defTabSz="1087034" fontAlgn="base">
              <a:spcBef>
                <a:spcPct val="50000"/>
              </a:spcBef>
              <a:spcAft>
                <a:spcPct val="0"/>
              </a:spcAft>
              <a:buClr>
                <a:srgbClr val="F0AB00"/>
              </a:buClr>
              <a:buSzPct val="80000"/>
            </a:pPr>
            <a:r>
              <a:rPr lang="de-DE" sz="1098" kern="0">
                <a:solidFill>
                  <a:srgbClr val="000000"/>
                </a:solidFill>
                <a:ea typeface="Arial Unicode MS" pitchFamily="34" charset="-128"/>
                <a:cs typeface="Arial Unicode MS" pitchFamily="34" charset="-128"/>
              </a:rPr>
              <a:t>Firewall</a:t>
            </a:r>
          </a:p>
        </p:txBody>
      </p:sp>
      <p:sp>
        <p:nvSpPr>
          <p:cNvPr id="104" name="Rechteck 45">
            <a:extLst>
              <a:ext uri="{FF2B5EF4-FFF2-40B4-BE49-F238E27FC236}">
                <a16:creationId xmlns:a16="http://schemas.microsoft.com/office/drawing/2014/main" id="{8F60DCCC-46CA-4764-9BAB-405BEA47F26E}"/>
              </a:ext>
            </a:extLst>
          </p:cNvPr>
          <p:cNvSpPr/>
          <p:nvPr/>
        </p:nvSpPr>
        <p:spPr>
          <a:xfrm>
            <a:off x="7345728" y="1783335"/>
            <a:ext cx="730744" cy="506870"/>
          </a:xfrm>
          <a:prstGeom prst="rect">
            <a:avLst/>
          </a:prstGeom>
        </p:spPr>
        <p:txBody>
          <a:bodyPr wrap="square" lIns="0" tIns="0" rIns="0" bIns="0">
            <a:spAutoFit/>
          </a:bodyPr>
          <a:lstStyle/>
          <a:p>
            <a:pPr algn="ctr" defTabSz="1087034">
              <a:defRPr/>
            </a:pPr>
            <a:r>
              <a:rPr lang="en-US" sz="1098" b="1" dirty="0">
                <a:solidFill>
                  <a:srgbClr val="427CAC"/>
                </a:solidFill>
                <a:latin typeface="Arial" charset="0"/>
                <a:ea typeface="Arial" charset="0"/>
                <a:cs typeface="Arial" charset="0"/>
              </a:rPr>
              <a:t>Advanced Event Mesh </a:t>
            </a:r>
          </a:p>
        </p:txBody>
      </p:sp>
      <p:cxnSp>
        <p:nvCxnSpPr>
          <p:cNvPr id="113" name="Straight Arrow Connector 18">
            <a:extLst>
              <a:ext uri="{FF2B5EF4-FFF2-40B4-BE49-F238E27FC236}">
                <a16:creationId xmlns:a16="http://schemas.microsoft.com/office/drawing/2014/main" id="{578A599E-539C-45BE-AA41-E792EBBFC507}"/>
              </a:ext>
            </a:extLst>
          </p:cNvPr>
          <p:cNvCxnSpPr>
            <a:cxnSpLocks/>
            <a:endCxn id="79" idx="0"/>
          </p:cNvCxnSpPr>
          <p:nvPr/>
        </p:nvCxnSpPr>
        <p:spPr>
          <a:xfrm rot="16200000" flipH="1">
            <a:off x="4499350" y="4283298"/>
            <a:ext cx="3573669" cy="1"/>
          </a:xfrm>
          <a:prstGeom prst="bentConnector3">
            <a:avLst>
              <a:gd name="adj1" fmla="val 50000"/>
            </a:avLst>
          </a:prstGeom>
          <a:ln w="25400" cap="flat">
            <a:solidFill>
              <a:schemeClr val="tx1">
                <a:lumMod val="65000"/>
                <a:lumOff val="3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08" name="Abgerundetes Rechteck 24">
            <a:extLst>
              <a:ext uri="{FF2B5EF4-FFF2-40B4-BE49-F238E27FC236}">
                <a16:creationId xmlns:a16="http://schemas.microsoft.com/office/drawing/2014/main" id="{1059D291-7981-42DF-826C-A3703B03A6D5}"/>
              </a:ext>
            </a:extLst>
          </p:cNvPr>
          <p:cNvSpPr/>
          <p:nvPr/>
        </p:nvSpPr>
        <p:spPr>
          <a:xfrm>
            <a:off x="6777970" y="2861614"/>
            <a:ext cx="898544" cy="182249"/>
          </a:xfrm>
          <a:prstGeom prst="roundRect">
            <a:avLst>
              <a:gd name="adj" fmla="val 50000"/>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5933" tIns="35933" rIns="35933" bIns="35933" rtlCol="0" anchor="ctr"/>
          <a:lstStyle/>
          <a:p>
            <a:pPr algn="ctr" defTabSz="1087034"/>
            <a:r>
              <a:rPr lang="en-US" sz="1098" dirty="0">
                <a:solidFill>
                  <a:srgbClr val="FFFFFF"/>
                </a:solidFill>
                <a:latin typeface="Arial"/>
                <a:ea typeface="BentonSans Book " charset="0"/>
                <a:cs typeface="BentonSans Book " charset="0"/>
              </a:rPr>
              <a:t>Pub / Sub</a:t>
            </a:r>
          </a:p>
        </p:txBody>
      </p:sp>
      <p:sp>
        <p:nvSpPr>
          <p:cNvPr id="12" name="Oval 11">
            <a:extLst>
              <a:ext uri="{FF2B5EF4-FFF2-40B4-BE49-F238E27FC236}">
                <a16:creationId xmlns:a16="http://schemas.microsoft.com/office/drawing/2014/main" id="{3BD23E20-ECF1-4AC7-927F-51E7AA4C8C95}"/>
              </a:ext>
            </a:extLst>
          </p:cNvPr>
          <p:cNvSpPr/>
          <p:nvPr/>
        </p:nvSpPr>
        <p:spPr bwMode="gray">
          <a:xfrm>
            <a:off x="6160306" y="1763871"/>
            <a:ext cx="251753" cy="237322"/>
          </a:xfrm>
          <a:prstGeom prst="ellipse">
            <a:avLst/>
          </a:prstGeom>
          <a:noFill/>
          <a:ln w="25400" algn="ctr">
            <a:solidFill>
              <a:srgbClr val="00B050"/>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de-DE" sz="900" b="0" i="0" u="none" strike="noStrike" kern="0" cap="none" spc="0" normalizeH="0" baseline="0" noProof="0" dirty="0">
                <a:ln>
                  <a:noFill/>
                </a:ln>
                <a:effectLst/>
                <a:uLnTx/>
                <a:uFillTx/>
                <a:ea typeface="Arial Unicode MS" pitchFamily="34" charset="-128"/>
                <a:cs typeface="Arial Unicode MS" pitchFamily="34" charset="-128"/>
              </a:rPr>
              <a:t>5</a:t>
            </a:r>
            <a:endParaRPr kumimoji="0" lang="en-US" sz="900" b="0" i="0" u="none" strike="noStrike" kern="0" cap="none" spc="0" normalizeH="0" baseline="0" noProof="0" dirty="0">
              <a:ln>
                <a:noFill/>
              </a:ln>
              <a:effectLst/>
              <a:uLnTx/>
              <a:uFillTx/>
              <a:ea typeface="Arial Unicode MS" pitchFamily="34" charset="-128"/>
              <a:cs typeface="Arial Unicode MS" pitchFamily="34" charset="-128"/>
            </a:endParaRPr>
          </a:p>
        </p:txBody>
      </p:sp>
      <p:pic>
        <p:nvPicPr>
          <p:cNvPr id="1032" name="Picture 8" descr="SAP – Wikipedia">
            <a:extLst>
              <a:ext uri="{FF2B5EF4-FFF2-40B4-BE49-F238E27FC236}">
                <a16:creationId xmlns:a16="http://schemas.microsoft.com/office/drawing/2014/main" id="{D7AC211D-7E0E-4A56-9CD2-8ED63666BDA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639126" y="6385507"/>
            <a:ext cx="369114" cy="182250"/>
          </a:xfrm>
          <a:prstGeom prst="rect">
            <a:avLst/>
          </a:prstGeom>
          <a:noFill/>
          <a:extLst>
            <a:ext uri="{909E8E84-426E-40DD-AFC4-6F175D3DCCD1}">
              <a14:hiddenFill xmlns:a14="http://schemas.microsoft.com/office/drawing/2010/main">
                <a:solidFill>
                  <a:srgbClr val="FFFFFF"/>
                </a:solidFill>
              </a14:hiddenFill>
            </a:ext>
          </a:extLst>
        </p:spPr>
      </p:pic>
      <p:sp>
        <p:nvSpPr>
          <p:cNvPr id="95" name="Oval 94">
            <a:extLst>
              <a:ext uri="{FF2B5EF4-FFF2-40B4-BE49-F238E27FC236}">
                <a16:creationId xmlns:a16="http://schemas.microsoft.com/office/drawing/2014/main" id="{C0631C0B-1438-455C-B696-497956FDB82A}"/>
              </a:ext>
            </a:extLst>
          </p:cNvPr>
          <p:cNvSpPr/>
          <p:nvPr/>
        </p:nvSpPr>
        <p:spPr bwMode="gray">
          <a:xfrm>
            <a:off x="8405084" y="3430877"/>
            <a:ext cx="249141" cy="256731"/>
          </a:xfrm>
          <a:prstGeom prst="ellipse">
            <a:avLst/>
          </a:prstGeom>
          <a:noFill/>
          <a:ln w="25400" algn="ctr">
            <a:solidFill>
              <a:srgbClr val="00B050"/>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900" b="0" i="0" u="none" strike="noStrike" kern="0" cap="none" spc="0" normalizeH="0" baseline="0" noProof="0" dirty="0">
                <a:ln>
                  <a:noFill/>
                </a:ln>
                <a:effectLst/>
                <a:uLnTx/>
                <a:uFillTx/>
                <a:ea typeface="Arial Unicode MS" pitchFamily="34" charset="-128"/>
                <a:cs typeface="Arial Unicode MS" pitchFamily="34" charset="-128"/>
              </a:rPr>
              <a:t>2</a:t>
            </a:r>
          </a:p>
        </p:txBody>
      </p:sp>
      <p:sp>
        <p:nvSpPr>
          <p:cNvPr id="127" name="Rectangle 126">
            <a:extLst>
              <a:ext uri="{FF2B5EF4-FFF2-40B4-BE49-F238E27FC236}">
                <a16:creationId xmlns:a16="http://schemas.microsoft.com/office/drawing/2014/main" id="{17B20217-3872-4966-A453-F6C8950843B9}"/>
              </a:ext>
            </a:extLst>
          </p:cNvPr>
          <p:cNvSpPr/>
          <p:nvPr/>
        </p:nvSpPr>
        <p:spPr>
          <a:xfrm>
            <a:off x="10344801" y="3425766"/>
            <a:ext cx="861021" cy="256006"/>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lIns="35942" tIns="35942" rIns="35942" bIns="0" rtlCol="0" anchor="ctr"/>
          <a:lstStyle/>
          <a:p>
            <a:pPr algn="ctr" defTabSz="1087034">
              <a:defRPr/>
            </a:pPr>
            <a:r>
              <a:rPr lang="en-US" sz="1098" b="1" dirty="0">
                <a:solidFill>
                  <a:srgbClr val="427CAC"/>
                </a:solidFill>
                <a:latin typeface="Arial" charset="0"/>
                <a:ea typeface="Arial" charset="0"/>
                <a:cs typeface="Arial" charset="0"/>
              </a:rPr>
              <a:t>SAP IAS</a:t>
            </a:r>
          </a:p>
        </p:txBody>
      </p:sp>
      <p:sp>
        <p:nvSpPr>
          <p:cNvPr id="136" name="Oval 135">
            <a:extLst>
              <a:ext uri="{FF2B5EF4-FFF2-40B4-BE49-F238E27FC236}">
                <a16:creationId xmlns:a16="http://schemas.microsoft.com/office/drawing/2014/main" id="{28BD36C8-F1BB-4E67-86ED-D254C1472234}"/>
              </a:ext>
            </a:extLst>
          </p:cNvPr>
          <p:cNvSpPr/>
          <p:nvPr/>
        </p:nvSpPr>
        <p:spPr bwMode="gray">
          <a:xfrm>
            <a:off x="6669006" y="2175128"/>
            <a:ext cx="249141" cy="256731"/>
          </a:xfrm>
          <a:prstGeom prst="ellipse">
            <a:avLst/>
          </a:prstGeom>
          <a:noFill/>
          <a:ln w="25400" algn="ctr">
            <a:solidFill>
              <a:srgbClr val="00B050"/>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de-DE" sz="900" b="0" i="0" u="none" strike="noStrike" kern="0" cap="none" spc="0" normalizeH="0" baseline="0" noProof="0" dirty="0">
                <a:ln>
                  <a:noFill/>
                </a:ln>
                <a:effectLst/>
                <a:uLnTx/>
                <a:uFillTx/>
                <a:ea typeface="Arial Unicode MS" pitchFamily="34" charset="-128"/>
                <a:cs typeface="Arial Unicode MS" pitchFamily="34" charset="-128"/>
              </a:rPr>
              <a:t>1</a:t>
            </a:r>
            <a:endParaRPr kumimoji="0" lang="en-US" sz="900" b="0" i="0" u="none" strike="noStrike" kern="0" cap="none" spc="0" normalizeH="0" baseline="0" noProof="0" dirty="0">
              <a:ln>
                <a:noFill/>
              </a:ln>
              <a:effectLst/>
              <a:uLnTx/>
              <a:uFillTx/>
              <a:ea typeface="Arial Unicode MS" pitchFamily="34" charset="-128"/>
              <a:cs typeface="Arial Unicode MS" pitchFamily="34" charset="-128"/>
            </a:endParaRPr>
          </a:p>
        </p:txBody>
      </p:sp>
      <p:pic>
        <p:nvPicPr>
          <p:cNvPr id="5" name="Grafik 4">
            <a:extLst>
              <a:ext uri="{FF2B5EF4-FFF2-40B4-BE49-F238E27FC236}">
                <a16:creationId xmlns:a16="http://schemas.microsoft.com/office/drawing/2014/main" id="{0F830047-A147-68DD-A779-586582D49536}"/>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998642" y="2289225"/>
            <a:ext cx="457200" cy="457200"/>
          </a:xfrm>
          <a:prstGeom prst="rect">
            <a:avLst/>
          </a:prstGeom>
        </p:spPr>
      </p:pic>
      <p:cxnSp>
        <p:nvCxnSpPr>
          <p:cNvPr id="6" name="Straight Arrow Connector 18">
            <a:extLst>
              <a:ext uri="{FF2B5EF4-FFF2-40B4-BE49-F238E27FC236}">
                <a16:creationId xmlns:a16="http://schemas.microsoft.com/office/drawing/2014/main" id="{64BB035F-5E4F-DC8C-D8AA-1C5F8B5797EE}"/>
              </a:ext>
            </a:extLst>
          </p:cNvPr>
          <p:cNvCxnSpPr>
            <a:cxnSpLocks/>
            <a:stCxn id="5" idx="1"/>
            <a:endCxn id="12" idx="4"/>
          </p:cNvCxnSpPr>
          <p:nvPr/>
        </p:nvCxnSpPr>
        <p:spPr>
          <a:xfrm rot="10800000">
            <a:off x="6286184" y="2001193"/>
            <a:ext cx="712459" cy="516632"/>
          </a:xfrm>
          <a:prstGeom prst="bentConnector2">
            <a:avLst/>
          </a:prstGeom>
          <a:ln w="25400">
            <a:solidFill>
              <a:schemeClr val="tx1">
                <a:lumMod val="65000"/>
                <a:lumOff val="35000"/>
              </a:schemeClr>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3" name="Oval 2">
            <a:extLst>
              <a:ext uri="{FF2B5EF4-FFF2-40B4-BE49-F238E27FC236}">
                <a16:creationId xmlns:a16="http://schemas.microsoft.com/office/drawing/2014/main" id="{BEE50134-2086-6F35-B4DC-24980866B5A6}"/>
              </a:ext>
            </a:extLst>
          </p:cNvPr>
          <p:cNvSpPr/>
          <p:nvPr/>
        </p:nvSpPr>
        <p:spPr bwMode="gray">
          <a:xfrm>
            <a:off x="8365036" y="2145917"/>
            <a:ext cx="249141" cy="256731"/>
          </a:xfrm>
          <a:prstGeom prst="ellipse">
            <a:avLst/>
          </a:prstGeom>
          <a:noFill/>
          <a:ln w="25400" algn="ctr">
            <a:solidFill>
              <a:srgbClr val="00B050"/>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lang="en-US" sz="900" kern="0" dirty="0">
                <a:ea typeface="Arial Unicode MS" pitchFamily="34" charset="-128"/>
                <a:cs typeface="Arial Unicode MS" pitchFamily="34" charset="-128"/>
              </a:rPr>
              <a:t>4</a:t>
            </a:r>
            <a:endParaRPr kumimoji="0" lang="en-US" sz="9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15" name="Oval 14">
            <a:extLst>
              <a:ext uri="{FF2B5EF4-FFF2-40B4-BE49-F238E27FC236}">
                <a16:creationId xmlns:a16="http://schemas.microsoft.com/office/drawing/2014/main" id="{6DF4DEEA-F5A3-5CDC-C6B9-BD9F93727496}"/>
              </a:ext>
            </a:extLst>
          </p:cNvPr>
          <p:cNvSpPr/>
          <p:nvPr/>
        </p:nvSpPr>
        <p:spPr bwMode="gray">
          <a:xfrm>
            <a:off x="7022179" y="1971748"/>
            <a:ext cx="249141" cy="256731"/>
          </a:xfrm>
          <a:prstGeom prst="ellipse">
            <a:avLst/>
          </a:prstGeom>
          <a:noFill/>
          <a:ln w="25400" algn="ctr">
            <a:solidFill>
              <a:srgbClr val="00B050"/>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900" b="0" i="0" u="none" strike="noStrike" kern="0" cap="none" spc="0" normalizeH="0" baseline="0" noProof="0" dirty="0">
                <a:ln>
                  <a:noFill/>
                </a:ln>
                <a:effectLst/>
                <a:uLnTx/>
                <a:uFillTx/>
                <a:ea typeface="Arial Unicode MS" pitchFamily="34" charset="-128"/>
                <a:cs typeface="Arial Unicode MS" pitchFamily="34" charset="-128"/>
              </a:rPr>
              <a:t>3</a:t>
            </a:r>
          </a:p>
        </p:txBody>
      </p:sp>
      <p:sp>
        <p:nvSpPr>
          <p:cNvPr id="7" name="Rechteck 42">
            <a:extLst>
              <a:ext uri="{FF2B5EF4-FFF2-40B4-BE49-F238E27FC236}">
                <a16:creationId xmlns:a16="http://schemas.microsoft.com/office/drawing/2014/main" id="{7D965BB6-E2BD-C18C-70E3-85C4C95B6B4E}"/>
              </a:ext>
            </a:extLst>
          </p:cNvPr>
          <p:cNvSpPr/>
          <p:nvPr/>
        </p:nvSpPr>
        <p:spPr>
          <a:xfrm>
            <a:off x="9241513" y="3036773"/>
            <a:ext cx="1411307" cy="253798"/>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lIns="35942" tIns="91292" rIns="35942" bIns="91292" rtlCol="0" anchor="ctr"/>
          <a:lstStyle/>
          <a:p>
            <a:pPr defTabSz="1087034">
              <a:defRPr/>
            </a:pPr>
            <a:r>
              <a:rPr lang="en-US" sz="1098" b="1" dirty="0">
                <a:solidFill>
                  <a:srgbClr val="427CAC"/>
                </a:solidFill>
                <a:latin typeface="Arial" charset="0"/>
                <a:ea typeface="Arial" charset="0"/>
                <a:cs typeface="Arial" charset="0"/>
              </a:rPr>
              <a:t>Cloud Integration</a:t>
            </a:r>
          </a:p>
        </p:txBody>
      </p:sp>
      <p:pic>
        <p:nvPicPr>
          <p:cNvPr id="10" name="Bild 54">
            <a:extLst>
              <a:ext uri="{FF2B5EF4-FFF2-40B4-BE49-F238E27FC236}">
                <a16:creationId xmlns:a16="http://schemas.microsoft.com/office/drawing/2014/main" id="{C41DF94F-1B1F-D4FB-F226-98D26D6D47DC}"/>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652076" y="3056005"/>
            <a:ext cx="596633" cy="596633"/>
          </a:xfrm>
          <a:prstGeom prst="ellipse">
            <a:avLst/>
          </a:prstGeom>
        </p:spPr>
      </p:pic>
      <p:cxnSp>
        <p:nvCxnSpPr>
          <p:cNvPr id="17" name="Straight Arrow Connector 18">
            <a:extLst>
              <a:ext uri="{FF2B5EF4-FFF2-40B4-BE49-F238E27FC236}">
                <a16:creationId xmlns:a16="http://schemas.microsoft.com/office/drawing/2014/main" id="{B8B06692-7401-D73D-9074-1BF9974D4AAD}"/>
              </a:ext>
            </a:extLst>
          </p:cNvPr>
          <p:cNvCxnSpPr>
            <a:cxnSpLocks/>
            <a:stCxn id="108" idx="2"/>
            <a:endCxn id="10" idx="2"/>
          </p:cNvCxnSpPr>
          <p:nvPr/>
        </p:nvCxnSpPr>
        <p:spPr>
          <a:xfrm rot="16200000" flipH="1">
            <a:off x="7784430" y="2486675"/>
            <a:ext cx="310459" cy="1424834"/>
          </a:xfrm>
          <a:prstGeom prst="bentConnector2">
            <a:avLst/>
          </a:prstGeom>
          <a:ln w="25400">
            <a:solidFill>
              <a:schemeClr val="tx1">
                <a:lumMod val="65000"/>
                <a:lumOff val="3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2" name="AutoShape 6" descr="32032-sap-integration-suite_advanced-event-mesh">
            <a:extLst>
              <a:ext uri="{FF2B5EF4-FFF2-40B4-BE49-F238E27FC236}">
                <a16:creationId xmlns:a16="http://schemas.microsoft.com/office/drawing/2014/main" id="{9D161927-A857-E425-524F-0CF95EC45552}"/>
              </a:ext>
            </a:extLst>
          </p:cNvPr>
          <p:cNvSpPr>
            <a:spLocks noChangeAspect="1" noChangeArrowheads="1"/>
          </p:cNvSpPr>
          <p:nvPr/>
        </p:nvSpPr>
        <p:spPr bwMode="auto">
          <a:xfrm>
            <a:off x="4049353" y="2435785"/>
            <a:ext cx="6960391" cy="696039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DE"/>
          </a:p>
        </p:txBody>
      </p:sp>
      <p:pic>
        <p:nvPicPr>
          <p:cNvPr id="35" name="Picture 34">
            <a:extLst>
              <a:ext uri="{FF2B5EF4-FFF2-40B4-BE49-F238E27FC236}">
                <a16:creationId xmlns:a16="http://schemas.microsoft.com/office/drawing/2014/main" id="{9B101621-0AA4-F485-793A-77F521438C0D}"/>
              </a:ext>
            </a:extLst>
          </p:cNvPr>
          <p:cNvPicPr>
            <a:picLocks noChangeAspect="1"/>
          </p:cNvPicPr>
          <p:nvPr/>
        </p:nvPicPr>
        <p:blipFill>
          <a:blip r:embed="rId9"/>
          <a:stretch>
            <a:fillRect/>
          </a:stretch>
        </p:blipFill>
        <p:spPr>
          <a:xfrm>
            <a:off x="5894413" y="3225825"/>
            <a:ext cx="406349" cy="406349"/>
          </a:xfrm>
          <a:prstGeom prst="rect">
            <a:avLst/>
          </a:prstGeom>
        </p:spPr>
      </p:pic>
      <p:pic>
        <p:nvPicPr>
          <p:cNvPr id="37" name="Picture 36">
            <a:extLst>
              <a:ext uri="{FF2B5EF4-FFF2-40B4-BE49-F238E27FC236}">
                <a16:creationId xmlns:a16="http://schemas.microsoft.com/office/drawing/2014/main" id="{21A6862F-BC67-0471-6250-B010C6C1DC8D}"/>
              </a:ext>
            </a:extLst>
          </p:cNvPr>
          <p:cNvPicPr>
            <a:picLocks noChangeAspect="1"/>
          </p:cNvPicPr>
          <p:nvPr/>
        </p:nvPicPr>
        <p:blipFill>
          <a:blip r:embed="rId10"/>
          <a:stretch>
            <a:fillRect/>
          </a:stretch>
        </p:blipFill>
        <p:spPr>
          <a:xfrm>
            <a:off x="8708240" y="2241224"/>
            <a:ext cx="457747" cy="506871"/>
          </a:xfrm>
          <a:prstGeom prst="rect">
            <a:avLst/>
          </a:prstGeom>
        </p:spPr>
      </p:pic>
      <p:sp>
        <p:nvSpPr>
          <p:cNvPr id="39" name="Rechteck 42">
            <a:extLst>
              <a:ext uri="{FF2B5EF4-FFF2-40B4-BE49-F238E27FC236}">
                <a16:creationId xmlns:a16="http://schemas.microsoft.com/office/drawing/2014/main" id="{58018323-6176-F026-5C7E-739D36B2B8F6}"/>
              </a:ext>
            </a:extLst>
          </p:cNvPr>
          <p:cNvSpPr/>
          <p:nvPr/>
        </p:nvSpPr>
        <p:spPr>
          <a:xfrm>
            <a:off x="9265310" y="2181987"/>
            <a:ext cx="1566645" cy="253798"/>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lIns="35942" tIns="91292" rIns="35942" bIns="91292" rtlCol="0" anchor="ctr"/>
          <a:lstStyle/>
          <a:p>
            <a:pPr defTabSz="1087034">
              <a:defRPr/>
            </a:pPr>
            <a:r>
              <a:rPr lang="en-US" sz="1098" b="1" dirty="0">
                <a:solidFill>
                  <a:srgbClr val="427CAC"/>
                </a:solidFill>
                <a:latin typeface="Arial" charset="0"/>
                <a:ea typeface="Arial" charset="0"/>
                <a:cs typeface="Arial" charset="0"/>
              </a:rPr>
              <a:t>Process Automation</a:t>
            </a:r>
          </a:p>
        </p:txBody>
      </p:sp>
      <p:cxnSp>
        <p:nvCxnSpPr>
          <p:cNvPr id="41" name="Straight Arrow Connector 18">
            <a:extLst>
              <a:ext uri="{FF2B5EF4-FFF2-40B4-BE49-F238E27FC236}">
                <a16:creationId xmlns:a16="http://schemas.microsoft.com/office/drawing/2014/main" id="{DE66478B-804A-8F96-A29D-F4A3D9696E0C}"/>
              </a:ext>
            </a:extLst>
          </p:cNvPr>
          <p:cNvCxnSpPr>
            <a:cxnSpLocks/>
          </p:cNvCxnSpPr>
          <p:nvPr/>
        </p:nvCxnSpPr>
        <p:spPr>
          <a:xfrm flipH="1">
            <a:off x="7529548" y="2516935"/>
            <a:ext cx="1153209" cy="0"/>
          </a:xfrm>
          <a:prstGeom prst="straightConnector1">
            <a:avLst/>
          </a:prstGeom>
          <a:ln w="25400">
            <a:solidFill>
              <a:schemeClr val="tx1">
                <a:lumMod val="65000"/>
                <a:lumOff val="3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6059985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8200B3-C920-3B9E-DEDA-CEDB98D4B554}"/>
              </a:ext>
            </a:extLst>
          </p:cNvPr>
          <p:cNvSpPr>
            <a:spLocks noGrp="1"/>
          </p:cNvSpPr>
          <p:nvPr>
            <p:ph type="title"/>
          </p:nvPr>
        </p:nvSpPr>
        <p:spPr>
          <a:xfrm>
            <a:off x="504001" y="504000"/>
            <a:ext cx="11186476" cy="738664"/>
          </a:xfrm>
        </p:spPr>
        <p:txBody>
          <a:bodyPr/>
          <a:lstStyle/>
          <a:p>
            <a:r>
              <a:rPr lang="en-DE" dirty="0"/>
              <a:t>The World is Real Time – </a:t>
            </a:r>
            <a:r>
              <a:rPr lang="en-DE"/>
              <a:t>Use Cases</a:t>
            </a:r>
            <a:br>
              <a:rPr lang="de-DE" dirty="0"/>
            </a:br>
            <a:r>
              <a:rPr lang="de-DE" dirty="0" err="1">
                <a:solidFill>
                  <a:srgbClr val="FFC000"/>
                </a:solidFill>
              </a:rPr>
              <a:t>What</a:t>
            </a:r>
            <a:r>
              <a:rPr lang="de-DE" dirty="0">
                <a:solidFill>
                  <a:srgbClr val="FFC000"/>
                </a:solidFill>
              </a:rPr>
              <a:t> </a:t>
            </a:r>
            <a:r>
              <a:rPr lang="de-DE" dirty="0" err="1">
                <a:solidFill>
                  <a:srgbClr val="FFC000"/>
                </a:solidFill>
              </a:rPr>
              <a:t>is</a:t>
            </a:r>
            <a:r>
              <a:rPr lang="de-DE" dirty="0">
                <a:solidFill>
                  <a:srgbClr val="FFC000"/>
                </a:solidFill>
              </a:rPr>
              <a:t> </a:t>
            </a:r>
            <a:r>
              <a:rPr lang="de-DE" dirty="0" err="1">
                <a:solidFill>
                  <a:srgbClr val="FFC000"/>
                </a:solidFill>
              </a:rPr>
              <a:t>your</a:t>
            </a:r>
            <a:r>
              <a:rPr lang="de-DE" dirty="0">
                <a:solidFill>
                  <a:srgbClr val="FFC000"/>
                </a:solidFill>
              </a:rPr>
              <a:t> Motivation and Use Case?</a:t>
            </a:r>
            <a:endParaRPr lang="en-DE" dirty="0">
              <a:solidFill>
                <a:srgbClr val="FFC000"/>
              </a:solidFill>
            </a:endParaRPr>
          </a:p>
        </p:txBody>
      </p:sp>
      <p:pic>
        <p:nvPicPr>
          <p:cNvPr id="5" name="Picture 4">
            <a:extLst>
              <a:ext uri="{FF2B5EF4-FFF2-40B4-BE49-F238E27FC236}">
                <a16:creationId xmlns:a16="http://schemas.microsoft.com/office/drawing/2014/main" id="{04D2FA14-E321-595D-12D1-1632CCD9983E}"/>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04001" y="1430804"/>
            <a:ext cx="3487896" cy="2322007"/>
          </a:xfrm>
          <a:prstGeom prst="rect">
            <a:avLst/>
          </a:prstGeom>
          <a:ln>
            <a:noFill/>
          </a:ln>
          <a:effectLst>
            <a:softEdge rad="112500"/>
          </a:effectLst>
        </p:spPr>
      </p:pic>
      <p:pic>
        <p:nvPicPr>
          <p:cNvPr id="7" name="Picture 6">
            <a:extLst>
              <a:ext uri="{FF2B5EF4-FFF2-40B4-BE49-F238E27FC236}">
                <a16:creationId xmlns:a16="http://schemas.microsoft.com/office/drawing/2014/main" id="{62CBEAD7-3A80-E745-BCAB-CD363E6B66EF}"/>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193918" y="1430804"/>
            <a:ext cx="3483011" cy="2322007"/>
          </a:xfrm>
          <a:prstGeom prst="rect">
            <a:avLst/>
          </a:prstGeom>
          <a:ln>
            <a:noFill/>
          </a:ln>
          <a:effectLst>
            <a:softEdge rad="112500"/>
          </a:effectLst>
        </p:spPr>
      </p:pic>
      <p:pic>
        <p:nvPicPr>
          <p:cNvPr id="9" name="Picture 8">
            <a:extLst>
              <a:ext uri="{FF2B5EF4-FFF2-40B4-BE49-F238E27FC236}">
                <a16:creationId xmlns:a16="http://schemas.microsoft.com/office/drawing/2014/main" id="{49A5BC33-718E-FE8C-ACC1-4BC1EE2DD33C}"/>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4050762" y="4225660"/>
            <a:ext cx="3483012" cy="2322008"/>
          </a:xfrm>
          <a:prstGeom prst="rect">
            <a:avLst/>
          </a:prstGeom>
          <a:ln>
            <a:noFill/>
          </a:ln>
          <a:effectLst>
            <a:softEdge rad="112500"/>
          </a:effectLst>
        </p:spPr>
      </p:pic>
      <p:sp>
        <p:nvSpPr>
          <p:cNvPr id="12" name="TextBox 11">
            <a:extLst>
              <a:ext uri="{FF2B5EF4-FFF2-40B4-BE49-F238E27FC236}">
                <a16:creationId xmlns:a16="http://schemas.microsoft.com/office/drawing/2014/main" id="{B8BEC5E6-4175-018C-2A6A-20EDB8B5DF51}"/>
              </a:ext>
            </a:extLst>
          </p:cNvPr>
          <p:cNvSpPr txBox="1"/>
          <p:nvPr/>
        </p:nvSpPr>
        <p:spPr>
          <a:xfrm>
            <a:off x="7784729" y="4815328"/>
            <a:ext cx="1828800" cy="1107996"/>
          </a:xfrm>
          <a:prstGeom prst="rect">
            <a:avLst/>
          </a:prstGeom>
          <a:noFill/>
        </p:spPr>
        <p:txBody>
          <a:bodyPr wrap="square" lIns="0" tIns="0" rIns="0" bIns="0" rtlCol="0">
            <a:spAutoFit/>
          </a:bodyPr>
          <a:lstStyle/>
          <a:p>
            <a:pPr algn="l" fontAlgn="base">
              <a:spcBef>
                <a:spcPct val="50000"/>
              </a:spcBef>
              <a:spcAft>
                <a:spcPct val="0"/>
              </a:spcAft>
              <a:buClr>
                <a:schemeClr val="tx1"/>
              </a:buClr>
              <a:buSzPct val="100000"/>
            </a:pPr>
            <a:r>
              <a:rPr lang="en-DE" sz="1800" kern="0" dirty="0">
                <a:latin typeface="72 Brand" panose="020B0504030603020204" pitchFamily="34" charset="0"/>
                <a:ea typeface="Arial Unicode MS" pitchFamily="34" charset="-128"/>
                <a:cs typeface="Arial Unicode MS" pitchFamily="34" charset="-128"/>
              </a:rPr>
              <a:t>Passengers want to be informed of gate changes and delays</a:t>
            </a:r>
          </a:p>
        </p:txBody>
      </p:sp>
      <p:sp>
        <p:nvSpPr>
          <p:cNvPr id="13" name="TextBox 12">
            <a:extLst>
              <a:ext uri="{FF2B5EF4-FFF2-40B4-BE49-F238E27FC236}">
                <a16:creationId xmlns:a16="http://schemas.microsoft.com/office/drawing/2014/main" id="{AAD46425-CCA7-D50E-5A46-7DF2115B4238}"/>
              </a:ext>
            </a:extLst>
          </p:cNvPr>
          <p:cNvSpPr txBox="1"/>
          <p:nvPr/>
        </p:nvSpPr>
        <p:spPr>
          <a:xfrm>
            <a:off x="9931850" y="1795281"/>
            <a:ext cx="1828800" cy="1384995"/>
          </a:xfrm>
          <a:prstGeom prst="rect">
            <a:avLst/>
          </a:prstGeom>
          <a:noFill/>
        </p:spPr>
        <p:txBody>
          <a:bodyPr wrap="square" lIns="0" tIns="0" rIns="0" bIns="0" rtlCol="0">
            <a:spAutoFit/>
          </a:bodyPr>
          <a:lstStyle/>
          <a:p>
            <a:pPr algn="l" fontAlgn="base">
              <a:spcBef>
                <a:spcPct val="50000"/>
              </a:spcBef>
              <a:spcAft>
                <a:spcPct val="0"/>
              </a:spcAft>
              <a:buClr>
                <a:schemeClr val="tx1"/>
              </a:buClr>
              <a:buSzPct val="100000"/>
            </a:pPr>
            <a:r>
              <a:rPr lang="en-DE" sz="1800" kern="0" dirty="0">
                <a:latin typeface="72 Brand" panose="020B0504030603020204" pitchFamily="34" charset="0"/>
                <a:ea typeface="Arial Unicode MS" pitchFamily="34" charset="-128"/>
                <a:cs typeface="Arial Unicode MS" pitchFamily="34" charset="-128"/>
              </a:rPr>
              <a:t>Maintenance teams need to know of breakdown as soon as possible</a:t>
            </a:r>
          </a:p>
        </p:txBody>
      </p:sp>
      <p:sp>
        <p:nvSpPr>
          <p:cNvPr id="14" name="TextBox 13">
            <a:extLst>
              <a:ext uri="{FF2B5EF4-FFF2-40B4-BE49-F238E27FC236}">
                <a16:creationId xmlns:a16="http://schemas.microsoft.com/office/drawing/2014/main" id="{5F45A996-9B78-44C2-ED25-F779407DC781}"/>
              </a:ext>
            </a:extLst>
          </p:cNvPr>
          <p:cNvSpPr txBox="1"/>
          <p:nvPr/>
        </p:nvSpPr>
        <p:spPr>
          <a:xfrm>
            <a:off x="858981" y="3910528"/>
            <a:ext cx="2372224" cy="830997"/>
          </a:xfrm>
          <a:prstGeom prst="rect">
            <a:avLst/>
          </a:prstGeom>
          <a:noFill/>
        </p:spPr>
        <p:txBody>
          <a:bodyPr wrap="square" lIns="0" tIns="0" rIns="0" bIns="0" rtlCol="0">
            <a:spAutoFit/>
          </a:bodyPr>
          <a:lstStyle/>
          <a:p>
            <a:pPr algn="l" fontAlgn="base">
              <a:spcBef>
                <a:spcPct val="50000"/>
              </a:spcBef>
              <a:spcAft>
                <a:spcPct val="0"/>
              </a:spcAft>
              <a:buClr>
                <a:schemeClr val="tx1"/>
              </a:buClr>
              <a:buSzPct val="100000"/>
            </a:pPr>
            <a:r>
              <a:rPr lang="en-DE" sz="1800" kern="0" dirty="0">
                <a:latin typeface="72 Brand" panose="020B0504030603020204" pitchFamily="34" charset="0"/>
                <a:ea typeface="Arial Unicode MS" pitchFamily="34" charset="-128"/>
                <a:cs typeface="Arial Unicode MS" pitchFamily="34" charset="-128"/>
              </a:rPr>
              <a:t>Inventories must be updated as soon as sales happen</a:t>
            </a:r>
          </a:p>
        </p:txBody>
      </p:sp>
    </p:spTree>
    <p:extLst>
      <p:ext uri="{BB962C8B-B14F-4D97-AF65-F5344CB8AC3E}">
        <p14:creationId xmlns:p14="http://schemas.microsoft.com/office/powerpoint/2010/main" val="455073347"/>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Agenda items"/>
          <p:cNvSpPr>
            <a:spLocks noGrp="1"/>
          </p:cNvSpPr>
          <p:nvPr>
            <p:ph type="body" sz="quarter" idx="10"/>
          </p:nvPr>
        </p:nvSpPr>
        <p:spPr bwMode="gray">
          <a:xfrm>
            <a:off x="504000" y="1005142"/>
            <a:ext cx="11185200" cy="5330758"/>
          </a:xfrm>
        </p:spPr>
        <p:txBody>
          <a:bodyPr>
            <a:noAutofit/>
          </a:bodyPr>
          <a:lstStyle/>
          <a:p>
            <a:pPr marL="180000" indent="-285750">
              <a:buFont typeface="Arial" panose="020B0604020202020204" pitchFamily="34" charset="0"/>
              <a:buChar char="•"/>
            </a:pPr>
            <a:r>
              <a:rPr lang="en-US" sz="1600" dirty="0"/>
              <a:t>Event Management</a:t>
            </a:r>
          </a:p>
          <a:p>
            <a:pPr marL="887179" lvl="1" indent="-342900">
              <a:buFont typeface="Arial" panose="020B0604020202020204" pitchFamily="34" charset="0"/>
              <a:buChar char="•"/>
            </a:pPr>
            <a:r>
              <a:rPr lang="de-DE" sz="1600" kern="1200" dirty="0">
                <a:solidFill>
                  <a:schemeClr val="tx1"/>
                </a:solidFill>
                <a:effectLst/>
                <a:latin typeface="+mn-lt"/>
                <a:ea typeface="+mn-ea"/>
                <a:cs typeface="+mn-cs"/>
              </a:rPr>
              <a:t>Event Portal</a:t>
            </a:r>
          </a:p>
          <a:p>
            <a:pPr marL="887179" lvl="1" indent="-342900">
              <a:buFont typeface="Arial" panose="020B0604020202020204" pitchFamily="34" charset="0"/>
              <a:buChar char="•"/>
            </a:pPr>
            <a:r>
              <a:rPr lang="de-DE" sz="1600" kern="1200" dirty="0">
                <a:solidFill>
                  <a:schemeClr val="tx1"/>
                </a:solidFill>
                <a:effectLst/>
                <a:latin typeface="+mn-lt"/>
                <a:ea typeface="+mn-ea"/>
                <a:cs typeface="+mn-cs"/>
              </a:rPr>
              <a:t>Event </a:t>
            </a:r>
            <a:r>
              <a:rPr lang="de-DE" sz="1600" kern="1200" dirty="0" err="1">
                <a:solidFill>
                  <a:schemeClr val="tx1"/>
                </a:solidFill>
                <a:effectLst/>
                <a:latin typeface="+mn-lt"/>
                <a:ea typeface="+mn-ea"/>
                <a:cs typeface="+mn-cs"/>
              </a:rPr>
              <a:t>Approval</a:t>
            </a:r>
            <a:r>
              <a:rPr lang="de-DE" sz="1600" dirty="0">
                <a:latin typeface="+mn-lt"/>
              </a:rPr>
              <a:t> </a:t>
            </a:r>
            <a:r>
              <a:rPr lang="de-DE" sz="1600" dirty="0" err="1">
                <a:latin typeface="+mn-lt"/>
              </a:rPr>
              <a:t>Process</a:t>
            </a:r>
            <a:r>
              <a:rPr lang="de-DE" sz="1600" dirty="0">
                <a:latin typeface="+mn-lt"/>
              </a:rPr>
              <a:t> </a:t>
            </a:r>
            <a:endParaRPr lang="de-DE" sz="2000" kern="1200" dirty="0">
              <a:solidFill>
                <a:schemeClr val="tx1"/>
              </a:solidFill>
              <a:effectLst/>
              <a:latin typeface="+mn-lt"/>
              <a:ea typeface="+mn-ea"/>
              <a:cs typeface="+mn-cs"/>
            </a:endParaRPr>
          </a:p>
          <a:p>
            <a:pPr marL="180000" indent="-342900">
              <a:spcBef>
                <a:spcPts val="1200"/>
              </a:spcBef>
              <a:buFont typeface="Arial" panose="020B0604020202020204" pitchFamily="34" charset="0"/>
              <a:buChar char="•"/>
            </a:pPr>
            <a:r>
              <a:rPr lang="de-DE" sz="1600" dirty="0"/>
              <a:t>Event </a:t>
            </a:r>
            <a:r>
              <a:rPr lang="de-DE" sz="1600" dirty="0" err="1"/>
              <a:t>Insights</a:t>
            </a:r>
            <a:r>
              <a:rPr lang="de-DE" sz="1600" dirty="0"/>
              <a:t> </a:t>
            </a:r>
          </a:p>
          <a:p>
            <a:pPr marL="887179" lvl="1" indent="-342900">
              <a:buFont typeface="Arial" panose="020B0604020202020204" pitchFamily="34" charset="0"/>
              <a:buChar char="•"/>
            </a:pPr>
            <a:r>
              <a:rPr lang="de-DE" sz="1600" dirty="0"/>
              <a:t>Monitoring</a:t>
            </a:r>
          </a:p>
          <a:p>
            <a:pPr marL="887179" lvl="1" indent="-342900">
              <a:buFont typeface="Arial" panose="020B0604020202020204" pitchFamily="34" charset="0"/>
              <a:buChar char="•"/>
            </a:pPr>
            <a:r>
              <a:rPr lang="de-DE" sz="1600" dirty="0">
                <a:latin typeface="+mn-lt"/>
              </a:rPr>
              <a:t>Distributed Tracing</a:t>
            </a:r>
          </a:p>
          <a:p>
            <a:pPr marL="180000" indent="-285750" rtl="0" fontAlgn="ctr">
              <a:spcBef>
                <a:spcPts val="1200"/>
              </a:spcBef>
              <a:spcAft>
                <a:spcPts val="0"/>
              </a:spcAft>
              <a:buFont typeface="Arial" panose="020B0604020202020204" pitchFamily="34" charset="0"/>
              <a:buChar char="•"/>
            </a:pPr>
            <a:r>
              <a:rPr lang="en-US" sz="1600" dirty="0">
                <a:effectLst/>
              </a:rPr>
              <a:t>Advanced Event Mesh – API’s</a:t>
            </a:r>
          </a:p>
          <a:p>
            <a:pPr marL="0" lvl="1" indent="0">
              <a:buNone/>
            </a:pPr>
            <a:endParaRPr lang="en-US" sz="1200" dirty="0"/>
          </a:p>
          <a:p>
            <a:pPr lvl="1"/>
            <a:endParaRPr lang="en-US" sz="1200" dirty="0"/>
          </a:p>
        </p:txBody>
      </p:sp>
      <p:sp>
        <p:nvSpPr>
          <p:cNvPr id="2" name="Agenda"/>
          <p:cNvSpPr>
            <a:spLocks noGrp="1"/>
          </p:cNvSpPr>
          <p:nvPr>
            <p:ph type="title"/>
          </p:nvPr>
        </p:nvSpPr>
        <p:spPr bwMode="gray">
          <a:xfrm>
            <a:off x="517525" y="505381"/>
            <a:ext cx="11186476" cy="369332"/>
          </a:xfrm>
        </p:spPr>
        <p:txBody>
          <a:bodyPr/>
          <a:lstStyle/>
          <a:p>
            <a:r>
              <a:rPr lang="en-US" dirty="0"/>
              <a:t>Topic 4 - Agenda</a:t>
            </a:r>
          </a:p>
        </p:txBody>
      </p:sp>
    </p:spTree>
    <p:custDataLst>
      <p:custData r:id="rId1"/>
      <p:custData r:id="rId2"/>
    </p:custDataLst>
    <p:extLst>
      <p:ext uri="{BB962C8B-B14F-4D97-AF65-F5344CB8AC3E}">
        <p14:creationId xmlns:p14="http://schemas.microsoft.com/office/powerpoint/2010/main" val="380757853"/>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F701E04F-6056-D519-8214-081FCBB760C7}"/>
              </a:ext>
            </a:extLst>
          </p:cNvPr>
          <p:cNvSpPr>
            <a:spLocks noGrp="1"/>
          </p:cNvSpPr>
          <p:nvPr>
            <p:ph type="body" sz="quarter" idx="10"/>
          </p:nvPr>
        </p:nvSpPr>
        <p:spPr>
          <a:xfrm>
            <a:off x="504000" y="1074944"/>
            <a:ext cx="11186477" cy="5260956"/>
          </a:xfrm>
        </p:spPr>
        <p:txBody>
          <a:bodyPr>
            <a:normAutofit/>
          </a:bodyPr>
          <a:lstStyle/>
          <a:p>
            <a:pPr marL="0" marR="0">
              <a:spcBef>
                <a:spcPts val="0"/>
              </a:spcBef>
              <a:spcAft>
                <a:spcPts val="0"/>
              </a:spcAft>
            </a:pPr>
            <a:r>
              <a:rPr lang="en-US" sz="1500" dirty="0">
                <a:latin typeface="72" panose="020B0503030000000003" pitchFamily="34" charset="0"/>
                <a:cs typeface="72" panose="020B0503030000000003" pitchFamily="34" charset="0"/>
              </a:rPr>
              <a:t>Discover pre configured Application Domains (Import the </a:t>
            </a:r>
            <a:r>
              <a:rPr lang="en-US" sz="1500" dirty="0" err="1">
                <a:latin typeface="72" panose="020B0503030000000003" pitchFamily="34" charset="0"/>
                <a:cs typeface="72" panose="020B0503030000000003" pitchFamily="34" charset="0"/>
              </a:rPr>
              <a:t>json</a:t>
            </a:r>
            <a:r>
              <a:rPr lang="en-US" sz="1500" dirty="0">
                <a:latin typeface="72" panose="020B0503030000000003" pitchFamily="34" charset="0"/>
                <a:cs typeface="72" panose="020B0503030000000003" pitchFamily="34" charset="0"/>
              </a:rPr>
              <a:t> content)</a:t>
            </a:r>
          </a:p>
          <a:p>
            <a:pPr marL="0" marR="0">
              <a:spcBef>
                <a:spcPts val="0"/>
              </a:spcBef>
              <a:spcAft>
                <a:spcPts val="0"/>
              </a:spcAft>
            </a:pPr>
            <a:endParaRPr lang="de-DE" sz="1500" dirty="0">
              <a:effectLst/>
              <a:latin typeface="72" panose="020B0503030000000003" pitchFamily="34" charset="0"/>
              <a:cs typeface="72" panose="020B0503030000000003" pitchFamily="34" charset="0"/>
            </a:endParaRPr>
          </a:p>
        </p:txBody>
      </p:sp>
      <p:sp>
        <p:nvSpPr>
          <p:cNvPr id="24" name="Title"/>
          <p:cNvSpPr>
            <a:spLocks noGrp="1"/>
          </p:cNvSpPr>
          <p:nvPr>
            <p:ph type="title"/>
          </p:nvPr>
        </p:nvSpPr>
        <p:spPr bwMode="gray">
          <a:xfrm>
            <a:off x="504001" y="504000"/>
            <a:ext cx="11186476" cy="369332"/>
          </a:xfrm>
        </p:spPr>
        <p:txBody>
          <a:bodyPr/>
          <a:lstStyle/>
          <a:p>
            <a:r>
              <a:rPr lang="en-US" sz="2400" dirty="0"/>
              <a:t>Event Management - </a:t>
            </a:r>
            <a:r>
              <a:rPr lang="en-US" dirty="0"/>
              <a:t>Event Portal</a:t>
            </a:r>
          </a:p>
        </p:txBody>
      </p:sp>
      <p:pic>
        <p:nvPicPr>
          <p:cNvPr id="3" name="Picture 2">
            <a:extLst>
              <a:ext uri="{FF2B5EF4-FFF2-40B4-BE49-F238E27FC236}">
                <a16:creationId xmlns:a16="http://schemas.microsoft.com/office/drawing/2014/main" id="{A30F2058-D1D2-9299-A30A-5022025BAAD6}"/>
              </a:ext>
            </a:extLst>
          </p:cNvPr>
          <p:cNvPicPr>
            <a:picLocks noChangeAspect="1"/>
          </p:cNvPicPr>
          <p:nvPr/>
        </p:nvPicPr>
        <p:blipFill>
          <a:blip r:embed="rId5"/>
          <a:stretch>
            <a:fillRect/>
          </a:stretch>
        </p:blipFill>
        <p:spPr>
          <a:xfrm>
            <a:off x="588091" y="2700767"/>
            <a:ext cx="5188089" cy="3635133"/>
          </a:xfrm>
          <a:prstGeom prst="rect">
            <a:avLst/>
          </a:prstGeom>
        </p:spPr>
      </p:pic>
      <p:pic>
        <p:nvPicPr>
          <p:cNvPr id="6" name="Picture 5">
            <a:extLst>
              <a:ext uri="{FF2B5EF4-FFF2-40B4-BE49-F238E27FC236}">
                <a16:creationId xmlns:a16="http://schemas.microsoft.com/office/drawing/2014/main" id="{51776C67-163C-5037-AF1A-0D218978F66B}"/>
              </a:ext>
            </a:extLst>
          </p:cNvPr>
          <p:cNvPicPr>
            <a:picLocks noChangeAspect="1"/>
          </p:cNvPicPr>
          <p:nvPr/>
        </p:nvPicPr>
        <p:blipFill>
          <a:blip r:embed="rId6"/>
          <a:stretch>
            <a:fillRect/>
          </a:stretch>
        </p:blipFill>
        <p:spPr>
          <a:xfrm>
            <a:off x="5576838" y="2648423"/>
            <a:ext cx="3156490" cy="2400567"/>
          </a:xfrm>
          <a:prstGeom prst="rect">
            <a:avLst/>
          </a:prstGeom>
        </p:spPr>
      </p:pic>
      <p:pic>
        <p:nvPicPr>
          <p:cNvPr id="8" name="Picture 7">
            <a:extLst>
              <a:ext uri="{FF2B5EF4-FFF2-40B4-BE49-F238E27FC236}">
                <a16:creationId xmlns:a16="http://schemas.microsoft.com/office/drawing/2014/main" id="{48FA9D7D-C411-A2D8-C5AF-3FA986829E5B}"/>
              </a:ext>
            </a:extLst>
          </p:cNvPr>
          <p:cNvPicPr>
            <a:picLocks noChangeAspect="1"/>
          </p:cNvPicPr>
          <p:nvPr/>
        </p:nvPicPr>
        <p:blipFill>
          <a:blip r:embed="rId7"/>
          <a:stretch>
            <a:fillRect/>
          </a:stretch>
        </p:blipFill>
        <p:spPr>
          <a:xfrm>
            <a:off x="504000" y="1410328"/>
            <a:ext cx="5272180" cy="1181696"/>
          </a:xfrm>
          <a:prstGeom prst="rect">
            <a:avLst/>
          </a:prstGeom>
        </p:spPr>
      </p:pic>
      <p:sp>
        <p:nvSpPr>
          <p:cNvPr id="9" name="Rectangle 8">
            <a:extLst>
              <a:ext uri="{FF2B5EF4-FFF2-40B4-BE49-F238E27FC236}">
                <a16:creationId xmlns:a16="http://schemas.microsoft.com/office/drawing/2014/main" id="{B0CDAA42-47CB-B3F3-61AF-7CFDE3B8B65B}"/>
              </a:ext>
            </a:extLst>
          </p:cNvPr>
          <p:cNvSpPr/>
          <p:nvPr/>
        </p:nvSpPr>
        <p:spPr bwMode="gray">
          <a:xfrm>
            <a:off x="4564685" y="2370125"/>
            <a:ext cx="1243584" cy="183401"/>
          </a:xfrm>
          <a:prstGeom prst="rect">
            <a:avLst/>
          </a:prstGeom>
          <a:noFill/>
          <a:ln>
            <a:headEnd/>
            <a:tailEnd/>
          </a:ln>
        </p:spPr>
        <p:style>
          <a:lnRef idx="2">
            <a:schemeClr val="accent1"/>
          </a:lnRef>
          <a:fillRef idx="1">
            <a:schemeClr val="lt1"/>
          </a:fillRef>
          <a:effectRef idx="0">
            <a:schemeClr val="accent1"/>
          </a:effectRef>
          <a:fontRef idx="minor">
            <a:schemeClr val="dk1"/>
          </a:fontRef>
        </p:style>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DE" sz="1800" b="0" i="0" u="none" strike="noStrike" kern="0" cap="none" spc="0" normalizeH="0" baseline="0" noProof="0" dirty="0" err="1">
              <a:ln>
                <a:noFill/>
              </a:ln>
              <a:effectLst/>
              <a:uLnTx/>
              <a:uFillTx/>
              <a:ea typeface="Arial Unicode MS" pitchFamily="34" charset="-128"/>
              <a:cs typeface="Arial Unicode MS" pitchFamily="34" charset="-128"/>
            </a:endParaRPr>
          </a:p>
        </p:txBody>
      </p:sp>
      <p:pic>
        <p:nvPicPr>
          <p:cNvPr id="5" name="Picture 4">
            <a:extLst>
              <a:ext uri="{FF2B5EF4-FFF2-40B4-BE49-F238E27FC236}">
                <a16:creationId xmlns:a16="http://schemas.microsoft.com/office/drawing/2014/main" id="{CAF673C3-BDEB-9148-52F9-E47BD43386DC}"/>
              </a:ext>
            </a:extLst>
          </p:cNvPr>
          <p:cNvPicPr>
            <a:picLocks noChangeAspect="1"/>
          </p:cNvPicPr>
          <p:nvPr/>
        </p:nvPicPr>
        <p:blipFill>
          <a:blip r:embed="rId8"/>
          <a:stretch>
            <a:fillRect/>
          </a:stretch>
        </p:blipFill>
        <p:spPr>
          <a:xfrm>
            <a:off x="7674552" y="1154587"/>
            <a:ext cx="4031969" cy="2874874"/>
          </a:xfrm>
          <a:prstGeom prst="rect">
            <a:avLst/>
          </a:prstGeom>
        </p:spPr>
      </p:pic>
    </p:spTree>
    <p:custDataLst>
      <p:custData r:id="rId1"/>
      <p:custData r:id="rId2"/>
    </p:custDataLst>
    <p:extLst>
      <p:ext uri="{BB962C8B-B14F-4D97-AF65-F5344CB8AC3E}">
        <p14:creationId xmlns:p14="http://schemas.microsoft.com/office/powerpoint/2010/main" val="1292993066"/>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F701E04F-6056-D519-8214-081FCBB760C7}"/>
              </a:ext>
            </a:extLst>
          </p:cNvPr>
          <p:cNvSpPr>
            <a:spLocks noGrp="1"/>
          </p:cNvSpPr>
          <p:nvPr>
            <p:ph type="body" sz="quarter" idx="10"/>
          </p:nvPr>
        </p:nvSpPr>
        <p:spPr>
          <a:xfrm>
            <a:off x="504000" y="1074944"/>
            <a:ext cx="11186477" cy="5260956"/>
          </a:xfrm>
        </p:spPr>
        <p:txBody>
          <a:bodyPr>
            <a:normAutofit/>
          </a:bodyPr>
          <a:lstStyle/>
          <a:p>
            <a:pPr marL="0" marR="0">
              <a:spcBef>
                <a:spcPts val="0"/>
              </a:spcBef>
              <a:spcAft>
                <a:spcPts val="0"/>
              </a:spcAft>
            </a:pPr>
            <a:r>
              <a:rPr lang="en-US" sz="1500" dirty="0">
                <a:latin typeface="72" panose="020B0503030000000003" pitchFamily="34" charset="0"/>
                <a:cs typeface="72" panose="020B0503030000000003" pitchFamily="34" charset="0"/>
              </a:rPr>
              <a:t>Discover pre configured Application Domains (Import the </a:t>
            </a:r>
            <a:r>
              <a:rPr lang="en-US" sz="1500" dirty="0" err="1">
                <a:latin typeface="72" panose="020B0503030000000003" pitchFamily="34" charset="0"/>
                <a:cs typeface="72" panose="020B0503030000000003" pitchFamily="34" charset="0"/>
              </a:rPr>
              <a:t>json</a:t>
            </a:r>
            <a:r>
              <a:rPr lang="en-US" sz="1500" dirty="0">
                <a:latin typeface="72" panose="020B0503030000000003" pitchFamily="34" charset="0"/>
                <a:cs typeface="72" panose="020B0503030000000003" pitchFamily="34" charset="0"/>
              </a:rPr>
              <a:t> content)</a:t>
            </a:r>
          </a:p>
          <a:p>
            <a:pPr marL="0" marR="0">
              <a:spcBef>
                <a:spcPts val="0"/>
              </a:spcBef>
              <a:spcAft>
                <a:spcPts val="0"/>
              </a:spcAft>
            </a:pPr>
            <a:endParaRPr lang="de-DE" sz="1500" dirty="0">
              <a:effectLst/>
              <a:latin typeface="72" panose="020B0503030000000003" pitchFamily="34" charset="0"/>
              <a:cs typeface="72" panose="020B0503030000000003" pitchFamily="34" charset="0"/>
            </a:endParaRPr>
          </a:p>
        </p:txBody>
      </p:sp>
      <p:sp>
        <p:nvSpPr>
          <p:cNvPr id="24" name="Title"/>
          <p:cNvSpPr>
            <a:spLocks noGrp="1"/>
          </p:cNvSpPr>
          <p:nvPr>
            <p:ph type="title"/>
          </p:nvPr>
        </p:nvSpPr>
        <p:spPr bwMode="gray">
          <a:xfrm>
            <a:off x="504001" y="504000"/>
            <a:ext cx="11186476" cy="369332"/>
          </a:xfrm>
        </p:spPr>
        <p:txBody>
          <a:bodyPr/>
          <a:lstStyle/>
          <a:p>
            <a:r>
              <a:rPr lang="en-US" sz="2400" dirty="0"/>
              <a:t>Event Management - </a:t>
            </a:r>
            <a:r>
              <a:rPr lang="en-US" dirty="0"/>
              <a:t>Event Portal</a:t>
            </a:r>
          </a:p>
        </p:txBody>
      </p:sp>
      <p:pic>
        <p:nvPicPr>
          <p:cNvPr id="3" name="Picture 2">
            <a:extLst>
              <a:ext uri="{FF2B5EF4-FFF2-40B4-BE49-F238E27FC236}">
                <a16:creationId xmlns:a16="http://schemas.microsoft.com/office/drawing/2014/main" id="{A30F2058-D1D2-9299-A30A-5022025BAAD6}"/>
              </a:ext>
            </a:extLst>
          </p:cNvPr>
          <p:cNvPicPr>
            <a:picLocks noChangeAspect="1"/>
          </p:cNvPicPr>
          <p:nvPr/>
        </p:nvPicPr>
        <p:blipFill>
          <a:blip r:embed="rId5"/>
          <a:stretch>
            <a:fillRect/>
          </a:stretch>
        </p:blipFill>
        <p:spPr>
          <a:xfrm>
            <a:off x="588091" y="2700767"/>
            <a:ext cx="5188089" cy="3635133"/>
          </a:xfrm>
          <a:prstGeom prst="rect">
            <a:avLst/>
          </a:prstGeom>
        </p:spPr>
      </p:pic>
      <p:pic>
        <p:nvPicPr>
          <p:cNvPr id="6" name="Picture 5">
            <a:extLst>
              <a:ext uri="{FF2B5EF4-FFF2-40B4-BE49-F238E27FC236}">
                <a16:creationId xmlns:a16="http://schemas.microsoft.com/office/drawing/2014/main" id="{51776C67-163C-5037-AF1A-0D218978F66B}"/>
              </a:ext>
            </a:extLst>
          </p:cNvPr>
          <p:cNvPicPr>
            <a:picLocks noChangeAspect="1"/>
          </p:cNvPicPr>
          <p:nvPr/>
        </p:nvPicPr>
        <p:blipFill>
          <a:blip r:embed="rId6"/>
          <a:stretch>
            <a:fillRect/>
          </a:stretch>
        </p:blipFill>
        <p:spPr>
          <a:xfrm>
            <a:off x="5576838" y="2648423"/>
            <a:ext cx="3156490" cy="2400567"/>
          </a:xfrm>
          <a:prstGeom prst="rect">
            <a:avLst/>
          </a:prstGeom>
        </p:spPr>
      </p:pic>
      <p:pic>
        <p:nvPicPr>
          <p:cNvPr id="8" name="Picture 7">
            <a:extLst>
              <a:ext uri="{FF2B5EF4-FFF2-40B4-BE49-F238E27FC236}">
                <a16:creationId xmlns:a16="http://schemas.microsoft.com/office/drawing/2014/main" id="{48FA9D7D-C411-A2D8-C5AF-3FA986829E5B}"/>
              </a:ext>
            </a:extLst>
          </p:cNvPr>
          <p:cNvPicPr>
            <a:picLocks noChangeAspect="1"/>
          </p:cNvPicPr>
          <p:nvPr/>
        </p:nvPicPr>
        <p:blipFill>
          <a:blip r:embed="rId7"/>
          <a:stretch>
            <a:fillRect/>
          </a:stretch>
        </p:blipFill>
        <p:spPr>
          <a:xfrm>
            <a:off x="504000" y="1410328"/>
            <a:ext cx="5272180" cy="1181696"/>
          </a:xfrm>
          <a:prstGeom prst="rect">
            <a:avLst/>
          </a:prstGeom>
        </p:spPr>
      </p:pic>
      <p:sp>
        <p:nvSpPr>
          <p:cNvPr id="9" name="Rectangle 8">
            <a:extLst>
              <a:ext uri="{FF2B5EF4-FFF2-40B4-BE49-F238E27FC236}">
                <a16:creationId xmlns:a16="http://schemas.microsoft.com/office/drawing/2014/main" id="{B0CDAA42-47CB-B3F3-61AF-7CFDE3B8B65B}"/>
              </a:ext>
            </a:extLst>
          </p:cNvPr>
          <p:cNvSpPr/>
          <p:nvPr/>
        </p:nvSpPr>
        <p:spPr bwMode="gray">
          <a:xfrm>
            <a:off x="4564685" y="2370125"/>
            <a:ext cx="1243584" cy="183401"/>
          </a:xfrm>
          <a:prstGeom prst="rect">
            <a:avLst/>
          </a:prstGeom>
          <a:noFill/>
          <a:ln>
            <a:headEnd/>
            <a:tailEnd/>
          </a:ln>
        </p:spPr>
        <p:style>
          <a:lnRef idx="2">
            <a:schemeClr val="accent1"/>
          </a:lnRef>
          <a:fillRef idx="1">
            <a:schemeClr val="lt1"/>
          </a:fillRef>
          <a:effectRef idx="0">
            <a:schemeClr val="accent1"/>
          </a:effectRef>
          <a:fontRef idx="minor">
            <a:schemeClr val="dk1"/>
          </a:fontRef>
        </p:style>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DE" sz="1800" b="0" i="0" u="none" strike="noStrike" kern="0" cap="none" spc="0" normalizeH="0" baseline="0" noProof="0" dirty="0" err="1">
              <a:ln>
                <a:noFill/>
              </a:ln>
              <a:effectLst/>
              <a:uLnTx/>
              <a:uFillTx/>
              <a:ea typeface="Arial Unicode MS" pitchFamily="34" charset="-128"/>
              <a:cs typeface="Arial Unicode MS" pitchFamily="34" charset="-128"/>
            </a:endParaRPr>
          </a:p>
        </p:txBody>
      </p:sp>
      <p:pic>
        <p:nvPicPr>
          <p:cNvPr id="5" name="Picture 4">
            <a:extLst>
              <a:ext uri="{FF2B5EF4-FFF2-40B4-BE49-F238E27FC236}">
                <a16:creationId xmlns:a16="http://schemas.microsoft.com/office/drawing/2014/main" id="{CAF673C3-BDEB-9148-52F9-E47BD43386DC}"/>
              </a:ext>
            </a:extLst>
          </p:cNvPr>
          <p:cNvPicPr>
            <a:picLocks noChangeAspect="1"/>
          </p:cNvPicPr>
          <p:nvPr/>
        </p:nvPicPr>
        <p:blipFill>
          <a:blip r:embed="rId8"/>
          <a:stretch>
            <a:fillRect/>
          </a:stretch>
        </p:blipFill>
        <p:spPr>
          <a:xfrm>
            <a:off x="2326234" y="781867"/>
            <a:ext cx="7814835" cy="5572133"/>
          </a:xfrm>
          <a:prstGeom prst="rect">
            <a:avLst/>
          </a:prstGeom>
        </p:spPr>
      </p:pic>
    </p:spTree>
    <p:custDataLst>
      <p:custData r:id="rId1"/>
      <p:custData r:id="rId2"/>
    </p:custDataLst>
    <p:extLst>
      <p:ext uri="{BB962C8B-B14F-4D97-AF65-F5344CB8AC3E}">
        <p14:creationId xmlns:p14="http://schemas.microsoft.com/office/powerpoint/2010/main" val="38602650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F701E04F-6056-D519-8214-081FCBB760C7}"/>
              </a:ext>
            </a:extLst>
          </p:cNvPr>
          <p:cNvSpPr>
            <a:spLocks noGrp="1"/>
          </p:cNvSpPr>
          <p:nvPr>
            <p:ph type="body" sz="quarter" idx="10"/>
          </p:nvPr>
        </p:nvSpPr>
        <p:spPr>
          <a:xfrm>
            <a:off x="504000" y="1074944"/>
            <a:ext cx="11186477" cy="5260956"/>
          </a:xfrm>
        </p:spPr>
        <p:txBody>
          <a:bodyPr>
            <a:normAutofit/>
          </a:bodyPr>
          <a:lstStyle/>
          <a:p>
            <a:pPr marL="0" marR="0">
              <a:spcBef>
                <a:spcPts val="0"/>
              </a:spcBef>
              <a:spcAft>
                <a:spcPts val="0"/>
              </a:spcAft>
            </a:pPr>
            <a:r>
              <a:rPr lang="en-US" sz="1500" dirty="0">
                <a:latin typeface="72" panose="020B0503030000000003" pitchFamily="34" charset="0"/>
                <a:cs typeface="72" panose="020B0503030000000003" pitchFamily="34" charset="0"/>
              </a:rPr>
              <a:t>Discover pre configured Application Domains (Import the </a:t>
            </a:r>
            <a:r>
              <a:rPr lang="en-US" sz="1500" dirty="0" err="1">
                <a:latin typeface="72" panose="020B0503030000000003" pitchFamily="34" charset="0"/>
                <a:cs typeface="72" panose="020B0503030000000003" pitchFamily="34" charset="0"/>
              </a:rPr>
              <a:t>json</a:t>
            </a:r>
            <a:r>
              <a:rPr lang="en-US" sz="1500" dirty="0">
                <a:latin typeface="72" panose="020B0503030000000003" pitchFamily="34" charset="0"/>
                <a:cs typeface="72" panose="020B0503030000000003" pitchFamily="34" charset="0"/>
              </a:rPr>
              <a:t> content)</a:t>
            </a:r>
          </a:p>
          <a:p>
            <a:pPr marL="0" marR="0">
              <a:spcBef>
                <a:spcPts val="0"/>
              </a:spcBef>
              <a:spcAft>
                <a:spcPts val="0"/>
              </a:spcAft>
            </a:pPr>
            <a:endParaRPr lang="de-DE" sz="1500" dirty="0">
              <a:effectLst/>
              <a:latin typeface="72" panose="020B0503030000000003" pitchFamily="34" charset="0"/>
              <a:cs typeface="72" panose="020B0503030000000003" pitchFamily="34" charset="0"/>
            </a:endParaRPr>
          </a:p>
        </p:txBody>
      </p:sp>
      <p:sp>
        <p:nvSpPr>
          <p:cNvPr id="24" name="Title"/>
          <p:cNvSpPr>
            <a:spLocks noGrp="1"/>
          </p:cNvSpPr>
          <p:nvPr>
            <p:ph type="title"/>
          </p:nvPr>
        </p:nvSpPr>
        <p:spPr bwMode="gray">
          <a:xfrm>
            <a:off x="504001" y="504000"/>
            <a:ext cx="11186476" cy="369332"/>
          </a:xfrm>
        </p:spPr>
        <p:txBody>
          <a:bodyPr/>
          <a:lstStyle/>
          <a:p>
            <a:r>
              <a:rPr lang="en-US" sz="2400" dirty="0"/>
              <a:t>Event Management - </a:t>
            </a:r>
            <a:r>
              <a:rPr lang="en-US" dirty="0"/>
              <a:t>Event Portal</a:t>
            </a:r>
          </a:p>
        </p:txBody>
      </p:sp>
      <p:pic>
        <p:nvPicPr>
          <p:cNvPr id="3" name="Picture 2">
            <a:extLst>
              <a:ext uri="{FF2B5EF4-FFF2-40B4-BE49-F238E27FC236}">
                <a16:creationId xmlns:a16="http://schemas.microsoft.com/office/drawing/2014/main" id="{A30F2058-D1D2-9299-A30A-5022025BAAD6}"/>
              </a:ext>
            </a:extLst>
          </p:cNvPr>
          <p:cNvPicPr>
            <a:picLocks noChangeAspect="1"/>
          </p:cNvPicPr>
          <p:nvPr/>
        </p:nvPicPr>
        <p:blipFill>
          <a:blip r:embed="rId5"/>
          <a:stretch>
            <a:fillRect/>
          </a:stretch>
        </p:blipFill>
        <p:spPr>
          <a:xfrm>
            <a:off x="588091" y="2700767"/>
            <a:ext cx="5188089" cy="3635133"/>
          </a:xfrm>
          <a:prstGeom prst="rect">
            <a:avLst/>
          </a:prstGeom>
        </p:spPr>
      </p:pic>
      <p:pic>
        <p:nvPicPr>
          <p:cNvPr id="8" name="Picture 7">
            <a:extLst>
              <a:ext uri="{FF2B5EF4-FFF2-40B4-BE49-F238E27FC236}">
                <a16:creationId xmlns:a16="http://schemas.microsoft.com/office/drawing/2014/main" id="{48FA9D7D-C411-A2D8-C5AF-3FA986829E5B}"/>
              </a:ext>
            </a:extLst>
          </p:cNvPr>
          <p:cNvPicPr>
            <a:picLocks noChangeAspect="1"/>
          </p:cNvPicPr>
          <p:nvPr/>
        </p:nvPicPr>
        <p:blipFill>
          <a:blip r:embed="rId6"/>
          <a:stretch>
            <a:fillRect/>
          </a:stretch>
        </p:blipFill>
        <p:spPr>
          <a:xfrm>
            <a:off x="504000" y="1410328"/>
            <a:ext cx="5272180" cy="1181696"/>
          </a:xfrm>
          <a:prstGeom prst="rect">
            <a:avLst/>
          </a:prstGeom>
        </p:spPr>
      </p:pic>
      <p:sp>
        <p:nvSpPr>
          <p:cNvPr id="9" name="Rectangle 8">
            <a:extLst>
              <a:ext uri="{FF2B5EF4-FFF2-40B4-BE49-F238E27FC236}">
                <a16:creationId xmlns:a16="http://schemas.microsoft.com/office/drawing/2014/main" id="{B0CDAA42-47CB-B3F3-61AF-7CFDE3B8B65B}"/>
              </a:ext>
            </a:extLst>
          </p:cNvPr>
          <p:cNvSpPr/>
          <p:nvPr/>
        </p:nvSpPr>
        <p:spPr bwMode="gray">
          <a:xfrm>
            <a:off x="4564685" y="2370125"/>
            <a:ext cx="1243584" cy="183401"/>
          </a:xfrm>
          <a:prstGeom prst="rect">
            <a:avLst/>
          </a:prstGeom>
          <a:noFill/>
          <a:ln>
            <a:headEnd/>
            <a:tailEnd/>
          </a:ln>
        </p:spPr>
        <p:style>
          <a:lnRef idx="2">
            <a:schemeClr val="accent1"/>
          </a:lnRef>
          <a:fillRef idx="1">
            <a:schemeClr val="lt1"/>
          </a:fillRef>
          <a:effectRef idx="0">
            <a:schemeClr val="accent1"/>
          </a:effectRef>
          <a:fontRef idx="minor">
            <a:schemeClr val="dk1"/>
          </a:fontRef>
        </p:style>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DE" sz="1800" b="0" i="0" u="none" strike="noStrike" kern="0" cap="none" spc="0" normalizeH="0" baseline="0" noProof="0" dirty="0" err="1">
              <a:ln>
                <a:noFill/>
              </a:ln>
              <a:effectLst/>
              <a:uLnTx/>
              <a:uFillTx/>
              <a:ea typeface="Arial Unicode MS" pitchFamily="34" charset="-128"/>
              <a:cs typeface="Arial Unicode MS" pitchFamily="34" charset="-128"/>
            </a:endParaRPr>
          </a:p>
        </p:txBody>
      </p:sp>
      <p:pic>
        <p:nvPicPr>
          <p:cNvPr id="5" name="Picture 4">
            <a:extLst>
              <a:ext uri="{FF2B5EF4-FFF2-40B4-BE49-F238E27FC236}">
                <a16:creationId xmlns:a16="http://schemas.microsoft.com/office/drawing/2014/main" id="{CAF673C3-BDEB-9148-52F9-E47BD43386DC}"/>
              </a:ext>
            </a:extLst>
          </p:cNvPr>
          <p:cNvPicPr>
            <a:picLocks noChangeAspect="1"/>
          </p:cNvPicPr>
          <p:nvPr/>
        </p:nvPicPr>
        <p:blipFill>
          <a:blip r:embed="rId7"/>
          <a:stretch>
            <a:fillRect/>
          </a:stretch>
        </p:blipFill>
        <p:spPr>
          <a:xfrm>
            <a:off x="7674552" y="1154587"/>
            <a:ext cx="4031969" cy="2874874"/>
          </a:xfrm>
          <a:prstGeom prst="rect">
            <a:avLst/>
          </a:prstGeom>
        </p:spPr>
      </p:pic>
      <p:pic>
        <p:nvPicPr>
          <p:cNvPr id="6" name="Picture 5">
            <a:extLst>
              <a:ext uri="{FF2B5EF4-FFF2-40B4-BE49-F238E27FC236}">
                <a16:creationId xmlns:a16="http://schemas.microsoft.com/office/drawing/2014/main" id="{51776C67-163C-5037-AF1A-0D218978F66B}"/>
              </a:ext>
            </a:extLst>
          </p:cNvPr>
          <p:cNvPicPr>
            <a:picLocks noChangeAspect="1"/>
          </p:cNvPicPr>
          <p:nvPr/>
        </p:nvPicPr>
        <p:blipFill>
          <a:blip r:embed="rId8"/>
          <a:stretch>
            <a:fillRect/>
          </a:stretch>
        </p:blipFill>
        <p:spPr>
          <a:xfrm>
            <a:off x="2311622" y="522100"/>
            <a:ext cx="7571232" cy="5758057"/>
          </a:xfrm>
          <a:prstGeom prst="rect">
            <a:avLst/>
          </a:prstGeom>
        </p:spPr>
      </p:pic>
    </p:spTree>
    <p:custDataLst>
      <p:custData r:id="rId1"/>
      <p:custData r:id="rId2"/>
    </p:custDataLst>
    <p:extLst>
      <p:ext uri="{BB962C8B-B14F-4D97-AF65-F5344CB8AC3E}">
        <p14:creationId xmlns:p14="http://schemas.microsoft.com/office/powerpoint/2010/main" val="36591957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F701E04F-6056-D519-8214-081FCBB760C7}"/>
              </a:ext>
            </a:extLst>
          </p:cNvPr>
          <p:cNvSpPr>
            <a:spLocks noGrp="1"/>
          </p:cNvSpPr>
          <p:nvPr>
            <p:ph type="body" sz="quarter" idx="10"/>
          </p:nvPr>
        </p:nvSpPr>
        <p:spPr>
          <a:xfrm>
            <a:off x="504000" y="1074944"/>
            <a:ext cx="11186477" cy="5260956"/>
          </a:xfrm>
        </p:spPr>
        <p:txBody>
          <a:bodyPr>
            <a:normAutofit/>
          </a:bodyPr>
          <a:lstStyle/>
          <a:p>
            <a:pPr marL="0" marR="0">
              <a:spcBef>
                <a:spcPts val="0"/>
              </a:spcBef>
              <a:spcAft>
                <a:spcPts val="0"/>
              </a:spcAft>
            </a:pPr>
            <a:r>
              <a:rPr lang="en-US" sz="1500" dirty="0">
                <a:latin typeface="72" panose="020B0503030000000003" pitchFamily="34" charset="0"/>
                <a:cs typeface="72" panose="020B0503030000000003" pitchFamily="34" charset="0"/>
              </a:rPr>
              <a:t>Discover pre configured Application Domains (Import the </a:t>
            </a:r>
            <a:r>
              <a:rPr lang="en-US" sz="1500" dirty="0" err="1">
                <a:latin typeface="72" panose="020B0503030000000003" pitchFamily="34" charset="0"/>
                <a:cs typeface="72" panose="020B0503030000000003" pitchFamily="34" charset="0"/>
              </a:rPr>
              <a:t>json</a:t>
            </a:r>
            <a:r>
              <a:rPr lang="en-US" sz="1500" dirty="0">
                <a:latin typeface="72" panose="020B0503030000000003" pitchFamily="34" charset="0"/>
                <a:cs typeface="72" panose="020B0503030000000003" pitchFamily="34" charset="0"/>
              </a:rPr>
              <a:t> content)</a:t>
            </a:r>
          </a:p>
          <a:p>
            <a:pPr marL="0" marR="0">
              <a:spcBef>
                <a:spcPts val="0"/>
              </a:spcBef>
              <a:spcAft>
                <a:spcPts val="0"/>
              </a:spcAft>
            </a:pPr>
            <a:endParaRPr lang="de-DE" sz="1500" dirty="0">
              <a:effectLst/>
              <a:latin typeface="72" panose="020B0503030000000003" pitchFamily="34" charset="0"/>
              <a:cs typeface="72" panose="020B0503030000000003" pitchFamily="34" charset="0"/>
            </a:endParaRPr>
          </a:p>
        </p:txBody>
      </p:sp>
      <p:sp>
        <p:nvSpPr>
          <p:cNvPr id="24" name="Title"/>
          <p:cNvSpPr>
            <a:spLocks noGrp="1"/>
          </p:cNvSpPr>
          <p:nvPr>
            <p:ph type="title"/>
          </p:nvPr>
        </p:nvSpPr>
        <p:spPr bwMode="gray">
          <a:xfrm>
            <a:off x="504001" y="504000"/>
            <a:ext cx="11186476" cy="369332"/>
          </a:xfrm>
        </p:spPr>
        <p:txBody>
          <a:bodyPr/>
          <a:lstStyle/>
          <a:p>
            <a:r>
              <a:rPr lang="en-US" sz="2400" dirty="0"/>
              <a:t>Event Management - </a:t>
            </a:r>
            <a:r>
              <a:rPr lang="en-US" dirty="0"/>
              <a:t>Event Portal</a:t>
            </a:r>
          </a:p>
        </p:txBody>
      </p:sp>
      <p:pic>
        <p:nvPicPr>
          <p:cNvPr id="6" name="Picture 5">
            <a:extLst>
              <a:ext uri="{FF2B5EF4-FFF2-40B4-BE49-F238E27FC236}">
                <a16:creationId xmlns:a16="http://schemas.microsoft.com/office/drawing/2014/main" id="{51776C67-163C-5037-AF1A-0D218978F66B}"/>
              </a:ext>
            </a:extLst>
          </p:cNvPr>
          <p:cNvPicPr>
            <a:picLocks noChangeAspect="1"/>
          </p:cNvPicPr>
          <p:nvPr/>
        </p:nvPicPr>
        <p:blipFill>
          <a:blip r:embed="rId5"/>
          <a:stretch>
            <a:fillRect/>
          </a:stretch>
        </p:blipFill>
        <p:spPr>
          <a:xfrm>
            <a:off x="5576838" y="2648423"/>
            <a:ext cx="3156490" cy="2400567"/>
          </a:xfrm>
          <a:prstGeom prst="rect">
            <a:avLst/>
          </a:prstGeom>
        </p:spPr>
      </p:pic>
      <p:pic>
        <p:nvPicPr>
          <p:cNvPr id="8" name="Picture 7">
            <a:extLst>
              <a:ext uri="{FF2B5EF4-FFF2-40B4-BE49-F238E27FC236}">
                <a16:creationId xmlns:a16="http://schemas.microsoft.com/office/drawing/2014/main" id="{48FA9D7D-C411-A2D8-C5AF-3FA986829E5B}"/>
              </a:ext>
            </a:extLst>
          </p:cNvPr>
          <p:cNvPicPr>
            <a:picLocks noChangeAspect="1"/>
          </p:cNvPicPr>
          <p:nvPr/>
        </p:nvPicPr>
        <p:blipFill>
          <a:blip r:embed="rId6"/>
          <a:stretch>
            <a:fillRect/>
          </a:stretch>
        </p:blipFill>
        <p:spPr>
          <a:xfrm>
            <a:off x="504000" y="1410328"/>
            <a:ext cx="5272180" cy="1181696"/>
          </a:xfrm>
          <a:prstGeom prst="rect">
            <a:avLst/>
          </a:prstGeom>
        </p:spPr>
      </p:pic>
      <p:sp>
        <p:nvSpPr>
          <p:cNvPr id="9" name="Rectangle 8">
            <a:extLst>
              <a:ext uri="{FF2B5EF4-FFF2-40B4-BE49-F238E27FC236}">
                <a16:creationId xmlns:a16="http://schemas.microsoft.com/office/drawing/2014/main" id="{B0CDAA42-47CB-B3F3-61AF-7CFDE3B8B65B}"/>
              </a:ext>
            </a:extLst>
          </p:cNvPr>
          <p:cNvSpPr/>
          <p:nvPr/>
        </p:nvSpPr>
        <p:spPr bwMode="gray">
          <a:xfrm>
            <a:off x="4564685" y="2370125"/>
            <a:ext cx="1243584" cy="183401"/>
          </a:xfrm>
          <a:prstGeom prst="rect">
            <a:avLst/>
          </a:prstGeom>
          <a:noFill/>
          <a:ln>
            <a:headEnd/>
            <a:tailEnd/>
          </a:ln>
        </p:spPr>
        <p:style>
          <a:lnRef idx="2">
            <a:schemeClr val="accent1"/>
          </a:lnRef>
          <a:fillRef idx="1">
            <a:schemeClr val="lt1"/>
          </a:fillRef>
          <a:effectRef idx="0">
            <a:schemeClr val="accent1"/>
          </a:effectRef>
          <a:fontRef idx="minor">
            <a:schemeClr val="dk1"/>
          </a:fontRef>
        </p:style>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DE" sz="1800" b="0" i="0" u="none" strike="noStrike" kern="0" cap="none" spc="0" normalizeH="0" baseline="0" noProof="0" dirty="0" err="1">
              <a:ln>
                <a:noFill/>
              </a:ln>
              <a:effectLst/>
              <a:uLnTx/>
              <a:uFillTx/>
              <a:ea typeface="Arial Unicode MS" pitchFamily="34" charset="-128"/>
              <a:cs typeface="Arial Unicode MS" pitchFamily="34" charset="-128"/>
            </a:endParaRPr>
          </a:p>
        </p:txBody>
      </p:sp>
      <p:pic>
        <p:nvPicPr>
          <p:cNvPr id="5" name="Picture 4">
            <a:extLst>
              <a:ext uri="{FF2B5EF4-FFF2-40B4-BE49-F238E27FC236}">
                <a16:creationId xmlns:a16="http://schemas.microsoft.com/office/drawing/2014/main" id="{CAF673C3-BDEB-9148-52F9-E47BD43386DC}"/>
              </a:ext>
            </a:extLst>
          </p:cNvPr>
          <p:cNvPicPr>
            <a:picLocks noChangeAspect="1"/>
          </p:cNvPicPr>
          <p:nvPr/>
        </p:nvPicPr>
        <p:blipFill>
          <a:blip r:embed="rId7"/>
          <a:stretch>
            <a:fillRect/>
          </a:stretch>
        </p:blipFill>
        <p:spPr>
          <a:xfrm>
            <a:off x="7674552" y="1154587"/>
            <a:ext cx="4031969" cy="2874874"/>
          </a:xfrm>
          <a:prstGeom prst="rect">
            <a:avLst/>
          </a:prstGeom>
        </p:spPr>
      </p:pic>
      <p:pic>
        <p:nvPicPr>
          <p:cNvPr id="3" name="Picture 2">
            <a:extLst>
              <a:ext uri="{FF2B5EF4-FFF2-40B4-BE49-F238E27FC236}">
                <a16:creationId xmlns:a16="http://schemas.microsoft.com/office/drawing/2014/main" id="{A30F2058-D1D2-9299-A30A-5022025BAAD6}"/>
              </a:ext>
            </a:extLst>
          </p:cNvPr>
          <p:cNvPicPr>
            <a:picLocks noChangeAspect="1"/>
          </p:cNvPicPr>
          <p:nvPr/>
        </p:nvPicPr>
        <p:blipFill>
          <a:blip r:embed="rId8"/>
          <a:stretch>
            <a:fillRect/>
          </a:stretch>
        </p:blipFill>
        <p:spPr>
          <a:xfrm>
            <a:off x="2877749" y="1349932"/>
            <a:ext cx="6213321" cy="4353481"/>
          </a:xfrm>
          <a:prstGeom prst="rect">
            <a:avLst/>
          </a:prstGeom>
        </p:spPr>
      </p:pic>
    </p:spTree>
    <p:custDataLst>
      <p:custData r:id="rId1"/>
      <p:custData r:id="rId2"/>
    </p:custDataLst>
    <p:extLst>
      <p:ext uri="{BB962C8B-B14F-4D97-AF65-F5344CB8AC3E}">
        <p14:creationId xmlns:p14="http://schemas.microsoft.com/office/powerpoint/2010/main" val="34039385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F701E04F-6056-D519-8214-081FCBB760C7}"/>
              </a:ext>
            </a:extLst>
          </p:cNvPr>
          <p:cNvSpPr>
            <a:spLocks noGrp="1"/>
          </p:cNvSpPr>
          <p:nvPr>
            <p:ph type="body" sz="quarter" idx="10"/>
          </p:nvPr>
        </p:nvSpPr>
        <p:spPr>
          <a:xfrm>
            <a:off x="504000" y="1074944"/>
            <a:ext cx="11186477" cy="5260956"/>
          </a:xfrm>
        </p:spPr>
        <p:txBody>
          <a:bodyPr>
            <a:normAutofit/>
          </a:bodyPr>
          <a:lstStyle/>
          <a:p>
            <a:pPr marL="0" marR="0">
              <a:spcBef>
                <a:spcPts val="0"/>
              </a:spcBef>
              <a:spcAft>
                <a:spcPts val="0"/>
              </a:spcAft>
            </a:pPr>
            <a:r>
              <a:rPr lang="en-US" sz="1500" dirty="0">
                <a:latin typeface="72" panose="020B0503030000000003" pitchFamily="34" charset="0"/>
                <a:cs typeface="72" panose="020B0503030000000003" pitchFamily="34" charset="0"/>
              </a:rPr>
              <a:t>Discover pre configured Application Domains (Import the </a:t>
            </a:r>
            <a:r>
              <a:rPr lang="en-US" sz="1500" dirty="0" err="1">
                <a:latin typeface="72" panose="020B0503030000000003" pitchFamily="34" charset="0"/>
                <a:cs typeface="72" panose="020B0503030000000003" pitchFamily="34" charset="0"/>
              </a:rPr>
              <a:t>json</a:t>
            </a:r>
            <a:r>
              <a:rPr lang="en-US" sz="1500" dirty="0">
                <a:latin typeface="72" panose="020B0503030000000003" pitchFamily="34" charset="0"/>
                <a:cs typeface="72" panose="020B0503030000000003" pitchFamily="34" charset="0"/>
              </a:rPr>
              <a:t> content)</a:t>
            </a:r>
          </a:p>
          <a:p>
            <a:pPr marL="0" marR="0">
              <a:spcBef>
                <a:spcPts val="0"/>
              </a:spcBef>
              <a:spcAft>
                <a:spcPts val="0"/>
              </a:spcAft>
            </a:pPr>
            <a:endParaRPr lang="de-DE" sz="1500" dirty="0">
              <a:effectLst/>
              <a:latin typeface="72" panose="020B0503030000000003" pitchFamily="34" charset="0"/>
              <a:cs typeface="72" panose="020B0503030000000003" pitchFamily="34" charset="0"/>
            </a:endParaRPr>
          </a:p>
        </p:txBody>
      </p:sp>
      <p:sp>
        <p:nvSpPr>
          <p:cNvPr id="24" name="Title"/>
          <p:cNvSpPr>
            <a:spLocks noGrp="1"/>
          </p:cNvSpPr>
          <p:nvPr>
            <p:ph type="title"/>
          </p:nvPr>
        </p:nvSpPr>
        <p:spPr bwMode="gray">
          <a:xfrm>
            <a:off x="504001" y="504000"/>
            <a:ext cx="11186476" cy="369332"/>
          </a:xfrm>
        </p:spPr>
        <p:txBody>
          <a:bodyPr/>
          <a:lstStyle/>
          <a:p>
            <a:r>
              <a:rPr lang="en-US" sz="2400" dirty="0"/>
              <a:t>Event Management - </a:t>
            </a:r>
            <a:r>
              <a:rPr lang="en-US" dirty="0"/>
              <a:t>Event Portal</a:t>
            </a:r>
          </a:p>
        </p:txBody>
      </p:sp>
      <p:pic>
        <p:nvPicPr>
          <p:cNvPr id="3" name="Picture 2">
            <a:extLst>
              <a:ext uri="{FF2B5EF4-FFF2-40B4-BE49-F238E27FC236}">
                <a16:creationId xmlns:a16="http://schemas.microsoft.com/office/drawing/2014/main" id="{A30F2058-D1D2-9299-A30A-5022025BAAD6}"/>
              </a:ext>
            </a:extLst>
          </p:cNvPr>
          <p:cNvPicPr>
            <a:picLocks noChangeAspect="1"/>
          </p:cNvPicPr>
          <p:nvPr/>
        </p:nvPicPr>
        <p:blipFill>
          <a:blip r:embed="rId5"/>
          <a:stretch>
            <a:fillRect/>
          </a:stretch>
        </p:blipFill>
        <p:spPr>
          <a:xfrm>
            <a:off x="588091" y="2700767"/>
            <a:ext cx="5188089" cy="3635133"/>
          </a:xfrm>
          <a:prstGeom prst="rect">
            <a:avLst/>
          </a:prstGeom>
        </p:spPr>
      </p:pic>
      <p:pic>
        <p:nvPicPr>
          <p:cNvPr id="6" name="Picture 5">
            <a:extLst>
              <a:ext uri="{FF2B5EF4-FFF2-40B4-BE49-F238E27FC236}">
                <a16:creationId xmlns:a16="http://schemas.microsoft.com/office/drawing/2014/main" id="{51776C67-163C-5037-AF1A-0D218978F66B}"/>
              </a:ext>
            </a:extLst>
          </p:cNvPr>
          <p:cNvPicPr>
            <a:picLocks noChangeAspect="1"/>
          </p:cNvPicPr>
          <p:nvPr/>
        </p:nvPicPr>
        <p:blipFill>
          <a:blip r:embed="rId6"/>
          <a:stretch>
            <a:fillRect/>
          </a:stretch>
        </p:blipFill>
        <p:spPr>
          <a:xfrm>
            <a:off x="5576838" y="2648423"/>
            <a:ext cx="3156490" cy="2400567"/>
          </a:xfrm>
          <a:prstGeom prst="rect">
            <a:avLst/>
          </a:prstGeom>
        </p:spPr>
      </p:pic>
      <p:pic>
        <p:nvPicPr>
          <p:cNvPr id="8" name="Picture 7">
            <a:extLst>
              <a:ext uri="{FF2B5EF4-FFF2-40B4-BE49-F238E27FC236}">
                <a16:creationId xmlns:a16="http://schemas.microsoft.com/office/drawing/2014/main" id="{48FA9D7D-C411-A2D8-C5AF-3FA986829E5B}"/>
              </a:ext>
            </a:extLst>
          </p:cNvPr>
          <p:cNvPicPr>
            <a:picLocks noChangeAspect="1"/>
          </p:cNvPicPr>
          <p:nvPr/>
        </p:nvPicPr>
        <p:blipFill>
          <a:blip r:embed="rId7"/>
          <a:stretch>
            <a:fillRect/>
          </a:stretch>
        </p:blipFill>
        <p:spPr>
          <a:xfrm>
            <a:off x="504000" y="1410328"/>
            <a:ext cx="5272180" cy="1181696"/>
          </a:xfrm>
          <a:prstGeom prst="rect">
            <a:avLst/>
          </a:prstGeom>
        </p:spPr>
      </p:pic>
      <p:sp>
        <p:nvSpPr>
          <p:cNvPr id="9" name="Rectangle 8">
            <a:extLst>
              <a:ext uri="{FF2B5EF4-FFF2-40B4-BE49-F238E27FC236}">
                <a16:creationId xmlns:a16="http://schemas.microsoft.com/office/drawing/2014/main" id="{B0CDAA42-47CB-B3F3-61AF-7CFDE3B8B65B}"/>
              </a:ext>
            </a:extLst>
          </p:cNvPr>
          <p:cNvSpPr/>
          <p:nvPr/>
        </p:nvSpPr>
        <p:spPr bwMode="gray">
          <a:xfrm>
            <a:off x="4564685" y="2370125"/>
            <a:ext cx="1243584" cy="183401"/>
          </a:xfrm>
          <a:prstGeom prst="rect">
            <a:avLst/>
          </a:prstGeom>
          <a:noFill/>
          <a:ln>
            <a:headEnd/>
            <a:tailEnd/>
          </a:ln>
        </p:spPr>
        <p:style>
          <a:lnRef idx="2">
            <a:schemeClr val="accent1"/>
          </a:lnRef>
          <a:fillRef idx="1">
            <a:schemeClr val="lt1"/>
          </a:fillRef>
          <a:effectRef idx="0">
            <a:schemeClr val="accent1"/>
          </a:effectRef>
          <a:fontRef idx="minor">
            <a:schemeClr val="dk1"/>
          </a:fontRef>
        </p:style>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DE" sz="1800" b="0" i="0" u="none" strike="noStrike" kern="0" cap="none" spc="0" normalizeH="0" baseline="0" noProof="0" dirty="0" err="1">
              <a:ln>
                <a:noFill/>
              </a:ln>
              <a:effectLst/>
              <a:uLnTx/>
              <a:uFillTx/>
              <a:ea typeface="Arial Unicode MS" pitchFamily="34" charset="-128"/>
              <a:cs typeface="Arial Unicode MS" pitchFamily="34" charset="-128"/>
            </a:endParaRPr>
          </a:p>
        </p:txBody>
      </p:sp>
      <p:pic>
        <p:nvPicPr>
          <p:cNvPr id="5" name="Picture 4">
            <a:extLst>
              <a:ext uri="{FF2B5EF4-FFF2-40B4-BE49-F238E27FC236}">
                <a16:creationId xmlns:a16="http://schemas.microsoft.com/office/drawing/2014/main" id="{CAF673C3-BDEB-9148-52F9-E47BD43386DC}"/>
              </a:ext>
            </a:extLst>
          </p:cNvPr>
          <p:cNvPicPr>
            <a:picLocks noChangeAspect="1"/>
          </p:cNvPicPr>
          <p:nvPr/>
        </p:nvPicPr>
        <p:blipFill>
          <a:blip r:embed="rId8"/>
          <a:stretch>
            <a:fillRect/>
          </a:stretch>
        </p:blipFill>
        <p:spPr>
          <a:xfrm>
            <a:off x="7674552" y="1154587"/>
            <a:ext cx="4031969" cy="2874874"/>
          </a:xfrm>
          <a:prstGeom prst="rect">
            <a:avLst/>
          </a:prstGeom>
        </p:spPr>
      </p:pic>
    </p:spTree>
    <p:custDataLst>
      <p:custData r:id="rId1"/>
      <p:custData r:id="rId2"/>
    </p:custDataLst>
    <p:extLst>
      <p:ext uri="{BB962C8B-B14F-4D97-AF65-F5344CB8AC3E}">
        <p14:creationId xmlns:p14="http://schemas.microsoft.com/office/powerpoint/2010/main" val="414354270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p:cNvSpPr>
            <a:spLocks noGrp="1"/>
          </p:cNvSpPr>
          <p:nvPr>
            <p:ph type="title"/>
          </p:nvPr>
        </p:nvSpPr>
        <p:spPr bwMode="gray">
          <a:xfrm>
            <a:off x="504001" y="504000"/>
            <a:ext cx="11186476" cy="369332"/>
          </a:xfrm>
        </p:spPr>
        <p:txBody>
          <a:bodyPr/>
          <a:lstStyle/>
          <a:p>
            <a:r>
              <a:rPr lang="en-US" sz="2400" dirty="0"/>
              <a:t>Event Management - </a:t>
            </a:r>
            <a:r>
              <a:rPr lang="en-US" dirty="0"/>
              <a:t>Event Portal</a:t>
            </a:r>
            <a:endParaRPr lang="en-US" sz="2400" dirty="0"/>
          </a:p>
        </p:txBody>
      </p:sp>
      <p:graphicFrame>
        <p:nvGraphicFramePr>
          <p:cNvPr id="10" name="Table 9">
            <a:extLst>
              <a:ext uri="{FF2B5EF4-FFF2-40B4-BE49-F238E27FC236}">
                <a16:creationId xmlns:a16="http://schemas.microsoft.com/office/drawing/2014/main" id="{ECF0D77F-C402-646F-01C3-5176A751FB88}"/>
              </a:ext>
            </a:extLst>
          </p:cNvPr>
          <p:cNvGraphicFramePr>
            <a:graphicFrameLocks noGrp="1"/>
          </p:cNvGraphicFramePr>
          <p:nvPr>
            <p:extLst>
              <p:ext uri="{D42A27DB-BD31-4B8C-83A1-F6EECF244321}">
                <p14:modId xmlns:p14="http://schemas.microsoft.com/office/powerpoint/2010/main" val="1646261017"/>
              </p:ext>
            </p:extLst>
          </p:nvPr>
        </p:nvGraphicFramePr>
        <p:xfrm>
          <a:off x="693174" y="1163117"/>
          <a:ext cx="10831558" cy="3968170"/>
        </p:xfrm>
        <a:graphic>
          <a:graphicData uri="http://schemas.openxmlformats.org/drawingml/2006/table">
            <a:tbl>
              <a:tblPr firstRow="1" bandRow="1">
                <a:tableStyleId>{9D7B26C5-4107-4FEC-AEDC-1716B250A1EF}</a:tableStyleId>
              </a:tblPr>
              <a:tblGrid>
                <a:gridCol w="5415779">
                  <a:extLst>
                    <a:ext uri="{9D8B030D-6E8A-4147-A177-3AD203B41FA5}">
                      <a16:colId xmlns:a16="http://schemas.microsoft.com/office/drawing/2014/main" val="3849697281"/>
                    </a:ext>
                  </a:extLst>
                </a:gridCol>
                <a:gridCol w="5415779">
                  <a:extLst>
                    <a:ext uri="{9D8B030D-6E8A-4147-A177-3AD203B41FA5}">
                      <a16:colId xmlns:a16="http://schemas.microsoft.com/office/drawing/2014/main" val="2275509310"/>
                    </a:ext>
                  </a:extLst>
                </a:gridCol>
              </a:tblGrid>
              <a:tr h="416966">
                <a:tc>
                  <a:txBody>
                    <a:bodyPr/>
                    <a:lstStyle/>
                    <a:p>
                      <a:r>
                        <a:rPr lang="de-DE" sz="1200" dirty="0">
                          <a:latin typeface="72" panose="020B0503030000000003" pitchFamily="34" charset="0"/>
                          <a:cs typeface="72" panose="020B0503030000000003" pitchFamily="34" charset="0"/>
                        </a:rPr>
                        <a:t>Type</a:t>
                      </a:r>
                      <a:endParaRPr lang="en-DE" sz="1200" dirty="0">
                        <a:latin typeface="72" panose="020B0503030000000003" pitchFamily="34" charset="0"/>
                        <a:cs typeface="72" panose="020B0503030000000003" pitchFamily="34" charset="0"/>
                      </a:endParaRPr>
                    </a:p>
                  </a:txBody>
                  <a:tcPr anchor="ctr"/>
                </a:tc>
                <a:tc>
                  <a:txBody>
                    <a:bodyPr/>
                    <a:lstStyle/>
                    <a:p>
                      <a:r>
                        <a:rPr lang="de-DE" sz="1200" dirty="0" err="1">
                          <a:latin typeface="72" panose="020B0503030000000003" pitchFamily="34" charset="0"/>
                          <a:cs typeface="72" panose="020B0503030000000003" pitchFamily="34" charset="0"/>
                        </a:rPr>
                        <a:t>Function</a:t>
                      </a:r>
                      <a:endParaRPr lang="en-DE" sz="1200" dirty="0">
                        <a:latin typeface="72" panose="020B0503030000000003" pitchFamily="34" charset="0"/>
                        <a:cs typeface="72" panose="020B0503030000000003" pitchFamily="34" charset="0"/>
                      </a:endParaRPr>
                    </a:p>
                  </a:txBody>
                  <a:tcPr anchor="ctr"/>
                </a:tc>
                <a:extLst>
                  <a:ext uri="{0D108BD9-81ED-4DB2-BD59-A6C34878D82A}">
                    <a16:rowId xmlns:a16="http://schemas.microsoft.com/office/drawing/2014/main" val="3470345357"/>
                  </a:ext>
                </a:extLst>
              </a:tr>
              <a:tr h="651053">
                <a:tc>
                  <a:txBody>
                    <a:bodyPr/>
                    <a:lstStyle/>
                    <a:p>
                      <a:pPr>
                        <a:lnSpc>
                          <a:spcPct val="107000"/>
                        </a:lnSpc>
                        <a:spcAft>
                          <a:spcPts val="800"/>
                        </a:spcAft>
                      </a:pPr>
                      <a:r>
                        <a:rPr lang="en-DE" sz="1200" kern="0" dirty="0">
                          <a:solidFill>
                            <a:srgbClr val="212529"/>
                          </a:solidFill>
                          <a:effectLst/>
                          <a:latin typeface="72" panose="020B0503030000000003" pitchFamily="34" charset="0"/>
                          <a:ea typeface="Times New Roman" panose="02020603050405020304" pitchFamily="18" charset="0"/>
                          <a:cs typeface="72" panose="020B0503030000000003" pitchFamily="34" charset="0"/>
                        </a:rPr>
                        <a:t>Application Domains</a:t>
                      </a:r>
                      <a:endParaRPr lang="en-DE" sz="1200" kern="100" dirty="0">
                        <a:effectLst/>
                        <a:latin typeface="72" panose="020B0503030000000003" pitchFamily="34" charset="0"/>
                        <a:ea typeface="Calibri" panose="020F0502020204030204" pitchFamily="34" charset="0"/>
                        <a:cs typeface="72" panose="020B0503030000000003" pitchFamily="34" charset="0"/>
                      </a:endParaRPr>
                    </a:p>
                  </a:txBody>
                  <a:tcPr anchor="ct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lang="en-DE" sz="1200" kern="100" dirty="0">
                          <a:effectLst/>
                          <a:latin typeface="72" panose="020B0503030000000003" pitchFamily="34" charset="0"/>
                          <a:ea typeface="Calibri" panose="020F0502020204030204" pitchFamily="34" charset="0"/>
                          <a:cs typeface="72" panose="020B0503030000000003" pitchFamily="34" charset="0"/>
                        </a:rPr>
                        <a:t>Application domains organize your applications, events, and other associated objects for different teams, groups, or lines of business within your organization.</a:t>
                      </a:r>
                    </a:p>
                  </a:txBody>
                  <a:tcPr anchor="ctr"/>
                </a:tc>
                <a:extLst>
                  <a:ext uri="{0D108BD9-81ED-4DB2-BD59-A6C34878D82A}">
                    <a16:rowId xmlns:a16="http://schemas.microsoft.com/office/drawing/2014/main" val="2298479671"/>
                  </a:ext>
                </a:extLst>
              </a:tr>
              <a:tr h="548640">
                <a:tc>
                  <a:txBody>
                    <a:bodyPr/>
                    <a:lstStyle/>
                    <a:p>
                      <a:r>
                        <a:rPr lang="en-US" sz="1200" kern="0" noProof="0">
                          <a:solidFill>
                            <a:srgbClr val="212529"/>
                          </a:solidFill>
                          <a:effectLst/>
                          <a:latin typeface="72" panose="020B0503030000000003" pitchFamily="34" charset="0"/>
                          <a:cs typeface="72" panose="020B0503030000000003" pitchFamily="34" charset="0"/>
                        </a:rPr>
                        <a:t>Applications</a:t>
                      </a:r>
                      <a:endParaRPr lang="en-US" sz="1200" kern="0" noProof="0" dirty="0">
                        <a:solidFill>
                          <a:srgbClr val="212529"/>
                        </a:solidFill>
                        <a:effectLst/>
                        <a:latin typeface="72" panose="020B0503030000000003" pitchFamily="34" charset="0"/>
                        <a:cs typeface="72" panose="020B0503030000000003" pitchFamily="34" charset="0"/>
                      </a:endParaRPr>
                    </a:p>
                  </a:txBody>
                  <a:tcPr anchor="ctr"/>
                </a:tc>
                <a:tc>
                  <a:txBody>
                    <a:bodyPr/>
                    <a:lstStyle/>
                    <a:p>
                      <a:r>
                        <a:rPr lang="en-US" sz="1200" kern="100" dirty="0">
                          <a:solidFill>
                            <a:schemeClr val="tx1"/>
                          </a:solidFill>
                          <a:effectLst/>
                          <a:latin typeface="72" panose="020B0503030000000003" pitchFamily="34" charset="0"/>
                          <a:ea typeface="Calibri" panose="020F0502020204030204" pitchFamily="34" charset="0"/>
                          <a:cs typeface="72" panose="020B0503030000000003" pitchFamily="34" charset="0"/>
                        </a:rPr>
                        <a:t>An application in Event Portal is an object that represents software that produces and consumes events</a:t>
                      </a:r>
                      <a:endParaRPr lang="en-DE" sz="1200" kern="100" dirty="0">
                        <a:solidFill>
                          <a:schemeClr val="tx1"/>
                        </a:solidFill>
                        <a:effectLst/>
                        <a:latin typeface="72" panose="020B0503030000000003" pitchFamily="34" charset="0"/>
                        <a:ea typeface="Calibri" panose="020F0502020204030204" pitchFamily="34" charset="0"/>
                        <a:cs typeface="72" panose="020B0503030000000003" pitchFamily="34" charset="0"/>
                      </a:endParaRPr>
                    </a:p>
                  </a:txBody>
                  <a:tcPr anchor="ctr"/>
                </a:tc>
                <a:extLst>
                  <a:ext uri="{0D108BD9-81ED-4DB2-BD59-A6C34878D82A}">
                    <a16:rowId xmlns:a16="http://schemas.microsoft.com/office/drawing/2014/main" val="2088787202"/>
                  </a:ext>
                </a:extLst>
              </a:tr>
              <a:tr h="768096">
                <a:tc>
                  <a:txBody>
                    <a:bodyPr/>
                    <a:lstStyle/>
                    <a:p>
                      <a:r>
                        <a:rPr lang="de-DE" sz="1200" kern="100" dirty="0">
                          <a:solidFill>
                            <a:schemeClr val="tx1"/>
                          </a:solidFill>
                          <a:effectLst/>
                          <a:latin typeface="72" panose="020B0503030000000003" pitchFamily="34" charset="0"/>
                          <a:ea typeface="Calibri" panose="020F0502020204030204" pitchFamily="34" charset="0"/>
                          <a:cs typeface="72" panose="020B0503030000000003" pitchFamily="34" charset="0"/>
                        </a:rPr>
                        <a:t>Events</a:t>
                      </a:r>
                    </a:p>
                  </a:txBody>
                  <a:tcPr anchor="ctr"/>
                </a:tc>
                <a:tc>
                  <a:txBody>
                    <a:bodyPr/>
                    <a:lstStyle/>
                    <a:p>
                      <a:r>
                        <a:rPr lang="en-US" sz="1200" kern="100" dirty="0">
                          <a:solidFill>
                            <a:schemeClr val="tx1"/>
                          </a:solidFill>
                          <a:effectLst/>
                          <a:latin typeface="72" panose="020B0503030000000003" pitchFamily="34" charset="0"/>
                          <a:ea typeface="Calibri" panose="020F0502020204030204" pitchFamily="34" charset="0"/>
                          <a:cs typeface="72" panose="020B0503030000000003" pitchFamily="34" charset="0"/>
                        </a:rPr>
                        <a:t>Event is an object that defines the properties that describe and categorize actual event instances. Events represent formally messages that applications publish for every event happing in real time (e.g. state change, field change, button click etc.)</a:t>
                      </a:r>
                      <a:endParaRPr lang="en-DE" sz="1200" kern="100" dirty="0">
                        <a:solidFill>
                          <a:schemeClr val="tx1"/>
                        </a:solidFill>
                        <a:effectLst/>
                        <a:latin typeface="72" panose="020B0503030000000003" pitchFamily="34" charset="0"/>
                        <a:ea typeface="Calibri" panose="020F0502020204030204" pitchFamily="34" charset="0"/>
                        <a:cs typeface="72" panose="020B0503030000000003" pitchFamily="34" charset="0"/>
                      </a:endParaRPr>
                    </a:p>
                  </a:txBody>
                  <a:tcPr anchor="ctr"/>
                </a:tc>
                <a:extLst>
                  <a:ext uri="{0D108BD9-81ED-4DB2-BD59-A6C34878D82A}">
                    <a16:rowId xmlns:a16="http://schemas.microsoft.com/office/drawing/2014/main" val="1693899606"/>
                  </a:ext>
                </a:extLst>
              </a:tr>
              <a:tr h="501091">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lang="de-DE" sz="1200" kern="100" dirty="0">
                          <a:solidFill>
                            <a:schemeClr val="tx1"/>
                          </a:solidFill>
                          <a:effectLst/>
                          <a:latin typeface="72" panose="020B0503030000000003" pitchFamily="34" charset="0"/>
                          <a:ea typeface="Calibri" panose="020F0502020204030204" pitchFamily="34" charset="0"/>
                          <a:cs typeface="72" panose="020B0503030000000003" pitchFamily="34" charset="0"/>
                        </a:rPr>
                        <a:t>Schemas</a:t>
                      </a:r>
                    </a:p>
                  </a:txBody>
                  <a:tcPr anchor="ctr"/>
                </a:tc>
                <a:tc>
                  <a:txBody>
                    <a:bodyPr/>
                    <a:lstStyle/>
                    <a:p>
                      <a:r>
                        <a:rPr lang="en-US" sz="1200" kern="100" dirty="0">
                          <a:solidFill>
                            <a:schemeClr val="tx1"/>
                          </a:solidFill>
                          <a:effectLst/>
                          <a:latin typeface="72" panose="020B0503030000000003" pitchFamily="34" charset="0"/>
                          <a:ea typeface="Calibri" panose="020F0502020204030204" pitchFamily="34" charset="0"/>
                          <a:cs typeface="72" panose="020B0503030000000003" pitchFamily="34" charset="0"/>
                        </a:rPr>
                        <a:t>A schema defines the payload of an event. Most of the Events and Messages </a:t>
                      </a:r>
                      <a:r>
                        <a:rPr lang="en-US" sz="1200" kern="100" dirty="0" err="1">
                          <a:solidFill>
                            <a:schemeClr val="tx1"/>
                          </a:solidFill>
                          <a:effectLst/>
                          <a:latin typeface="72" panose="020B0503030000000003" pitchFamily="34" charset="0"/>
                          <a:ea typeface="Calibri" panose="020F0502020204030204" pitchFamily="34" charset="0"/>
                          <a:cs typeface="72" panose="020B0503030000000003" pitchFamily="34" charset="0"/>
                        </a:rPr>
                        <a:t>arr</a:t>
                      </a:r>
                      <a:r>
                        <a:rPr lang="en-US" sz="1200" kern="100" dirty="0">
                          <a:solidFill>
                            <a:schemeClr val="tx1"/>
                          </a:solidFill>
                          <a:effectLst/>
                          <a:latin typeface="72" panose="020B0503030000000003" pitchFamily="34" charset="0"/>
                          <a:ea typeface="Calibri" panose="020F0502020204030204" pitchFamily="34" charset="0"/>
                          <a:cs typeface="72" panose="020B0503030000000003" pitchFamily="34" charset="0"/>
                        </a:rPr>
                        <a:t> JSON, XML or csv related payloads.</a:t>
                      </a:r>
                      <a:endParaRPr lang="en-DE" sz="1200" kern="100" dirty="0">
                        <a:solidFill>
                          <a:schemeClr val="tx1"/>
                        </a:solidFill>
                        <a:effectLst/>
                        <a:latin typeface="72" panose="020B0503030000000003" pitchFamily="34" charset="0"/>
                        <a:ea typeface="Calibri" panose="020F0502020204030204" pitchFamily="34" charset="0"/>
                        <a:cs typeface="72" panose="020B0503030000000003" pitchFamily="34" charset="0"/>
                      </a:endParaRPr>
                    </a:p>
                  </a:txBody>
                  <a:tcPr anchor="ctr"/>
                </a:tc>
                <a:extLst>
                  <a:ext uri="{0D108BD9-81ED-4DB2-BD59-A6C34878D82A}">
                    <a16:rowId xmlns:a16="http://schemas.microsoft.com/office/drawing/2014/main" val="2210541165"/>
                  </a:ext>
                </a:extLst>
              </a:tr>
              <a:tr h="1027460">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lang="en-US" sz="1200" kern="100" noProof="0">
                          <a:solidFill>
                            <a:schemeClr val="tx1"/>
                          </a:solidFill>
                          <a:effectLst/>
                          <a:latin typeface="72" panose="020B0503030000000003" pitchFamily="34" charset="0"/>
                          <a:ea typeface="Calibri" panose="020F0502020204030204" pitchFamily="34" charset="0"/>
                          <a:cs typeface="72" panose="020B0503030000000003" pitchFamily="34" charset="0"/>
                        </a:rPr>
                        <a:t>Enumerations</a:t>
                      </a:r>
                      <a:endParaRPr lang="en-US" sz="1200" kern="100" noProof="0" dirty="0">
                        <a:solidFill>
                          <a:schemeClr val="tx1"/>
                        </a:solidFill>
                        <a:effectLst/>
                        <a:latin typeface="72" panose="020B0503030000000003" pitchFamily="34" charset="0"/>
                        <a:ea typeface="Calibri" panose="020F0502020204030204" pitchFamily="34" charset="0"/>
                        <a:cs typeface="72" panose="020B0503030000000003" pitchFamily="34" charset="0"/>
                      </a:endParaRPr>
                    </a:p>
                  </a:txBody>
                  <a:tcPr anchor="ctr"/>
                </a:tc>
                <a:tc>
                  <a:txBody>
                    <a:bodyPr/>
                    <a:lstStyle/>
                    <a:p>
                      <a:r>
                        <a:rPr lang="en-US" sz="1200" kern="100" dirty="0">
                          <a:solidFill>
                            <a:schemeClr val="tx1"/>
                          </a:solidFill>
                          <a:effectLst/>
                          <a:latin typeface="72" panose="020B0503030000000003" pitchFamily="34" charset="0"/>
                          <a:ea typeface="Calibri" panose="020F0502020204030204" pitchFamily="34" charset="0"/>
                          <a:cs typeface="72" panose="020B0503030000000003" pitchFamily="34" charset="0"/>
                        </a:rPr>
                        <a:t>A limited set of acceptable values – predefined. </a:t>
                      </a:r>
                    </a:p>
                    <a:p>
                      <a:r>
                        <a:rPr lang="en-US" sz="1200" kern="100" dirty="0">
                          <a:solidFill>
                            <a:schemeClr val="tx1"/>
                          </a:solidFill>
                          <a:effectLst/>
                          <a:latin typeface="72" panose="020B0503030000000003" pitchFamily="34" charset="0"/>
                          <a:ea typeface="Calibri" panose="020F0502020204030204" pitchFamily="34" charset="0"/>
                          <a:cs typeface="72" panose="020B0503030000000003" pitchFamily="34" charset="0"/>
                        </a:rPr>
                        <a:t>Use enumerations to define values for a level in a topic address or topic domain (e.g. country codes) </a:t>
                      </a:r>
                      <a:endParaRPr lang="en-DE" sz="1200" kern="100" dirty="0">
                        <a:solidFill>
                          <a:schemeClr val="tx1"/>
                        </a:solidFill>
                        <a:effectLst/>
                        <a:latin typeface="72" panose="020B0503030000000003" pitchFamily="34" charset="0"/>
                        <a:ea typeface="Calibri" panose="020F0502020204030204" pitchFamily="34" charset="0"/>
                        <a:cs typeface="72" panose="020B0503030000000003" pitchFamily="34" charset="0"/>
                      </a:endParaRPr>
                    </a:p>
                  </a:txBody>
                  <a:tcPr anchor="ctr"/>
                </a:tc>
                <a:extLst>
                  <a:ext uri="{0D108BD9-81ED-4DB2-BD59-A6C34878D82A}">
                    <a16:rowId xmlns:a16="http://schemas.microsoft.com/office/drawing/2014/main" val="293815005"/>
                  </a:ext>
                </a:extLst>
              </a:tr>
            </a:tbl>
          </a:graphicData>
        </a:graphic>
      </p:graphicFrame>
    </p:spTree>
    <p:custDataLst>
      <p:custData r:id="rId1"/>
      <p:custData r:id="rId2"/>
    </p:custDataLst>
    <p:extLst>
      <p:ext uri="{BB962C8B-B14F-4D97-AF65-F5344CB8AC3E}">
        <p14:creationId xmlns:p14="http://schemas.microsoft.com/office/powerpoint/2010/main" val="698981989"/>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p:cNvSpPr>
            <a:spLocks noGrp="1"/>
          </p:cNvSpPr>
          <p:nvPr>
            <p:ph type="title"/>
          </p:nvPr>
        </p:nvSpPr>
        <p:spPr bwMode="gray">
          <a:xfrm>
            <a:off x="504001" y="504000"/>
            <a:ext cx="11186476" cy="369332"/>
          </a:xfrm>
        </p:spPr>
        <p:txBody>
          <a:bodyPr/>
          <a:lstStyle/>
          <a:p>
            <a:r>
              <a:rPr lang="en-US" sz="2400" dirty="0"/>
              <a:t>Event Management – </a:t>
            </a:r>
            <a:r>
              <a:rPr lang="en-US" dirty="0"/>
              <a:t>Event Approval Process</a:t>
            </a:r>
            <a:endParaRPr lang="en-US" sz="2400" dirty="0"/>
          </a:p>
        </p:txBody>
      </p:sp>
      <p:pic>
        <p:nvPicPr>
          <p:cNvPr id="1026" name="Graphic 2">
            <a:extLst>
              <a:ext uri="{FF2B5EF4-FFF2-40B4-BE49-F238E27FC236}">
                <a16:creationId xmlns:a16="http://schemas.microsoft.com/office/drawing/2014/main" id="{FF959118-2886-CD4D-04E3-419EB7FF06C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21423" y="1058151"/>
            <a:ext cx="8782050" cy="4933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ustDataLst>
      <p:custData r:id="rId1"/>
      <p:custData r:id="rId2"/>
    </p:custDataLst>
    <p:extLst>
      <p:ext uri="{BB962C8B-B14F-4D97-AF65-F5344CB8AC3E}">
        <p14:creationId xmlns:p14="http://schemas.microsoft.com/office/powerpoint/2010/main" val="2619006817"/>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90FB2473-70CB-FAC7-7EC9-2FE116ED2482}"/>
              </a:ext>
            </a:extLst>
          </p:cNvPr>
          <p:cNvPicPr>
            <a:picLocks noChangeAspect="1"/>
          </p:cNvPicPr>
          <p:nvPr/>
        </p:nvPicPr>
        <p:blipFill>
          <a:blip r:embed="rId5"/>
          <a:stretch>
            <a:fillRect/>
          </a:stretch>
        </p:blipFill>
        <p:spPr>
          <a:xfrm>
            <a:off x="206051" y="1008874"/>
            <a:ext cx="5709028" cy="3318066"/>
          </a:xfrm>
          <a:prstGeom prst="rect">
            <a:avLst/>
          </a:prstGeom>
        </p:spPr>
      </p:pic>
      <p:sp>
        <p:nvSpPr>
          <p:cNvPr id="24" name="Title"/>
          <p:cNvSpPr>
            <a:spLocks noGrp="1"/>
          </p:cNvSpPr>
          <p:nvPr>
            <p:ph type="title"/>
          </p:nvPr>
        </p:nvSpPr>
        <p:spPr bwMode="gray">
          <a:xfrm>
            <a:off x="504001" y="504000"/>
            <a:ext cx="11186476" cy="369332"/>
          </a:xfrm>
        </p:spPr>
        <p:txBody>
          <a:bodyPr/>
          <a:lstStyle/>
          <a:p>
            <a:r>
              <a:rPr lang="en-US" dirty="0"/>
              <a:t>Event Insights - Monitoring</a:t>
            </a:r>
            <a:endParaRPr lang="en-US" sz="2400" dirty="0"/>
          </a:p>
        </p:txBody>
      </p:sp>
      <p:pic>
        <p:nvPicPr>
          <p:cNvPr id="2" name="Picture 1">
            <a:extLst>
              <a:ext uri="{FF2B5EF4-FFF2-40B4-BE49-F238E27FC236}">
                <a16:creationId xmlns:a16="http://schemas.microsoft.com/office/drawing/2014/main" id="{6E839C2B-FE63-0115-AA24-BB1419742C00}"/>
              </a:ext>
            </a:extLst>
          </p:cNvPr>
          <p:cNvPicPr>
            <a:picLocks noChangeAspect="1"/>
          </p:cNvPicPr>
          <p:nvPr/>
        </p:nvPicPr>
        <p:blipFill>
          <a:blip r:embed="rId6"/>
          <a:stretch>
            <a:fillRect/>
          </a:stretch>
        </p:blipFill>
        <p:spPr>
          <a:xfrm>
            <a:off x="661136" y="968641"/>
            <a:ext cx="7045510" cy="3398533"/>
          </a:xfrm>
          <a:prstGeom prst="rect">
            <a:avLst/>
          </a:prstGeom>
        </p:spPr>
      </p:pic>
      <p:pic>
        <p:nvPicPr>
          <p:cNvPr id="3" name="Picture 2">
            <a:extLst>
              <a:ext uri="{FF2B5EF4-FFF2-40B4-BE49-F238E27FC236}">
                <a16:creationId xmlns:a16="http://schemas.microsoft.com/office/drawing/2014/main" id="{5D0E87B9-AF1E-856C-E330-C93DEA50D83D}"/>
              </a:ext>
            </a:extLst>
          </p:cNvPr>
          <p:cNvPicPr>
            <a:picLocks noChangeAspect="1"/>
          </p:cNvPicPr>
          <p:nvPr/>
        </p:nvPicPr>
        <p:blipFill>
          <a:blip r:embed="rId7"/>
          <a:stretch>
            <a:fillRect/>
          </a:stretch>
        </p:blipFill>
        <p:spPr>
          <a:xfrm>
            <a:off x="3389706" y="1797354"/>
            <a:ext cx="4772025" cy="3533775"/>
          </a:xfrm>
          <a:prstGeom prst="rect">
            <a:avLst/>
          </a:prstGeom>
        </p:spPr>
      </p:pic>
      <p:pic>
        <p:nvPicPr>
          <p:cNvPr id="5" name="Picture 4">
            <a:extLst>
              <a:ext uri="{FF2B5EF4-FFF2-40B4-BE49-F238E27FC236}">
                <a16:creationId xmlns:a16="http://schemas.microsoft.com/office/drawing/2014/main" id="{3C537DEE-9E38-A72B-FEF3-5C99D106F7C5}"/>
              </a:ext>
            </a:extLst>
          </p:cNvPr>
          <p:cNvPicPr>
            <a:picLocks noChangeAspect="1"/>
          </p:cNvPicPr>
          <p:nvPr/>
        </p:nvPicPr>
        <p:blipFill>
          <a:blip r:embed="rId8"/>
          <a:stretch>
            <a:fillRect/>
          </a:stretch>
        </p:blipFill>
        <p:spPr>
          <a:xfrm>
            <a:off x="5775718" y="3143567"/>
            <a:ext cx="4772025" cy="2052320"/>
          </a:xfrm>
          <a:prstGeom prst="rect">
            <a:avLst/>
          </a:prstGeom>
        </p:spPr>
      </p:pic>
      <p:pic>
        <p:nvPicPr>
          <p:cNvPr id="6" name="Picture 5">
            <a:extLst>
              <a:ext uri="{FF2B5EF4-FFF2-40B4-BE49-F238E27FC236}">
                <a16:creationId xmlns:a16="http://schemas.microsoft.com/office/drawing/2014/main" id="{CFA1B4D8-2801-428C-68F1-AA2009DA96A4}"/>
              </a:ext>
            </a:extLst>
          </p:cNvPr>
          <p:cNvPicPr>
            <a:picLocks noChangeAspect="1"/>
          </p:cNvPicPr>
          <p:nvPr/>
        </p:nvPicPr>
        <p:blipFill>
          <a:blip r:embed="rId9"/>
          <a:stretch>
            <a:fillRect/>
          </a:stretch>
        </p:blipFill>
        <p:spPr>
          <a:xfrm>
            <a:off x="6968725" y="4367174"/>
            <a:ext cx="4772025" cy="1718945"/>
          </a:xfrm>
          <a:prstGeom prst="rect">
            <a:avLst/>
          </a:prstGeom>
        </p:spPr>
      </p:pic>
    </p:spTree>
    <p:custDataLst>
      <p:custData r:id="rId1"/>
      <p:custData r:id="rId2"/>
    </p:custDataLst>
    <p:extLst>
      <p:ext uri="{BB962C8B-B14F-4D97-AF65-F5344CB8AC3E}">
        <p14:creationId xmlns:p14="http://schemas.microsoft.com/office/powerpoint/2010/main" val="887263485"/>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p:cNvSpPr>
            <a:spLocks noGrp="1"/>
          </p:cNvSpPr>
          <p:nvPr>
            <p:ph type="title"/>
          </p:nvPr>
        </p:nvSpPr>
        <p:spPr bwMode="gray">
          <a:xfrm>
            <a:off x="504001" y="504000"/>
            <a:ext cx="11186476" cy="369332"/>
          </a:xfrm>
        </p:spPr>
        <p:txBody>
          <a:bodyPr/>
          <a:lstStyle/>
          <a:p>
            <a:r>
              <a:rPr lang="en-US" dirty="0"/>
              <a:t>Event Insights - Monitoring</a:t>
            </a:r>
            <a:endParaRPr lang="en-US" sz="2400" dirty="0"/>
          </a:p>
        </p:txBody>
      </p:sp>
      <p:pic>
        <p:nvPicPr>
          <p:cNvPr id="3" name="Picture 2">
            <a:extLst>
              <a:ext uri="{FF2B5EF4-FFF2-40B4-BE49-F238E27FC236}">
                <a16:creationId xmlns:a16="http://schemas.microsoft.com/office/drawing/2014/main" id="{5D0E87B9-AF1E-856C-E330-C93DEA50D83D}"/>
              </a:ext>
            </a:extLst>
          </p:cNvPr>
          <p:cNvPicPr>
            <a:picLocks noChangeAspect="1"/>
          </p:cNvPicPr>
          <p:nvPr/>
        </p:nvPicPr>
        <p:blipFill>
          <a:blip r:embed="rId5"/>
          <a:stretch>
            <a:fillRect/>
          </a:stretch>
        </p:blipFill>
        <p:spPr>
          <a:xfrm>
            <a:off x="3389706" y="1797354"/>
            <a:ext cx="4772025" cy="3533775"/>
          </a:xfrm>
          <a:prstGeom prst="rect">
            <a:avLst/>
          </a:prstGeom>
        </p:spPr>
      </p:pic>
      <p:pic>
        <p:nvPicPr>
          <p:cNvPr id="5" name="Picture 4">
            <a:extLst>
              <a:ext uri="{FF2B5EF4-FFF2-40B4-BE49-F238E27FC236}">
                <a16:creationId xmlns:a16="http://schemas.microsoft.com/office/drawing/2014/main" id="{3C537DEE-9E38-A72B-FEF3-5C99D106F7C5}"/>
              </a:ext>
            </a:extLst>
          </p:cNvPr>
          <p:cNvPicPr>
            <a:picLocks noChangeAspect="1"/>
          </p:cNvPicPr>
          <p:nvPr/>
        </p:nvPicPr>
        <p:blipFill>
          <a:blip r:embed="rId6"/>
          <a:stretch>
            <a:fillRect/>
          </a:stretch>
        </p:blipFill>
        <p:spPr>
          <a:xfrm>
            <a:off x="5775718" y="3143567"/>
            <a:ext cx="4772025" cy="2052320"/>
          </a:xfrm>
          <a:prstGeom prst="rect">
            <a:avLst/>
          </a:prstGeom>
        </p:spPr>
      </p:pic>
      <p:pic>
        <p:nvPicPr>
          <p:cNvPr id="6" name="Picture 5">
            <a:extLst>
              <a:ext uri="{FF2B5EF4-FFF2-40B4-BE49-F238E27FC236}">
                <a16:creationId xmlns:a16="http://schemas.microsoft.com/office/drawing/2014/main" id="{CFA1B4D8-2801-428C-68F1-AA2009DA96A4}"/>
              </a:ext>
            </a:extLst>
          </p:cNvPr>
          <p:cNvPicPr>
            <a:picLocks noChangeAspect="1"/>
          </p:cNvPicPr>
          <p:nvPr/>
        </p:nvPicPr>
        <p:blipFill>
          <a:blip r:embed="rId7"/>
          <a:stretch>
            <a:fillRect/>
          </a:stretch>
        </p:blipFill>
        <p:spPr>
          <a:xfrm>
            <a:off x="6968725" y="4367174"/>
            <a:ext cx="4772025" cy="1718945"/>
          </a:xfrm>
          <a:prstGeom prst="rect">
            <a:avLst/>
          </a:prstGeom>
        </p:spPr>
      </p:pic>
      <p:pic>
        <p:nvPicPr>
          <p:cNvPr id="4" name="Picture 3">
            <a:extLst>
              <a:ext uri="{FF2B5EF4-FFF2-40B4-BE49-F238E27FC236}">
                <a16:creationId xmlns:a16="http://schemas.microsoft.com/office/drawing/2014/main" id="{6DA2D36F-3208-4FB9-0D43-31745D09F896}"/>
              </a:ext>
            </a:extLst>
          </p:cNvPr>
          <p:cNvPicPr>
            <a:picLocks noChangeAspect="1"/>
          </p:cNvPicPr>
          <p:nvPr/>
        </p:nvPicPr>
        <p:blipFill>
          <a:blip r:embed="rId8"/>
          <a:stretch>
            <a:fillRect/>
          </a:stretch>
        </p:blipFill>
        <p:spPr>
          <a:xfrm>
            <a:off x="370622" y="1149800"/>
            <a:ext cx="7609580" cy="4422660"/>
          </a:xfrm>
          <a:prstGeom prst="rect">
            <a:avLst/>
          </a:prstGeom>
        </p:spPr>
      </p:pic>
      <p:pic>
        <p:nvPicPr>
          <p:cNvPr id="2" name="Picture 1">
            <a:extLst>
              <a:ext uri="{FF2B5EF4-FFF2-40B4-BE49-F238E27FC236}">
                <a16:creationId xmlns:a16="http://schemas.microsoft.com/office/drawing/2014/main" id="{6E839C2B-FE63-0115-AA24-BB1419742C00}"/>
              </a:ext>
            </a:extLst>
          </p:cNvPr>
          <p:cNvPicPr>
            <a:picLocks noChangeAspect="1"/>
          </p:cNvPicPr>
          <p:nvPr/>
        </p:nvPicPr>
        <p:blipFill>
          <a:blip r:embed="rId9"/>
          <a:stretch>
            <a:fillRect/>
          </a:stretch>
        </p:blipFill>
        <p:spPr>
          <a:xfrm>
            <a:off x="2521844" y="1217669"/>
            <a:ext cx="9168633" cy="4422661"/>
          </a:xfrm>
          <a:prstGeom prst="rect">
            <a:avLst/>
          </a:prstGeom>
        </p:spPr>
      </p:pic>
    </p:spTree>
    <p:custDataLst>
      <p:custData r:id="rId1"/>
      <p:custData r:id="rId2"/>
    </p:custDataLst>
    <p:extLst>
      <p:ext uri="{BB962C8B-B14F-4D97-AF65-F5344CB8AC3E}">
        <p14:creationId xmlns:p14="http://schemas.microsoft.com/office/powerpoint/2010/main" val="286090588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7D840AEE-D8DC-4973-A722-26CDEB043AA2}"/>
              </a:ext>
            </a:extLst>
          </p:cNvPr>
          <p:cNvSpPr/>
          <p:nvPr/>
        </p:nvSpPr>
        <p:spPr bwMode="gray">
          <a:xfrm>
            <a:off x="6260107" y="1353338"/>
            <a:ext cx="2555335" cy="3619065"/>
          </a:xfrm>
          <a:prstGeom prst="rect">
            <a:avLst/>
          </a:prstGeom>
          <a:solidFill>
            <a:schemeClr val="bg2"/>
          </a:solidFill>
          <a:ln w="19050" algn="ctr">
            <a:noFill/>
            <a:miter lim="800000"/>
            <a:headEnd/>
            <a:tailEnd/>
          </a:ln>
        </p:spPr>
        <p:txBody>
          <a:bodyPr lIns="89977" tIns="71981" rIns="89977" bIns="71981" rtlCol="0" anchor="t"/>
          <a:lstStyle/>
          <a:p>
            <a:pPr defTabSz="914126">
              <a:spcBef>
                <a:spcPct val="50000"/>
              </a:spcBef>
              <a:buClr>
                <a:schemeClr val="tx2"/>
              </a:buClr>
              <a:buSzPct val="80000"/>
            </a:pPr>
            <a:r>
              <a:rPr lang="en-DE" sz="1600" kern="0" dirty="0">
                <a:latin typeface="72 Brand Medium" panose="020B0504030603020204" pitchFamily="34" charset="0"/>
                <a:ea typeface="Arial Unicode MS" pitchFamily="34" charset="-128"/>
                <a:cs typeface="Arial Unicode MS" pitchFamily="34" charset="-128"/>
              </a:rPr>
              <a:t>SAP S/4HANA</a:t>
            </a:r>
            <a:endParaRPr lang="en-US" sz="1600" kern="0" dirty="0">
              <a:latin typeface="72 Brand Medium" panose="020B0504030603020204" pitchFamily="34" charset="0"/>
              <a:ea typeface="Arial Unicode MS" pitchFamily="34" charset="-128"/>
              <a:cs typeface="Arial Unicode MS" pitchFamily="34" charset="-128"/>
            </a:endParaRPr>
          </a:p>
          <a:p>
            <a:pPr defTabSz="914126">
              <a:spcBef>
                <a:spcPts val="600"/>
              </a:spcBef>
              <a:buClr>
                <a:schemeClr val="tx2"/>
              </a:buClr>
              <a:buSzPct val="80000"/>
            </a:pPr>
            <a:r>
              <a:rPr lang="en-DE" sz="1200" kern="0" dirty="0">
                <a:latin typeface="72 Brand" panose="020B0504030603020204" pitchFamily="34" charset="0"/>
                <a:ea typeface="Arial Unicode MS" pitchFamily="34" charset="-128"/>
                <a:cs typeface="Arial Unicode MS" pitchFamily="34" charset="-128"/>
              </a:rPr>
              <a:t>Standard and Custom</a:t>
            </a:r>
          </a:p>
          <a:p>
            <a:pPr marL="179946" indent="-179946" defTabSz="914126">
              <a:spcBef>
                <a:spcPts val="300"/>
              </a:spcBef>
              <a:buClr>
                <a:schemeClr val="tx2"/>
              </a:buClr>
              <a:buSzPct val="100000"/>
              <a:buFont typeface="Arial" panose="020B0604020202020204" pitchFamily="34" charset="0"/>
              <a:buChar char="•"/>
            </a:pPr>
            <a:r>
              <a:rPr lang="en-US" sz="1200" kern="0" dirty="0">
                <a:latin typeface="72 Brand" panose="020B0504030603020204" pitchFamily="34" charset="0"/>
                <a:ea typeface="Arial Unicode MS" pitchFamily="34" charset="-128"/>
                <a:cs typeface="Arial Unicode MS" pitchFamily="34" charset="-128"/>
              </a:rPr>
              <a:t>Approximately </a:t>
            </a:r>
            <a:r>
              <a:rPr lang="en-DE" sz="1200" kern="0" dirty="0">
                <a:latin typeface="72 Brand" panose="020B0504030603020204" pitchFamily="34" charset="0"/>
                <a:ea typeface="Arial Unicode MS" pitchFamily="34" charset="-128"/>
                <a:cs typeface="Arial Unicode MS" pitchFamily="34" charset="-128"/>
              </a:rPr>
              <a:t>600 standard notification events documented on Business Accelerator Hub</a:t>
            </a:r>
          </a:p>
          <a:p>
            <a:pPr marL="171450" indent="-171450" defTabSz="914126">
              <a:spcBef>
                <a:spcPts val="300"/>
              </a:spcBef>
              <a:buClr>
                <a:schemeClr val="tx2"/>
              </a:buClr>
              <a:buSzPct val="100000"/>
              <a:buFont typeface="Arial" panose="020B0604020202020204" pitchFamily="34" charset="0"/>
              <a:buChar char="•"/>
            </a:pPr>
            <a:r>
              <a:rPr lang="en-US" sz="1200" kern="0" dirty="0">
                <a:latin typeface="72 Brand" panose="020B0504030603020204" pitchFamily="34" charset="0"/>
                <a:ea typeface="Arial Unicode MS" pitchFamily="34" charset="-128"/>
                <a:cs typeface="Arial Unicode MS" pitchFamily="34" charset="-128"/>
              </a:rPr>
              <a:t>Events based on the ABAP RESTful application programming model</a:t>
            </a:r>
          </a:p>
          <a:p>
            <a:pPr marL="171450" indent="-171450" defTabSz="914126">
              <a:spcBef>
                <a:spcPts val="300"/>
              </a:spcBef>
              <a:buClr>
                <a:schemeClr val="tx2"/>
              </a:buClr>
              <a:buSzPct val="100000"/>
              <a:buFont typeface="Arial" panose="020B0604020202020204" pitchFamily="34" charset="0"/>
              <a:buChar char="•"/>
            </a:pPr>
            <a:r>
              <a:rPr lang="en-DE" sz="1200" kern="0" dirty="0">
                <a:latin typeface="72 Brand" panose="020B0504030603020204" pitchFamily="34" charset="0"/>
                <a:ea typeface="Arial Unicode MS" pitchFamily="34" charset="-128"/>
                <a:cs typeface="Arial Unicode MS" pitchFamily="34" charset="-128"/>
              </a:rPr>
              <a:t>Adjustable</a:t>
            </a:r>
            <a:r>
              <a:rPr lang="en-DE" sz="300" kern="0" dirty="0">
                <a:latin typeface="72 Brand" panose="020B0504030603020204" pitchFamily="34" charset="0"/>
                <a:ea typeface="Arial Unicode MS" pitchFamily="34" charset="-128"/>
                <a:cs typeface="Arial Unicode MS" pitchFamily="34" charset="-128"/>
              </a:rPr>
              <a:t> </a:t>
            </a:r>
            <a:r>
              <a:rPr lang="en-US" sz="1200" kern="0" dirty="0">
                <a:latin typeface="72 Brand" panose="020B0504030603020204" pitchFamily="34" charset="0"/>
                <a:ea typeface="Arial Unicode MS" pitchFamily="34" charset="-128"/>
                <a:cs typeface="Arial Unicode MS" pitchFamily="34" charset="-128"/>
              </a:rPr>
              <a:t> and </a:t>
            </a:r>
            <a:r>
              <a:rPr lang="en-DE" sz="300" kern="0" dirty="0">
                <a:latin typeface="72 Brand" panose="020B0504030603020204" pitchFamily="34" charset="0"/>
                <a:ea typeface="Arial Unicode MS" pitchFamily="34" charset="-128"/>
                <a:cs typeface="Arial Unicode MS" pitchFamily="34" charset="-128"/>
              </a:rPr>
              <a:t> </a:t>
            </a:r>
            <a:r>
              <a:rPr lang="en-DE" sz="1200" kern="0" dirty="0">
                <a:latin typeface="72 Brand" panose="020B0504030603020204" pitchFamily="34" charset="0"/>
                <a:ea typeface="Arial Unicode MS" pitchFamily="34" charset="-128"/>
                <a:cs typeface="Arial Unicode MS" pitchFamily="34" charset="-128"/>
              </a:rPr>
              <a:t>extensible  standard events</a:t>
            </a:r>
          </a:p>
          <a:p>
            <a:pPr marL="171450" indent="-171450" defTabSz="914126">
              <a:spcBef>
                <a:spcPts val="300"/>
              </a:spcBef>
              <a:buClr>
                <a:schemeClr val="tx2"/>
              </a:buClr>
              <a:buSzPct val="100000"/>
              <a:buFont typeface="Arial" panose="020B0604020202020204" pitchFamily="34" charset="0"/>
              <a:buChar char="•"/>
            </a:pPr>
            <a:r>
              <a:rPr lang="en-US" sz="1200" kern="0" dirty="0">
                <a:latin typeface="72 Brand" panose="020B0504030603020204" pitchFamily="34" charset="0"/>
                <a:ea typeface="Arial Unicode MS" pitchFamily="34" charset="-128"/>
                <a:cs typeface="Arial Unicode MS" pitchFamily="34" charset="-128"/>
              </a:rPr>
              <a:t>Custom </a:t>
            </a:r>
            <a:r>
              <a:rPr lang="en-DE" sz="1200" kern="0" dirty="0">
                <a:latin typeface="72 Brand" panose="020B0504030603020204" pitchFamily="34" charset="0"/>
                <a:ea typeface="Arial Unicode MS" pitchFamily="34" charset="-128"/>
                <a:cs typeface="Arial Unicode MS" pitchFamily="34" charset="-128"/>
              </a:rPr>
              <a:t>notification and data events</a:t>
            </a:r>
          </a:p>
          <a:p>
            <a:pPr marL="171450" indent="-171450" defTabSz="914126">
              <a:spcBef>
                <a:spcPts val="300"/>
              </a:spcBef>
              <a:buClr>
                <a:schemeClr val="tx2"/>
              </a:buClr>
              <a:buSzPct val="100000"/>
              <a:buFont typeface="Arial" panose="020B0604020202020204" pitchFamily="34" charset="0"/>
              <a:buChar char="•"/>
            </a:pPr>
            <a:r>
              <a:rPr lang="en-US" sz="1200" kern="0" dirty="0">
                <a:latin typeface="72 Brand" panose="020B0504030603020204" pitchFamily="34" charset="0"/>
                <a:ea typeface="Arial Unicode MS" pitchFamily="34" charset="-128"/>
                <a:cs typeface="Arial Unicode MS" pitchFamily="34" charset="-128"/>
              </a:rPr>
              <a:t>I</a:t>
            </a:r>
            <a:r>
              <a:rPr lang="en-DE" sz="1200" kern="0" dirty="0">
                <a:latin typeface="72 Brand" panose="020B0504030603020204" pitchFamily="34" charset="0"/>
                <a:ea typeface="Arial Unicode MS" pitchFamily="34" charset="-128"/>
                <a:cs typeface="Arial Unicode MS" pitchFamily="34" charset="-128"/>
              </a:rPr>
              <a:t>nbound and outbound</a:t>
            </a:r>
          </a:p>
          <a:p>
            <a:pPr marL="171450" indent="-171450" defTabSz="914126">
              <a:spcBef>
                <a:spcPts val="300"/>
              </a:spcBef>
              <a:buClr>
                <a:schemeClr val="tx2"/>
              </a:buClr>
              <a:buSzPct val="100000"/>
              <a:buFont typeface="Arial" panose="020B0604020202020204" pitchFamily="34" charset="0"/>
              <a:buChar char="•"/>
            </a:pPr>
            <a:r>
              <a:rPr lang="en-DE" sz="1200" kern="0" dirty="0">
                <a:latin typeface="72 Brand" panose="020B0504030603020204" pitchFamily="34" charset="0"/>
                <a:ea typeface="Arial Unicode MS" pitchFamily="34" charset="-128"/>
                <a:cs typeface="Arial Unicode MS" pitchFamily="34" charset="-128"/>
              </a:rPr>
              <a:t>Custom add-on events</a:t>
            </a:r>
          </a:p>
        </p:txBody>
      </p:sp>
      <p:sp>
        <p:nvSpPr>
          <p:cNvPr id="20" name="Rectangle 19">
            <a:extLst>
              <a:ext uri="{FF2B5EF4-FFF2-40B4-BE49-F238E27FC236}">
                <a16:creationId xmlns:a16="http://schemas.microsoft.com/office/drawing/2014/main" id="{30BE66F8-E0B3-49CC-A2F6-5C803C1FD9D1}"/>
              </a:ext>
            </a:extLst>
          </p:cNvPr>
          <p:cNvSpPr/>
          <p:nvPr/>
        </p:nvSpPr>
        <p:spPr bwMode="gray">
          <a:xfrm>
            <a:off x="3384173" y="1353337"/>
            <a:ext cx="2555335" cy="3599062"/>
          </a:xfrm>
          <a:prstGeom prst="rect">
            <a:avLst/>
          </a:prstGeom>
          <a:solidFill>
            <a:schemeClr val="bg2"/>
          </a:solidFill>
          <a:ln w="19050" algn="ctr">
            <a:noFill/>
            <a:miter lim="800000"/>
            <a:headEnd/>
            <a:tailEnd/>
          </a:ln>
        </p:spPr>
        <p:txBody>
          <a:bodyPr lIns="89977" tIns="71981" rIns="89977" bIns="71981" rtlCol="0" anchor="t"/>
          <a:lstStyle/>
          <a:p>
            <a:pPr defTabSz="914126">
              <a:spcBef>
                <a:spcPct val="50000"/>
              </a:spcBef>
              <a:buClr>
                <a:schemeClr val="tx2"/>
              </a:buClr>
              <a:buSzPct val="80000"/>
            </a:pPr>
            <a:r>
              <a:rPr lang="en-DE" sz="1600" kern="0" dirty="0">
                <a:latin typeface="72 Brand Medium" panose="020B0504030603020204" pitchFamily="34" charset="0"/>
                <a:ea typeface="Arial Unicode MS" pitchFamily="34" charset="-128"/>
                <a:cs typeface="Arial Unicode MS" pitchFamily="34" charset="-128"/>
              </a:rPr>
              <a:t>SAP S/4HANA Cloud</a:t>
            </a:r>
            <a:endParaRPr lang="en-US" sz="1600" kern="0" dirty="0">
              <a:latin typeface="72 Brand Medium" panose="020B0504030603020204" pitchFamily="34" charset="0"/>
              <a:ea typeface="Arial Unicode MS" pitchFamily="34" charset="-128"/>
              <a:cs typeface="Arial Unicode MS" pitchFamily="34" charset="-128"/>
            </a:endParaRPr>
          </a:p>
          <a:p>
            <a:pPr defTabSz="914126">
              <a:spcBef>
                <a:spcPts val="600"/>
              </a:spcBef>
              <a:buClr>
                <a:schemeClr val="tx2"/>
              </a:buClr>
              <a:buSzPct val="80000"/>
            </a:pPr>
            <a:r>
              <a:rPr lang="en-DE" sz="1200" kern="0" dirty="0">
                <a:latin typeface="72 Brand" panose="020B0504030603020204" pitchFamily="34" charset="0"/>
                <a:ea typeface="Arial Unicode MS" pitchFamily="34" charset="-128"/>
                <a:cs typeface="Arial Unicode MS" pitchFamily="34" charset="-128"/>
              </a:rPr>
              <a:t>Standard and Custom</a:t>
            </a:r>
          </a:p>
          <a:p>
            <a:pPr marL="179946" indent="-179946" defTabSz="914126">
              <a:spcBef>
                <a:spcPts val="300"/>
              </a:spcBef>
              <a:buClr>
                <a:schemeClr val="tx2"/>
              </a:buClr>
              <a:buSzPct val="100000"/>
              <a:buFont typeface="Arial" panose="020B0604020202020204" pitchFamily="34" charset="0"/>
              <a:buChar char="•"/>
            </a:pPr>
            <a:r>
              <a:rPr lang="en-US" sz="1200" kern="0" dirty="0">
                <a:latin typeface="72 Brand" panose="020B0504030603020204" pitchFamily="34" charset="0"/>
                <a:ea typeface="Arial Unicode MS" pitchFamily="34" charset="-128"/>
                <a:cs typeface="Arial Unicode MS" pitchFamily="34" charset="-128"/>
              </a:rPr>
              <a:t>Approximately </a:t>
            </a:r>
            <a:r>
              <a:rPr lang="en-DE" sz="1200" kern="0" dirty="0">
                <a:latin typeface="72 Brand" panose="020B0504030603020204" pitchFamily="34" charset="0"/>
                <a:ea typeface="Arial Unicode MS" pitchFamily="34" charset="-128"/>
                <a:cs typeface="Arial Unicode MS" pitchFamily="34" charset="-128"/>
              </a:rPr>
              <a:t>600 standard notification events documented on Business Accelerator Hub</a:t>
            </a:r>
          </a:p>
          <a:p>
            <a:pPr marL="171450" indent="-171450" defTabSz="914126">
              <a:spcBef>
                <a:spcPts val="300"/>
              </a:spcBef>
              <a:buClr>
                <a:schemeClr val="tx2"/>
              </a:buClr>
              <a:buSzPct val="100000"/>
              <a:buFont typeface="Arial" panose="020B0604020202020204" pitchFamily="34" charset="0"/>
              <a:buChar char="•"/>
            </a:pPr>
            <a:r>
              <a:rPr lang="en-US" sz="1200" kern="0" dirty="0">
                <a:latin typeface="72 Brand" panose="020B0504030603020204" pitchFamily="34" charset="0"/>
                <a:ea typeface="Arial Unicode MS" pitchFamily="34" charset="-128"/>
                <a:cs typeface="Arial Unicode MS" pitchFamily="34" charset="-128"/>
              </a:rPr>
              <a:t>Events based on the ABAP RESTful application programming model</a:t>
            </a:r>
          </a:p>
          <a:p>
            <a:pPr marL="171450" indent="-171450" defTabSz="914126">
              <a:spcBef>
                <a:spcPts val="300"/>
              </a:spcBef>
              <a:buClr>
                <a:schemeClr val="tx2"/>
              </a:buClr>
              <a:buSzPct val="100000"/>
              <a:buFont typeface="Arial" panose="020B0604020202020204" pitchFamily="34" charset="0"/>
              <a:buChar char="•"/>
            </a:pPr>
            <a:r>
              <a:rPr lang="en-DE" sz="1200" kern="0" dirty="0">
                <a:latin typeface="72 Brand" panose="020B0504030603020204" pitchFamily="34" charset="0"/>
                <a:ea typeface="Arial Unicode MS" pitchFamily="34" charset="-128"/>
                <a:cs typeface="Arial Unicode MS" pitchFamily="34" charset="-128"/>
              </a:rPr>
              <a:t>Adjustable</a:t>
            </a:r>
            <a:r>
              <a:rPr lang="en-DE" sz="300" kern="0" dirty="0">
                <a:latin typeface="72 Brand" panose="020B0504030603020204" pitchFamily="34" charset="0"/>
                <a:ea typeface="Arial Unicode MS" pitchFamily="34" charset="-128"/>
                <a:cs typeface="Arial Unicode MS" pitchFamily="34" charset="-128"/>
              </a:rPr>
              <a:t> </a:t>
            </a:r>
            <a:r>
              <a:rPr lang="en-US" sz="1200" kern="0" dirty="0">
                <a:latin typeface="72 Brand" panose="020B0504030603020204" pitchFamily="34" charset="0"/>
                <a:ea typeface="Arial Unicode MS" pitchFamily="34" charset="-128"/>
                <a:cs typeface="Arial Unicode MS" pitchFamily="34" charset="-128"/>
              </a:rPr>
              <a:t> and </a:t>
            </a:r>
            <a:r>
              <a:rPr lang="en-DE" sz="300" kern="0" dirty="0">
                <a:latin typeface="72 Brand" panose="020B0504030603020204" pitchFamily="34" charset="0"/>
                <a:ea typeface="Arial Unicode MS" pitchFamily="34" charset="-128"/>
                <a:cs typeface="Arial Unicode MS" pitchFamily="34" charset="-128"/>
              </a:rPr>
              <a:t> </a:t>
            </a:r>
            <a:r>
              <a:rPr lang="en-DE" sz="1200" kern="0" dirty="0">
                <a:latin typeface="72 Brand" panose="020B0504030603020204" pitchFamily="34" charset="0"/>
                <a:ea typeface="Arial Unicode MS" pitchFamily="34" charset="-128"/>
                <a:cs typeface="Arial Unicode MS" pitchFamily="34" charset="-128"/>
              </a:rPr>
              <a:t>extensible  standard events</a:t>
            </a:r>
          </a:p>
          <a:p>
            <a:pPr marL="171450" indent="-171450" defTabSz="914126">
              <a:spcBef>
                <a:spcPts val="300"/>
              </a:spcBef>
              <a:buClr>
                <a:schemeClr val="tx2"/>
              </a:buClr>
              <a:buSzPct val="100000"/>
              <a:buFont typeface="Arial" panose="020B0604020202020204" pitchFamily="34" charset="0"/>
              <a:buChar char="•"/>
            </a:pPr>
            <a:r>
              <a:rPr lang="en-US" sz="1200" kern="0" dirty="0">
                <a:latin typeface="72 Brand" panose="020B0504030603020204" pitchFamily="34" charset="0"/>
                <a:ea typeface="Arial Unicode MS" pitchFamily="34" charset="-128"/>
                <a:cs typeface="Arial Unicode MS" pitchFamily="34" charset="-128"/>
              </a:rPr>
              <a:t>Custom </a:t>
            </a:r>
            <a:r>
              <a:rPr lang="en-DE" sz="1200" kern="0" dirty="0">
                <a:latin typeface="72 Brand" panose="020B0504030603020204" pitchFamily="34" charset="0"/>
                <a:ea typeface="Arial Unicode MS" pitchFamily="34" charset="-128"/>
                <a:cs typeface="Arial Unicode MS" pitchFamily="34" charset="-128"/>
              </a:rPr>
              <a:t>notification and data events</a:t>
            </a:r>
          </a:p>
          <a:p>
            <a:pPr marL="171450" indent="-171450" defTabSz="914126">
              <a:spcBef>
                <a:spcPts val="300"/>
              </a:spcBef>
              <a:buClr>
                <a:schemeClr val="tx2"/>
              </a:buClr>
              <a:buSzPct val="100000"/>
              <a:buFont typeface="Arial" panose="020B0604020202020204" pitchFamily="34" charset="0"/>
              <a:buChar char="•"/>
            </a:pPr>
            <a:r>
              <a:rPr lang="en-US" sz="1200" kern="0" dirty="0">
                <a:latin typeface="72 Brand" panose="020B0504030603020204" pitchFamily="34" charset="0"/>
                <a:ea typeface="Arial Unicode MS" pitchFamily="34" charset="-128"/>
                <a:cs typeface="Arial Unicode MS" pitchFamily="34" charset="-128"/>
              </a:rPr>
              <a:t>I</a:t>
            </a:r>
            <a:r>
              <a:rPr lang="en-DE" sz="1200" kern="0" dirty="0">
                <a:latin typeface="72 Brand" panose="020B0504030603020204" pitchFamily="34" charset="0"/>
                <a:ea typeface="Arial Unicode MS" pitchFamily="34" charset="-128"/>
                <a:cs typeface="Arial Unicode MS" pitchFamily="34" charset="-128"/>
              </a:rPr>
              <a:t>nbound and outbound</a:t>
            </a:r>
          </a:p>
          <a:p>
            <a:pPr defTabSz="914126">
              <a:spcBef>
                <a:spcPct val="50000"/>
              </a:spcBef>
              <a:buClr>
                <a:schemeClr val="tx2"/>
              </a:buClr>
              <a:buSzPct val="80000"/>
            </a:pPr>
            <a:endParaRPr lang="en-DE" sz="1200" kern="0" dirty="0">
              <a:latin typeface="72 Brand" panose="020B0504030603020204" pitchFamily="34" charset="0"/>
              <a:ea typeface="Arial Unicode MS" pitchFamily="34" charset="-128"/>
              <a:cs typeface="Arial Unicode MS" pitchFamily="34" charset="-128"/>
            </a:endParaRPr>
          </a:p>
        </p:txBody>
      </p:sp>
      <p:sp>
        <p:nvSpPr>
          <p:cNvPr id="21" name="Rectangle 20">
            <a:extLst>
              <a:ext uri="{FF2B5EF4-FFF2-40B4-BE49-F238E27FC236}">
                <a16:creationId xmlns:a16="http://schemas.microsoft.com/office/drawing/2014/main" id="{24AEBDD4-8B7B-4CFB-9DBE-8957DE8AFA09}"/>
              </a:ext>
            </a:extLst>
          </p:cNvPr>
          <p:cNvSpPr/>
          <p:nvPr/>
        </p:nvSpPr>
        <p:spPr bwMode="gray">
          <a:xfrm>
            <a:off x="9136041" y="1353338"/>
            <a:ext cx="2555335" cy="3599062"/>
          </a:xfrm>
          <a:prstGeom prst="rect">
            <a:avLst/>
          </a:prstGeom>
          <a:solidFill>
            <a:schemeClr val="bg2"/>
          </a:solidFill>
          <a:ln w="19050" algn="ctr">
            <a:noFill/>
            <a:miter lim="800000"/>
            <a:headEnd/>
            <a:tailEnd/>
          </a:ln>
        </p:spPr>
        <p:txBody>
          <a:bodyPr lIns="89977" tIns="71981" rIns="89977" bIns="71981" rtlCol="0" anchor="t"/>
          <a:lstStyle/>
          <a:p>
            <a:pPr defTabSz="914126">
              <a:spcBef>
                <a:spcPct val="50000"/>
              </a:spcBef>
              <a:buClr>
                <a:schemeClr val="tx2"/>
              </a:buClr>
              <a:buSzPct val="80000"/>
            </a:pPr>
            <a:r>
              <a:rPr lang="en-DE" sz="1600" kern="0" dirty="0">
                <a:latin typeface="72 Brand Medium" panose="020B0504030603020204" pitchFamily="34" charset="0"/>
                <a:ea typeface="Arial Unicode MS" pitchFamily="34" charset="-128"/>
                <a:cs typeface="Arial Unicode MS" pitchFamily="34" charset="-128"/>
              </a:rPr>
              <a:t>SAP SuccessFactors</a:t>
            </a:r>
            <a:r>
              <a:rPr lang="en-US" sz="1600" kern="0" dirty="0">
                <a:latin typeface="72 Brand Medium" panose="020B0504030603020204" pitchFamily="34" charset="0"/>
                <a:ea typeface="Arial Unicode MS" pitchFamily="34" charset="-128"/>
                <a:cs typeface="Arial Unicode MS" pitchFamily="34" charset="-128"/>
              </a:rPr>
              <a:t> solutions</a:t>
            </a:r>
            <a:endParaRPr lang="en-US" sz="1400" kern="0" dirty="0">
              <a:latin typeface="72 Brand Medium" panose="020B0504030603020204" pitchFamily="34" charset="0"/>
              <a:ea typeface="Arial Unicode MS" pitchFamily="34" charset="-128"/>
              <a:cs typeface="Arial Unicode MS" pitchFamily="34" charset="-128"/>
            </a:endParaRPr>
          </a:p>
          <a:p>
            <a:pPr defTabSz="914126">
              <a:spcBef>
                <a:spcPts val="600"/>
              </a:spcBef>
              <a:buClr>
                <a:schemeClr val="tx2"/>
              </a:buClr>
              <a:buSzPct val="100000"/>
            </a:pPr>
            <a:r>
              <a:rPr lang="en-US" sz="1200" kern="0" dirty="0">
                <a:latin typeface="72 Brand" panose="020B0504030603020204" pitchFamily="34" charset="0"/>
                <a:ea typeface="Arial Unicode MS" pitchFamily="34" charset="-128"/>
                <a:cs typeface="Arial Unicode MS" pitchFamily="34" charset="-128"/>
              </a:rPr>
              <a:t>Standard</a:t>
            </a:r>
          </a:p>
          <a:p>
            <a:pPr marL="179946" indent="-179946" defTabSz="914126">
              <a:spcBef>
                <a:spcPts val="600"/>
              </a:spcBef>
              <a:buClr>
                <a:schemeClr val="tx2"/>
              </a:buClr>
              <a:buSzPct val="100000"/>
              <a:buFont typeface="Arial" panose="020B0604020202020204" pitchFamily="34" charset="0"/>
              <a:buChar char="•"/>
            </a:pPr>
            <a:r>
              <a:rPr lang="en-US" sz="1200" kern="0" dirty="0">
                <a:latin typeface="72 Brand" panose="020B0504030603020204" pitchFamily="34" charset="0"/>
                <a:ea typeface="Arial Unicode MS" pitchFamily="34" charset="-128"/>
                <a:cs typeface="Arial Unicode MS" pitchFamily="34" charset="-128"/>
              </a:rPr>
              <a:t>Reuse of </a:t>
            </a:r>
            <a:r>
              <a:rPr lang="en-DE" sz="1200" kern="0" dirty="0">
                <a:latin typeface="72 Brand" panose="020B0504030603020204" pitchFamily="34" charset="0"/>
                <a:ea typeface="Arial Unicode MS" pitchFamily="34" charset="-128"/>
                <a:cs typeface="Arial Unicode MS" pitchFamily="34" charset="-128"/>
              </a:rPr>
              <a:t>Intelligent service events</a:t>
            </a:r>
          </a:p>
          <a:p>
            <a:pPr marL="171450" indent="-171450" defTabSz="914126">
              <a:spcBef>
                <a:spcPts val="300"/>
              </a:spcBef>
              <a:buClr>
                <a:schemeClr val="tx2"/>
              </a:buClr>
              <a:buSzPct val="100000"/>
              <a:buFont typeface="Arial" panose="020B0604020202020204" pitchFamily="34" charset="0"/>
              <a:buChar char="•"/>
            </a:pPr>
            <a:r>
              <a:rPr lang="en-DE" sz="1200" kern="0" dirty="0">
                <a:latin typeface="72 Brand" panose="020B0504030603020204" pitchFamily="34" charset="0"/>
                <a:ea typeface="Arial Unicode MS" pitchFamily="34" charset="-128"/>
                <a:cs typeface="Arial Unicode MS" pitchFamily="34" charset="-128"/>
              </a:rPr>
              <a:t>Adjustable standard events</a:t>
            </a:r>
          </a:p>
          <a:p>
            <a:pPr marL="171450" indent="-171450" defTabSz="914126">
              <a:spcBef>
                <a:spcPts val="300"/>
              </a:spcBef>
              <a:buClr>
                <a:schemeClr val="tx2"/>
              </a:buClr>
              <a:buSzPct val="100000"/>
              <a:buFont typeface="Arial" panose="020B0604020202020204" pitchFamily="34" charset="0"/>
              <a:buChar char="•"/>
            </a:pPr>
            <a:r>
              <a:rPr lang="en-US" sz="1200" kern="0" dirty="0">
                <a:latin typeface="72 Brand" panose="020B0504030603020204" pitchFamily="34" charset="0"/>
                <a:ea typeface="Arial Unicode MS" pitchFamily="34" charset="-128"/>
                <a:cs typeface="Arial Unicode MS" pitchFamily="34" charset="-128"/>
              </a:rPr>
              <a:t>Both </a:t>
            </a:r>
            <a:r>
              <a:rPr lang="en-DE" sz="1200" kern="0" dirty="0">
                <a:latin typeface="72 Brand" panose="020B0504030603020204" pitchFamily="34" charset="0"/>
                <a:ea typeface="Arial Unicode MS" pitchFamily="34" charset="-128"/>
                <a:cs typeface="Arial Unicode MS" pitchFamily="34" charset="-128"/>
              </a:rPr>
              <a:t>notification and data events</a:t>
            </a:r>
          </a:p>
          <a:p>
            <a:pPr marL="171450" indent="-171450" defTabSz="914126">
              <a:spcBef>
                <a:spcPts val="300"/>
              </a:spcBef>
              <a:buClr>
                <a:schemeClr val="tx2"/>
              </a:buClr>
              <a:buSzPct val="100000"/>
              <a:buFont typeface="Arial" panose="020B0604020202020204" pitchFamily="34" charset="0"/>
              <a:buChar char="•"/>
            </a:pPr>
            <a:r>
              <a:rPr lang="en-US" sz="1200" kern="0" dirty="0">
                <a:latin typeface="72 Brand" panose="020B0504030603020204" pitchFamily="34" charset="0"/>
                <a:ea typeface="Arial Unicode MS" pitchFamily="34" charset="-128"/>
                <a:cs typeface="Arial Unicode MS" pitchFamily="34" charset="-128"/>
              </a:rPr>
              <a:t>No support for </a:t>
            </a:r>
            <a:r>
              <a:rPr lang="en-DE" sz="1200" kern="0" dirty="0">
                <a:latin typeface="72 Brand" panose="020B0504030603020204" pitchFamily="34" charset="0"/>
                <a:ea typeface="Arial Unicode MS" pitchFamily="34" charset="-128"/>
                <a:cs typeface="Arial Unicode MS" pitchFamily="34" charset="-128"/>
              </a:rPr>
              <a:t>custom events</a:t>
            </a:r>
          </a:p>
          <a:p>
            <a:pPr marL="171450" indent="-171450" defTabSz="914126">
              <a:spcBef>
                <a:spcPts val="300"/>
              </a:spcBef>
              <a:buClr>
                <a:schemeClr val="tx2"/>
              </a:buClr>
              <a:buSzPct val="100000"/>
              <a:buFont typeface="Arial" panose="020B0604020202020204" pitchFamily="34" charset="0"/>
              <a:buChar char="•"/>
            </a:pPr>
            <a:r>
              <a:rPr lang="en-US" sz="1200" kern="0" dirty="0">
                <a:latin typeface="72 Brand" panose="020B0504030603020204" pitchFamily="34" charset="0"/>
                <a:ea typeface="Arial Unicode MS" pitchFamily="34" charset="-128"/>
                <a:cs typeface="Arial Unicode MS" pitchFamily="34" charset="-128"/>
              </a:rPr>
              <a:t>Support for JSON and SOAP formats, </a:t>
            </a:r>
            <a:r>
              <a:rPr lang="en-DE" sz="1200" kern="0" dirty="0">
                <a:latin typeface="72 Brand" panose="020B0504030603020204" pitchFamily="34" charset="0"/>
                <a:ea typeface="Arial Unicode MS" pitchFamily="34" charset="-128"/>
                <a:cs typeface="Arial Unicode MS" pitchFamily="34" charset="-128"/>
              </a:rPr>
              <a:t>CloudEvents format </a:t>
            </a:r>
            <a:r>
              <a:rPr lang="en-US" sz="1200" kern="0" dirty="0">
                <a:latin typeface="72 Brand" panose="020B0504030603020204" pitchFamily="34" charset="0"/>
                <a:ea typeface="Arial Unicode MS" pitchFamily="34" charset="-128"/>
                <a:cs typeface="Arial Unicode MS" pitchFamily="34" charset="-128"/>
              </a:rPr>
              <a:t>planned for future releases</a:t>
            </a:r>
            <a:endParaRPr lang="en-DE" sz="1200" kern="0" dirty="0">
              <a:latin typeface="72 Brand" panose="020B0504030603020204" pitchFamily="34" charset="0"/>
              <a:ea typeface="Arial Unicode MS" pitchFamily="34" charset="-128"/>
              <a:cs typeface="Arial Unicode MS" pitchFamily="34" charset="-128"/>
            </a:endParaRPr>
          </a:p>
        </p:txBody>
      </p:sp>
      <p:sp>
        <p:nvSpPr>
          <p:cNvPr id="22" name="Rectangle 21">
            <a:extLst>
              <a:ext uri="{FF2B5EF4-FFF2-40B4-BE49-F238E27FC236}">
                <a16:creationId xmlns:a16="http://schemas.microsoft.com/office/drawing/2014/main" id="{05A4A1EE-70EE-43B3-BD15-0E5E17CA5197}"/>
              </a:ext>
            </a:extLst>
          </p:cNvPr>
          <p:cNvSpPr/>
          <p:nvPr/>
        </p:nvSpPr>
        <p:spPr bwMode="gray">
          <a:xfrm>
            <a:off x="508238" y="1373338"/>
            <a:ext cx="2555335" cy="3579061"/>
          </a:xfrm>
          <a:prstGeom prst="rect">
            <a:avLst/>
          </a:prstGeom>
          <a:solidFill>
            <a:schemeClr val="bg2"/>
          </a:solidFill>
          <a:ln w="19050" algn="ctr">
            <a:noFill/>
            <a:miter lim="800000"/>
            <a:headEnd/>
            <a:tailEnd/>
          </a:ln>
        </p:spPr>
        <p:txBody>
          <a:bodyPr lIns="89977" tIns="71981" rIns="89977" bIns="71981" rtlCol="0" anchor="t"/>
          <a:lstStyle/>
          <a:p>
            <a:pPr defTabSz="914126">
              <a:spcBef>
                <a:spcPct val="50000"/>
              </a:spcBef>
              <a:buClr>
                <a:schemeClr val="tx2"/>
              </a:buClr>
              <a:buSzPct val="80000"/>
            </a:pPr>
            <a:r>
              <a:rPr lang="en-DE" sz="1600" kern="0" dirty="0">
                <a:latin typeface="72 Brand Medium" panose="020B0504030603020204" pitchFamily="34" charset="0"/>
                <a:ea typeface="Arial Unicode MS" pitchFamily="34" charset="-128"/>
                <a:cs typeface="Arial Unicode MS" pitchFamily="34" charset="-128"/>
              </a:rPr>
              <a:t>SAP ERP</a:t>
            </a:r>
            <a:endParaRPr lang="en-US" sz="1600" kern="0" dirty="0">
              <a:latin typeface="72 Brand Medium" panose="020B0504030603020204" pitchFamily="34" charset="0"/>
              <a:ea typeface="Arial Unicode MS" pitchFamily="34" charset="-128"/>
              <a:cs typeface="Arial Unicode MS" pitchFamily="34" charset="-128"/>
            </a:endParaRPr>
          </a:p>
          <a:p>
            <a:pPr defTabSz="914126">
              <a:spcBef>
                <a:spcPct val="50000"/>
              </a:spcBef>
              <a:buClr>
                <a:schemeClr val="tx2"/>
              </a:buClr>
              <a:buSzPct val="100000"/>
            </a:pPr>
            <a:r>
              <a:rPr lang="en-DE" sz="1200" kern="0" dirty="0">
                <a:latin typeface="72 Brand" panose="020B0504030603020204" pitchFamily="34" charset="0"/>
                <a:ea typeface="Arial Unicode MS" pitchFamily="34" charset="-128"/>
                <a:cs typeface="Arial Unicode MS" pitchFamily="34" charset="-128"/>
              </a:rPr>
              <a:t>Custom Only</a:t>
            </a:r>
            <a:endParaRPr lang="en-DE" sz="1200" kern="0" dirty="0">
              <a:latin typeface="72 Brand" panose="020B0504030603020204" pitchFamily="34" charset="0"/>
              <a:ea typeface="Arial Unicode MS" pitchFamily="34" charset="-128"/>
            </a:endParaRPr>
          </a:p>
          <a:p>
            <a:pPr marL="171450" indent="-171450" defTabSz="914126">
              <a:spcBef>
                <a:spcPct val="50000"/>
              </a:spcBef>
              <a:buClr>
                <a:schemeClr val="tx2"/>
              </a:buClr>
              <a:buSzPct val="100000"/>
              <a:buFont typeface="Arial" panose="020B0604020202020204" pitchFamily="34" charset="0"/>
              <a:buChar char="•"/>
            </a:pPr>
            <a:r>
              <a:rPr lang="en-DE" sz="1200" kern="0" dirty="0">
                <a:latin typeface="72 Brand" panose="020B0504030603020204" pitchFamily="34" charset="0"/>
                <a:ea typeface="Arial Unicode MS" pitchFamily="34" charset="-128"/>
              </a:rPr>
              <a:t>Custom events only using the event enablement add-on</a:t>
            </a:r>
          </a:p>
          <a:p>
            <a:pPr marL="179946" indent="-179946" defTabSz="914126">
              <a:spcBef>
                <a:spcPts val="600"/>
              </a:spcBef>
              <a:buClr>
                <a:schemeClr val="tx2"/>
              </a:buClr>
              <a:buSzPct val="100000"/>
              <a:buFont typeface="Arial" panose="020B0604020202020204" pitchFamily="34" charset="0"/>
              <a:buChar char="•"/>
            </a:pPr>
            <a:r>
              <a:rPr lang="en-US" sz="1200" kern="0" dirty="0">
                <a:latin typeface="72 Brand" panose="020B0504030603020204" pitchFamily="34" charset="0"/>
                <a:ea typeface="Arial Unicode MS" pitchFamily="34" charset="-128"/>
                <a:cs typeface="Arial Unicode MS" pitchFamily="34" charset="-128"/>
              </a:rPr>
              <a:t>Ability to include </a:t>
            </a:r>
            <a:r>
              <a:rPr lang="en-DE" sz="1200" kern="0" dirty="0">
                <a:latin typeface="72 Brand" panose="020B0504030603020204" pitchFamily="34" charset="0"/>
                <a:ea typeface="Arial Unicode MS" pitchFamily="34" charset="-128"/>
                <a:cs typeface="Arial Unicode MS" pitchFamily="34" charset="-128"/>
              </a:rPr>
              <a:t>notification events and data events</a:t>
            </a:r>
          </a:p>
          <a:p>
            <a:pPr marL="179946" indent="-179946" defTabSz="914126">
              <a:spcBef>
                <a:spcPts val="600"/>
              </a:spcBef>
              <a:buClr>
                <a:schemeClr val="tx2"/>
              </a:buClr>
              <a:buSzPct val="100000"/>
              <a:buFont typeface="Arial" panose="020B0604020202020204" pitchFamily="34" charset="0"/>
              <a:buChar char="•"/>
            </a:pPr>
            <a:r>
              <a:rPr lang="en-US" sz="1200" kern="0" dirty="0">
                <a:latin typeface="72 Brand" panose="020B0504030603020204" pitchFamily="34" charset="0"/>
                <a:ea typeface="Arial Unicode MS" pitchFamily="34" charset="-128"/>
                <a:cs typeface="Arial Unicode MS" pitchFamily="34" charset="-128"/>
              </a:rPr>
              <a:t>Allowance </a:t>
            </a:r>
            <a:r>
              <a:rPr lang="en-DE" sz="1200" kern="0" dirty="0">
                <a:latin typeface="72 Brand" panose="020B0504030603020204" pitchFamily="34" charset="0"/>
                <a:ea typeface="Arial Unicode MS" pitchFamily="34" charset="-128"/>
                <a:cs typeface="Arial Unicode MS" pitchFamily="34" charset="-128"/>
              </a:rPr>
              <a:t>for inbound and outbound events</a:t>
            </a:r>
          </a:p>
          <a:p>
            <a:pPr marL="179946" indent="-179946" defTabSz="914126">
              <a:spcBef>
                <a:spcPts val="600"/>
              </a:spcBef>
              <a:buClr>
                <a:schemeClr val="tx2"/>
              </a:buClr>
              <a:buSzPct val="100000"/>
              <a:buFont typeface="Arial" panose="020B0604020202020204" pitchFamily="34" charset="0"/>
              <a:buChar char="•"/>
            </a:pPr>
            <a:r>
              <a:rPr lang="en-DE" sz="1200" kern="0" dirty="0">
                <a:latin typeface="72 Brand" panose="020B0504030603020204" pitchFamily="34" charset="0"/>
                <a:ea typeface="Arial Unicode MS" pitchFamily="34" charset="-128"/>
                <a:cs typeface="Arial Unicode MS" pitchFamily="34" charset="-128"/>
              </a:rPr>
              <a:t>CloudEvents format </a:t>
            </a:r>
          </a:p>
          <a:p>
            <a:pPr marL="171399" indent="-171399" defTabSz="914126">
              <a:spcBef>
                <a:spcPct val="50000"/>
              </a:spcBef>
              <a:buClr>
                <a:schemeClr val="tx2"/>
              </a:buClr>
              <a:buSzPct val="80000"/>
              <a:buFont typeface="Arial" panose="020B0604020202020204" pitchFamily="34" charset="0"/>
              <a:buChar char="•"/>
            </a:pPr>
            <a:endParaRPr lang="en-DE" sz="1200" kern="0" dirty="0">
              <a:latin typeface="72 Brand" panose="020B0504030603020204" pitchFamily="34" charset="0"/>
              <a:ea typeface="Arial Unicode MS" pitchFamily="34" charset="-128"/>
              <a:cs typeface="Arial Unicode MS" pitchFamily="34" charset="-128"/>
            </a:endParaRPr>
          </a:p>
        </p:txBody>
      </p:sp>
      <p:sp>
        <p:nvSpPr>
          <p:cNvPr id="23" name="Rectangle 22">
            <a:extLst>
              <a:ext uri="{FF2B5EF4-FFF2-40B4-BE49-F238E27FC236}">
                <a16:creationId xmlns:a16="http://schemas.microsoft.com/office/drawing/2014/main" id="{103814A2-01C8-405D-98F6-9D829EB38043}"/>
              </a:ext>
            </a:extLst>
          </p:cNvPr>
          <p:cNvSpPr/>
          <p:nvPr/>
        </p:nvSpPr>
        <p:spPr bwMode="gray">
          <a:xfrm>
            <a:off x="512856" y="5304993"/>
            <a:ext cx="11177621" cy="763679"/>
          </a:xfrm>
          <a:prstGeom prst="rect">
            <a:avLst/>
          </a:prstGeom>
          <a:solidFill>
            <a:schemeClr val="accent2"/>
          </a:solidFill>
          <a:ln w="25400" algn="ctr">
            <a:noFill/>
            <a:miter lim="800000"/>
            <a:headEnd/>
            <a:tailEnd/>
          </a:ln>
        </p:spPr>
        <p:txBody>
          <a:bodyPr lIns="89977" tIns="71981" rIns="215944" bIns="71981" rtlCol="0" anchor="ctr"/>
          <a:lstStyle/>
          <a:p>
            <a:pPr algn="r" defTabSz="914126">
              <a:spcBef>
                <a:spcPct val="50000"/>
              </a:spcBef>
              <a:buClr>
                <a:srgbClr val="F0AB00"/>
              </a:buClr>
              <a:buSzPct val="80000"/>
            </a:pPr>
            <a:r>
              <a:rPr lang="en-DE" sz="1600" kern="0" dirty="0">
                <a:latin typeface="72 Brand Medium" panose="020B0504030603020204" pitchFamily="34" charset="0"/>
                <a:ea typeface="Arial Unicode MS" pitchFamily="34" charset="-128"/>
                <a:cs typeface="Arial Unicode MS" pitchFamily="34" charset="-128"/>
              </a:rPr>
              <a:t>SAP Integration Suite </a:t>
            </a:r>
          </a:p>
        </p:txBody>
      </p:sp>
      <p:sp>
        <p:nvSpPr>
          <p:cNvPr id="28" name="Rectangle 27">
            <a:extLst>
              <a:ext uri="{FF2B5EF4-FFF2-40B4-BE49-F238E27FC236}">
                <a16:creationId xmlns:a16="http://schemas.microsoft.com/office/drawing/2014/main" id="{CE8BD2FB-9FC7-450E-9516-FDDEEDA8FE9F}"/>
              </a:ext>
            </a:extLst>
          </p:cNvPr>
          <p:cNvSpPr/>
          <p:nvPr/>
        </p:nvSpPr>
        <p:spPr bwMode="gray">
          <a:xfrm>
            <a:off x="680564" y="5441077"/>
            <a:ext cx="5258943" cy="491511"/>
          </a:xfrm>
          <a:prstGeom prst="rect">
            <a:avLst/>
          </a:prstGeom>
          <a:solidFill>
            <a:schemeClr val="bg1"/>
          </a:solidFill>
          <a:ln w="25400" algn="ctr">
            <a:solidFill>
              <a:schemeClr val="tx2"/>
            </a:solidFill>
            <a:prstDash val="solid"/>
            <a:miter lim="800000"/>
            <a:headEnd/>
            <a:tailEnd/>
          </a:ln>
        </p:spPr>
        <p:txBody>
          <a:bodyPr lIns="71981" tIns="71981" rIns="71981" bIns="71981" rtlCol="0" anchor="ctr"/>
          <a:lstStyle/>
          <a:p>
            <a:pPr algn="ctr" defTabSz="914126">
              <a:spcBef>
                <a:spcPct val="50000"/>
              </a:spcBef>
              <a:buClr>
                <a:srgbClr val="F0AB00"/>
              </a:buClr>
              <a:buSzPct val="80000"/>
            </a:pPr>
            <a:r>
              <a:rPr lang="en-DE" sz="1600" kern="0">
                <a:latin typeface="72 Brand Medium" panose="020B0504030603020204" pitchFamily="34" charset="0"/>
                <a:ea typeface="Arial Unicode MS" pitchFamily="34" charset="-128"/>
                <a:cs typeface="Arial Unicode MS" pitchFamily="34" charset="-128"/>
              </a:rPr>
              <a:t>SAP I</a:t>
            </a:r>
            <a:r>
              <a:rPr lang="en-US" sz="1600" kern="0">
                <a:latin typeface="72 Brand Medium" panose="020B0504030603020204" pitchFamily="34" charset="0"/>
                <a:ea typeface="Arial Unicode MS" pitchFamily="34" charset="-128"/>
                <a:cs typeface="Arial Unicode MS" pitchFamily="34" charset="-128"/>
              </a:rPr>
              <a:t>n</a:t>
            </a:r>
            <a:r>
              <a:rPr lang="en-DE" sz="1600" kern="0">
                <a:latin typeface="72 Brand Medium" panose="020B0504030603020204" pitchFamily="34" charset="0"/>
                <a:ea typeface="Arial Unicode MS" pitchFamily="34" charset="-128"/>
                <a:cs typeface="Arial Unicode MS" pitchFamily="34" charset="-128"/>
              </a:rPr>
              <a:t>tegration Suite, advanced event mesh</a:t>
            </a:r>
          </a:p>
        </p:txBody>
      </p:sp>
      <p:sp>
        <p:nvSpPr>
          <p:cNvPr id="30" name="Rectangle 29">
            <a:extLst>
              <a:ext uri="{FF2B5EF4-FFF2-40B4-BE49-F238E27FC236}">
                <a16:creationId xmlns:a16="http://schemas.microsoft.com/office/drawing/2014/main" id="{B2446080-53E2-4EC2-B4CF-7531C213F32C}"/>
              </a:ext>
            </a:extLst>
          </p:cNvPr>
          <p:cNvSpPr/>
          <p:nvPr/>
        </p:nvSpPr>
        <p:spPr bwMode="gray">
          <a:xfrm>
            <a:off x="517114" y="4580190"/>
            <a:ext cx="2555335" cy="372210"/>
          </a:xfrm>
          <a:prstGeom prst="rect">
            <a:avLst/>
          </a:prstGeom>
          <a:solidFill>
            <a:schemeClr val="tx2"/>
          </a:solidFill>
          <a:ln w="25400" algn="ctr">
            <a:noFill/>
            <a:miter lim="800000"/>
            <a:headEnd/>
            <a:tailEnd/>
          </a:ln>
        </p:spPr>
        <p:txBody>
          <a:bodyPr lIns="89977" tIns="71981" rIns="89977" bIns="71981" rtlCol="0" anchor="ctr"/>
          <a:lstStyle/>
          <a:p>
            <a:pPr algn="ctr" defTabSz="914126">
              <a:spcBef>
                <a:spcPct val="50000"/>
              </a:spcBef>
              <a:buClr>
                <a:srgbClr val="F0AB00"/>
              </a:buClr>
              <a:buSzPct val="80000"/>
            </a:pPr>
            <a:r>
              <a:rPr lang="en-DE" sz="1200" kern="0">
                <a:solidFill>
                  <a:schemeClr val="bg1"/>
                </a:solidFill>
                <a:latin typeface="72 Brand Medium" panose="020B0504030603020204" pitchFamily="34" charset="0"/>
                <a:ea typeface="Arial Unicode MS" pitchFamily="34" charset="-128"/>
                <a:cs typeface="Arial Unicode MS" pitchFamily="34" charset="-128"/>
              </a:rPr>
              <a:t>Add-on</a:t>
            </a:r>
          </a:p>
        </p:txBody>
      </p:sp>
      <p:cxnSp>
        <p:nvCxnSpPr>
          <p:cNvPr id="49" name="Straight Connector 48">
            <a:extLst>
              <a:ext uri="{FF2B5EF4-FFF2-40B4-BE49-F238E27FC236}">
                <a16:creationId xmlns:a16="http://schemas.microsoft.com/office/drawing/2014/main" id="{60103862-968F-4A78-BB21-33D3E27C0805}"/>
              </a:ext>
            </a:extLst>
          </p:cNvPr>
          <p:cNvCxnSpPr>
            <a:cxnSpLocks/>
            <a:endCxn id="30" idx="2"/>
          </p:cNvCxnSpPr>
          <p:nvPr/>
        </p:nvCxnSpPr>
        <p:spPr>
          <a:xfrm flipV="1">
            <a:off x="1794781" y="4952400"/>
            <a:ext cx="1" cy="352592"/>
          </a:xfrm>
          <a:prstGeom prst="line">
            <a:avLst/>
          </a:prstGeom>
          <a:ln w="190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A51BF587-A482-4030-BF47-AC3E7D4C3FB2}"/>
              </a:ext>
            </a:extLst>
          </p:cNvPr>
          <p:cNvCxnSpPr>
            <a:cxnSpLocks/>
            <a:endCxn id="21" idx="2"/>
          </p:cNvCxnSpPr>
          <p:nvPr/>
        </p:nvCxnSpPr>
        <p:spPr>
          <a:xfrm flipV="1">
            <a:off x="10413708" y="4952400"/>
            <a:ext cx="1" cy="352593"/>
          </a:xfrm>
          <a:prstGeom prst="line">
            <a:avLst/>
          </a:prstGeom>
          <a:ln w="190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2C390519-9FB5-40D5-ACF4-9004CF790216}"/>
              </a:ext>
            </a:extLst>
          </p:cNvPr>
          <p:cNvCxnSpPr>
            <a:cxnSpLocks/>
            <a:endCxn id="20" idx="2"/>
          </p:cNvCxnSpPr>
          <p:nvPr/>
        </p:nvCxnSpPr>
        <p:spPr>
          <a:xfrm flipV="1">
            <a:off x="4661840" y="4952399"/>
            <a:ext cx="1" cy="352594"/>
          </a:xfrm>
          <a:prstGeom prst="line">
            <a:avLst/>
          </a:prstGeom>
          <a:ln w="190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EA69BA16-1E5C-92F1-EB20-E141FA24F6CE}"/>
              </a:ext>
            </a:extLst>
          </p:cNvPr>
          <p:cNvCxnSpPr>
            <a:cxnSpLocks/>
          </p:cNvCxnSpPr>
          <p:nvPr/>
        </p:nvCxnSpPr>
        <p:spPr>
          <a:xfrm flipV="1">
            <a:off x="7572328" y="4962400"/>
            <a:ext cx="1" cy="352594"/>
          </a:xfrm>
          <a:prstGeom prst="line">
            <a:avLst/>
          </a:prstGeom>
          <a:ln w="190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6" name="Titel 5">
            <a:extLst>
              <a:ext uri="{FF2B5EF4-FFF2-40B4-BE49-F238E27FC236}">
                <a16:creationId xmlns:a16="http://schemas.microsoft.com/office/drawing/2014/main" id="{8F3FBF8D-5B1E-056C-E780-843DD2E4CACA}"/>
              </a:ext>
            </a:extLst>
          </p:cNvPr>
          <p:cNvSpPr>
            <a:spLocks noGrp="1"/>
          </p:cNvSpPr>
          <p:nvPr>
            <p:ph type="title"/>
          </p:nvPr>
        </p:nvSpPr>
        <p:spPr>
          <a:xfrm>
            <a:off x="504001" y="504000"/>
            <a:ext cx="11186476" cy="677108"/>
          </a:xfrm>
        </p:spPr>
        <p:txBody>
          <a:bodyPr/>
          <a:lstStyle/>
          <a:p>
            <a:r>
              <a:rPr lang="en-US" dirty="0"/>
              <a:t>Event sources and consumers – standard SAP and custom add-ons for events</a:t>
            </a:r>
            <a:br>
              <a:rPr lang="en-US" dirty="0"/>
            </a:br>
            <a:r>
              <a:rPr lang="en-US" sz="2000" dirty="0">
                <a:solidFill>
                  <a:srgbClr val="FFC000"/>
                </a:solidFill>
              </a:rPr>
              <a:t>Big Picture</a:t>
            </a:r>
          </a:p>
        </p:txBody>
      </p:sp>
      <p:sp>
        <p:nvSpPr>
          <p:cNvPr id="2" name="Rectangle 1">
            <a:extLst>
              <a:ext uri="{FF2B5EF4-FFF2-40B4-BE49-F238E27FC236}">
                <a16:creationId xmlns:a16="http://schemas.microsoft.com/office/drawing/2014/main" id="{71D551D1-1CEE-9934-31F7-475041F5690C}"/>
              </a:ext>
            </a:extLst>
          </p:cNvPr>
          <p:cNvSpPr/>
          <p:nvPr/>
        </p:nvSpPr>
        <p:spPr bwMode="gray">
          <a:xfrm>
            <a:off x="6255669" y="5434943"/>
            <a:ext cx="2949289" cy="491511"/>
          </a:xfrm>
          <a:prstGeom prst="rect">
            <a:avLst/>
          </a:prstGeom>
          <a:solidFill>
            <a:schemeClr val="bg1"/>
          </a:solidFill>
          <a:ln w="25400" algn="ctr">
            <a:solidFill>
              <a:schemeClr val="tx2"/>
            </a:solidFill>
            <a:prstDash val="solid"/>
            <a:miter lim="800000"/>
            <a:headEnd/>
            <a:tailEnd/>
          </a:ln>
        </p:spPr>
        <p:txBody>
          <a:bodyPr lIns="71981" tIns="71981" rIns="71981" bIns="71981" rtlCol="0" anchor="ctr"/>
          <a:lstStyle/>
          <a:p>
            <a:pPr algn="ctr" defTabSz="914126">
              <a:spcBef>
                <a:spcPct val="50000"/>
              </a:spcBef>
              <a:buClr>
                <a:srgbClr val="F0AB00"/>
              </a:buClr>
              <a:buSzPct val="80000"/>
            </a:pPr>
            <a:r>
              <a:rPr lang="en-DE" sz="1600" kern="0" dirty="0">
                <a:latin typeface="72 Brand Medium" panose="020B0504030603020204" pitchFamily="34" charset="0"/>
                <a:ea typeface="Arial Unicode MS" pitchFamily="34" charset="-128"/>
                <a:cs typeface="Arial Unicode MS" pitchFamily="34" charset="-128"/>
              </a:rPr>
              <a:t>SAP </a:t>
            </a:r>
            <a:r>
              <a:rPr lang="de-DE" sz="1600" kern="0" dirty="0">
                <a:latin typeface="72 Brand Medium" panose="020B0504030603020204" pitchFamily="34" charset="0"/>
                <a:ea typeface="Arial Unicode MS" pitchFamily="34" charset="-128"/>
                <a:cs typeface="Arial Unicode MS" pitchFamily="34" charset="-128"/>
              </a:rPr>
              <a:t>Event Mesh</a:t>
            </a:r>
            <a:endParaRPr lang="en-DE" sz="1600" kern="0" dirty="0">
              <a:latin typeface="72 Brand Medium" panose="020B0504030603020204" pitchFamily="34" charset="0"/>
              <a:ea typeface="Arial Unicode MS" pitchFamily="34" charset="-128"/>
              <a:cs typeface="Arial Unicode MS" pitchFamily="34" charset="-128"/>
            </a:endParaRPr>
          </a:p>
        </p:txBody>
      </p:sp>
      <p:sp>
        <p:nvSpPr>
          <p:cNvPr id="3" name="Rectangle 29">
            <a:extLst>
              <a:ext uri="{FF2B5EF4-FFF2-40B4-BE49-F238E27FC236}">
                <a16:creationId xmlns:a16="http://schemas.microsoft.com/office/drawing/2014/main" id="{EAE21C2C-B7D4-9E45-5230-99AA10128CC7}"/>
              </a:ext>
            </a:extLst>
          </p:cNvPr>
          <p:cNvSpPr/>
          <p:nvPr/>
        </p:nvSpPr>
        <p:spPr bwMode="gray">
          <a:xfrm>
            <a:off x="499362" y="4171257"/>
            <a:ext cx="2555335" cy="372210"/>
          </a:xfrm>
          <a:prstGeom prst="rect">
            <a:avLst/>
          </a:prstGeom>
          <a:solidFill>
            <a:schemeClr val="accent4"/>
          </a:solidFill>
          <a:ln w="25400" algn="ctr">
            <a:noFill/>
            <a:miter lim="800000"/>
            <a:headEnd/>
            <a:tailEnd/>
          </a:ln>
        </p:spPr>
        <p:txBody>
          <a:bodyPr lIns="89977" tIns="71981" rIns="89977" bIns="71981" rtlCol="0" anchor="ctr"/>
          <a:lstStyle/>
          <a:p>
            <a:pPr algn="ctr" defTabSz="914126">
              <a:spcBef>
                <a:spcPct val="50000"/>
              </a:spcBef>
              <a:buClr>
                <a:srgbClr val="F0AB00"/>
              </a:buClr>
              <a:buSzPct val="80000"/>
            </a:pPr>
            <a:r>
              <a:rPr lang="de-DE" sz="1200" kern="0" dirty="0">
                <a:solidFill>
                  <a:schemeClr val="bg1"/>
                </a:solidFill>
                <a:latin typeface="72 Brand Medium" panose="020B0504030603020204" pitchFamily="34" charset="0"/>
                <a:ea typeface="Arial Unicode MS" pitchFamily="34" charset="-128"/>
                <a:cs typeface="Arial Unicode MS" pitchFamily="34" charset="-128"/>
              </a:rPr>
              <a:t>AIFAEM</a:t>
            </a:r>
            <a:endParaRPr lang="en-DE" sz="1200" kern="0">
              <a:solidFill>
                <a:schemeClr val="bg1"/>
              </a:solidFill>
              <a:latin typeface="72 Brand Medium" panose="020B0504030603020204" pitchFamily="34" charset="0"/>
              <a:ea typeface="Arial Unicode MS" pitchFamily="34" charset="-128"/>
              <a:cs typeface="Arial Unicode MS" pitchFamily="34" charset="-128"/>
            </a:endParaRPr>
          </a:p>
        </p:txBody>
      </p:sp>
      <p:sp>
        <p:nvSpPr>
          <p:cNvPr id="5" name="Rectangle 29">
            <a:extLst>
              <a:ext uri="{FF2B5EF4-FFF2-40B4-BE49-F238E27FC236}">
                <a16:creationId xmlns:a16="http://schemas.microsoft.com/office/drawing/2014/main" id="{CEB1079C-48A7-6CA4-16C6-069EFB7CF6FE}"/>
              </a:ext>
            </a:extLst>
          </p:cNvPr>
          <p:cNvSpPr/>
          <p:nvPr/>
        </p:nvSpPr>
        <p:spPr bwMode="gray">
          <a:xfrm>
            <a:off x="6251232" y="4578160"/>
            <a:ext cx="2555335" cy="372210"/>
          </a:xfrm>
          <a:prstGeom prst="rect">
            <a:avLst/>
          </a:prstGeom>
          <a:solidFill>
            <a:schemeClr val="accent4"/>
          </a:solidFill>
          <a:ln w="25400" algn="ctr">
            <a:noFill/>
            <a:miter lim="800000"/>
            <a:headEnd/>
            <a:tailEnd/>
          </a:ln>
        </p:spPr>
        <p:txBody>
          <a:bodyPr lIns="89977" tIns="71981" rIns="89977" bIns="71981" rtlCol="0" anchor="ctr"/>
          <a:lstStyle/>
          <a:p>
            <a:pPr algn="ctr" defTabSz="914126">
              <a:spcBef>
                <a:spcPct val="50000"/>
              </a:spcBef>
              <a:buClr>
                <a:srgbClr val="F0AB00"/>
              </a:buClr>
              <a:buSzPct val="80000"/>
            </a:pPr>
            <a:r>
              <a:rPr lang="de-DE" sz="1200" kern="0" dirty="0">
                <a:solidFill>
                  <a:schemeClr val="bg1"/>
                </a:solidFill>
                <a:latin typeface="72 Brand Medium" panose="020B0504030603020204" pitchFamily="34" charset="0"/>
                <a:ea typeface="Arial Unicode MS" pitchFamily="34" charset="-128"/>
                <a:cs typeface="Arial Unicode MS" pitchFamily="34" charset="-128"/>
              </a:rPr>
              <a:t>AIFAEM</a:t>
            </a:r>
            <a:endParaRPr lang="en-DE" sz="1200" kern="0">
              <a:solidFill>
                <a:schemeClr val="bg1"/>
              </a:solidFill>
              <a:latin typeface="72 Brand Medium" panose="020B0504030603020204" pitchFamily="34" charset="0"/>
              <a:ea typeface="Arial Unicode MS" pitchFamily="34" charset="-128"/>
              <a:cs typeface="Arial Unicode MS" pitchFamily="34" charset="-128"/>
            </a:endParaRPr>
          </a:p>
        </p:txBody>
      </p:sp>
      <p:sp>
        <p:nvSpPr>
          <p:cNvPr id="7" name="Rectangle 29">
            <a:extLst>
              <a:ext uri="{FF2B5EF4-FFF2-40B4-BE49-F238E27FC236}">
                <a16:creationId xmlns:a16="http://schemas.microsoft.com/office/drawing/2014/main" id="{029A2165-16E5-6870-B9F7-C7B86C4371FB}"/>
              </a:ext>
            </a:extLst>
          </p:cNvPr>
          <p:cNvSpPr/>
          <p:nvPr/>
        </p:nvSpPr>
        <p:spPr bwMode="gray">
          <a:xfrm>
            <a:off x="9204958" y="6421265"/>
            <a:ext cx="1208751" cy="372210"/>
          </a:xfrm>
          <a:prstGeom prst="rect">
            <a:avLst/>
          </a:prstGeom>
          <a:solidFill>
            <a:schemeClr val="accent4"/>
          </a:solidFill>
          <a:ln w="25400" algn="ctr">
            <a:noFill/>
            <a:miter lim="800000"/>
            <a:headEnd/>
            <a:tailEnd/>
          </a:ln>
        </p:spPr>
        <p:txBody>
          <a:bodyPr lIns="89977" tIns="71981" rIns="89977" bIns="71981" rtlCol="0" anchor="ctr"/>
          <a:lstStyle/>
          <a:p>
            <a:pPr algn="ctr" defTabSz="914126">
              <a:spcBef>
                <a:spcPct val="50000"/>
              </a:spcBef>
              <a:buClr>
                <a:srgbClr val="F0AB00"/>
              </a:buClr>
              <a:buSzPct val="80000"/>
            </a:pPr>
            <a:r>
              <a:rPr lang="de-DE" sz="1200" kern="0" dirty="0">
                <a:solidFill>
                  <a:schemeClr val="bg1"/>
                </a:solidFill>
                <a:latin typeface="72 Brand Medium" panose="020B0504030603020204" pitchFamily="34" charset="0"/>
                <a:ea typeface="Arial Unicode MS" pitchFamily="34" charset="-128"/>
                <a:cs typeface="Arial Unicode MS" pitchFamily="34" charset="-128"/>
              </a:rPr>
              <a:t>AIFAEM</a:t>
            </a:r>
            <a:endParaRPr lang="en-DE" sz="1200" kern="0">
              <a:solidFill>
                <a:schemeClr val="bg1"/>
              </a:solidFill>
              <a:latin typeface="72 Brand Medium" panose="020B0504030603020204" pitchFamily="34" charset="0"/>
              <a:ea typeface="Arial Unicode MS" pitchFamily="34" charset="-128"/>
              <a:cs typeface="Arial Unicode MS" pitchFamily="34" charset="-128"/>
            </a:endParaRPr>
          </a:p>
        </p:txBody>
      </p:sp>
      <p:sp>
        <p:nvSpPr>
          <p:cNvPr id="8" name="Rectangle 29">
            <a:extLst>
              <a:ext uri="{FF2B5EF4-FFF2-40B4-BE49-F238E27FC236}">
                <a16:creationId xmlns:a16="http://schemas.microsoft.com/office/drawing/2014/main" id="{0CA4F015-9C66-B5F0-A8E7-1F3E4109735E}"/>
              </a:ext>
            </a:extLst>
          </p:cNvPr>
          <p:cNvSpPr/>
          <p:nvPr/>
        </p:nvSpPr>
        <p:spPr bwMode="gray">
          <a:xfrm>
            <a:off x="7672122" y="6421265"/>
            <a:ext cx="1436992" cy="372210"/>
          </a:xfrm>
          <a:prstGeom prst="rect">
            <a:avLst/>
          </a:prstGeom>
          <a:solidFill>
            <a:schemeClr val="tx2"/>
          </a:solidFill>
          <a:ln w="25400" algn="ctr">
            <a:noFill/>
            <a:miter lim="800000"/>
            <a:headEnd/>
            <a:tailEnd/>
          </a:ln>
        </p:spPr>
        <p:txBody>
          <a:bodyPr lIns="89977" tIns="71981" rIns="89977" bIns="71981" rtlCol="0" anchor="ctr"/>
          <a:lstStyle/>
          <a:p>
            <a:pPr algn="ctr" defTabSz="914126">
              <a:spcBef>
                <a:spcPct val="50000"/>
              </a:spcBef>
              <a:buClr>
                <a:srgbClr val="F0AB00"/>
              </a:buClr>
              <a:buSzPct val="80000"/>
            </a:pPr>
            <a:r>
              <a:rPr lang="en-DE" sz="1200" kern="0">
                <a:solidFill>
                  <a:schemeClr val="bg1"/>
                </a:solidFill>
                <a:latin typeface="72 Brand Medium" panose="020B0504030603020204" pitchFamily="34" charset="0"/>
                <a:ea typeface="Arial Unicode MS" pitchFamily="34" charset="-128"/>
                <a:cs typeface="Arial Unicode MS" pitchFamily="34" charset="-128"/>
              </a:rPr>
              <a:t>Add-on</a:t>
            </a:r>
          </a:p>
        </p:txBody>
      </p:sp>
    </p:spTree>
    <p:extLst>
      <p:ext uri="{BB962C8B-B14F-4D97-AF65-F5344CB8AC3E}">
        <p14:creationId xmlns:p14="http://schemas.microsoft.com/office/powerpoint/2010/main" val="1401693984"/>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057A974-29DF-8C96-08C5-68634073F9C0}"/>
              </a:ext>
            </a:extLst>
          </p:cNvPr>
          <p:cNvPicPr>
            <a:picLocks noChangeAspect="1"/>
          </p:cNvPicPr>
          <p:nvPr/>
        </p:nvPicPr>
        <p:blipFill>
          <a:blip r:embed="rId5"/>
          <a:stretch>
            <a:fillRect/>
          </a:stretch>
        </p:blipFill>
        <p:spPr>
          <a:xfrm>
            <a:off x="206051" y="1008874"/>
            <a:ext cx="5709028" cy="3318066"/>
          </a:xfrm>
          <a:prstGeom prst="rect">
            <a:avLst/>
          </a:prstGeom>
        </p:spPr>
      </p:pic>
      <p:sp>
        <p:nvSpPr>
          <p:cNvPr id="24" name="Title"/>
          <p:cNvSpPr>
            <a:spLocks noGrp="1"/>
          </p:cNvSpPr>
          <p:nvPr>
            <p:ph type="title"/>
          </p:nvPr>
        </p:nvSpPr>
        <p:spPr bwMode="gray">
          <a:xfrm>
            <a:off x="504001" y="504000"/>
            <a:ext cx="11186476" cy="369332"/>
          </a:xfrm>
        </p:spPr>
        <p:txBody>
          <a:bodyPr/>
          <a:lstStyle/>
          <a:p>
            <a:r>
              <a:rPr lang="en-US" dirty="0"/>
              <a:t>Event Insights - Monitoring</a:t>
            </a:r>
            <a:endParaRPr lang="en-US" sz="2400" dirty="0"/>
          </a:p>
        </p:txBody>
      </p:sp>
      <p:pic>
        <p:nvPicPr>
          <p:cNvPr id="2" name="Picture 1">
            <a:extLst>
              <a:ext uri="{FF2B5EF4-FFF2-40B4-BE49-F238E27FC236}">
                <a16:creationId xmlns:a16="http://schemas.microsoft.com/office/drawing/2014/main" id="{6E839C2B-FE63-0115-AA24-BB1419742C00}"/>
              </a:ext>
            </a:extLst>
          </p:cNvPr>
          <p:cNvPicPr>
            <a:picLocks noChangeAspect="1"/>
          </p:cNvPicPr>
          <p:nvPr/>
        </p:nvPicPr>
        <p:blipFill>
          <a:blip r:embed="rId6"/>
          <a:stretch>
            <a:fillRect/>
          </a:stretch>
        </p:blipFill>
        <p:spPr>
          <a:xfrm>
            <a:off x="661136" y="968641"/>
            <a:ext cx="7045510" cy="3398533"/>
          </a:xfrm>
          <a:prstGeom prst="rect">
            <a:avLst/>
          </a:prstGeom>
        </p:spPr>
      </p:pic>
      <p:pic>
        <p:nvPicPr>
          <p:cNvPr id="5" name="Picture 4">
            <a:extLst>
              <a:ext uri="{FF2B5EF4-FFF2-40B4-BE49-F238E27FC236}">
                <a16:creationId xmlns:a16="http://schemas.microsoft.com/office/drawing/2014/main" id="{3C537DEE-9E38-A72B-FEF3-5C99D106F7C5}"/>
              </a:ext>
            </a:extLst>
          </p:cNvPr>
          <p:cNvPicPr>
            <a:picLocks noChangeAspect="1"/>
          </p:cNvPicPr>
          <p:nvPr/>
        </p:nvPicPr>
        <p:blipFill>
          <a:blip r:embed="rId7"/>
          <a:stretch>
            <a:fillRect/>
          </a:stretch>
        </p:blipFill>
        <p:spPr>
          <a:xfrm>
            <a:off x="5775718" y="3143567"/>
            <a:ext cx="4772025" cy="2052320"/>
          </a:xfrm>
          <a:prstGeom prst="rect">
            <a:avLst/>
          </a:prstGeom>
        </p:spPr>
      </p:pic>
      <p:pic>
        <p:nvPicPr>
          <p:cNvPr id="6" name="Picture 5">
            <a:extLst>
              <a:ext uri="{FF2B5EF4-FFF2-40B4-BE49-F238E27FC236}">
                <a16:creationId xmlns:a16="http://schemas.microsoft.com/office/drawing/2014/main" id="{CFA1B4D8-2801-428C-68F1-AA2009DA96A4}"/>
              </a:ext>
            </a:extLst>
          </p:cNvPr>
          <p:cNvPicPr>
            <a:picLocks noChangeAspect="1"/>
          </p:cNvPicPr>
          <p:nvPr/>
        </p:nvPicPr>
        <p:blipFill>
          <a:blip r:embed="rId8"/>
          <a:stretch>
            <a:fillRect/>
          </a:stretch>
        </p:blipFill>
        <p:spPr>
          <a:xfrm>
            <a:off x="6968725" y="4367174"/>
            <a:ext cx="4772025" cy="1718945"/>
          </a:xfrm>
          <a:prstGeom prst="rect">
            <a:avLst/>
          </a:prstGeom>
        </p:spPr>
      </p:pic>
      <p:pic>
        <p:nvPicPr>
          <p:cNvPr id="3" name="Picture 2">
            <a:extLst>
              <a:ext uri="{FF2B5EF4-FFF2-40B4-BE49-F238E27FC236}">
                <a16:creationId xmlns:a16="http://schemas.microsoft.com/office/drawing/2014/main" id="{5D0E87B9-AF1E-856C-E330-C93DEA50D83D}"/>
              </a:ext>
            </a:extLst>
          </p:cNvPr>
          <p:cNvPicPr>
            <a:picLocks noChangeAspect="1"/>
          </p:cNvPicPr>
          <p:nvPr/>
        </p:nvPicPr>
        <p:blipFill>
          <a:blip r:embed="rId9"/>
          <a:stretch>
            <a:fillRect/>
          </a:stretch>
        </p:blipFill>
        <p:spPr>
          <a:xfrm>
            <a:off x="3139585" y="1387703"/>
            <a:ext cx="6215152" cy="4602438"/>
          </a:xfrm>
          <a:prstGeom prst="rect">
            <a:avLst/>
          </a:prstGeom>
        </p:spPr>
      </p:pic>
    </p:spTree>
    <p:custDataLst>
      <p:custData r:id="rId1"/>
      <p:custData r:id="rId2"/>
    </p:custDataLst>
    <p:extLst>
      <p:ext uri="{BB962C8B-B14F-4D97-AF65-F5344CB8AC3E}">
        <p14:creationId xmlns:p14="http://schemas.microsoft.com/office/powerpoint/2010/main" val="74032225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8BC503B-9DCA-4A39-10A3-D7B0D7F05851}"/>
              </a:ext>
            </a:extLst>
          </p:cNvPr>
          <p:cNvPicPr>
            <a:picLocks noChangeAspect="1"/>
          </p:cNvPicPr>
          <p:nvPr/>
        </p:nvPicPr>
        <p:blipFill>
          <a:blip r:embed="rId5"/>
          <a:stretch>
            <a:fillRect/>
          </a:stretch>
        </p:blipFill>
        <p:spPr>
          <a:xfrm>
            <a:off x="206051" y="1008874"/>
            <a:ext cx="5709028" cy="3318066"/>
          </a:xfrm>
          <a:prstGeom prst="rect">
            <a:avLst/>
          </a:prstGeom>
        </p:spPr>
      </p:pic>
      <p:sp>
        <p:nvSpPr>
          <p:cNvPr id="24" name="Title"/>
          <p:cNvSpPr>
            <a:spLocks noGrp="1"/>
          </p:cNvSpPr>
          <p:nvPr>
            <p:ph type="title"/>
          </p:nvPr>
        </p:nvSpPr>
        <p:spPr bwMode="gray">
          <a:xfrm>
            <a:off x="504001" y="504000"/>
            <a:ext cx="11186476" cy="369332"/>
          </a:xfrm>
        </p:spPr>
        <p:txBody>
          <a:bodyPr/>
          <a:lstStyle/>
          <a:p>
            <a:r>
              <a:rPr lang="en-US" dirty="0"/>
              <a:t>Event Insights - Monitoring</a:t>
            </a:r>
            <a:endParaRPr lang="en-US" sz="2400" dirty="0"/>
          </a:p>
        </p:txBody>
      </p:sp>
      <p:pic>
        <p:nvPicPr>
          <p:cNvPr id="2" name="Picture 1">
            <a:extLst>
              <a:ext uri="{FF2B5EF4-FFF2-40B4-BE49-F238E27FC236}">
                <a16:creationId xmlns:a16="http://schemas.microsoft.com/office/drawing/2014/main" id="{6E839C2B-FE63-0115-AA24-BB1419742C00}"/>
              </a:ext>
            </a:extLst>
          </p:cNvPr>
          <p:cNvPicPr>
            <a:picLocks noChangeAspect="1"/>
          </p:cNvPicPr>
          <p:nvPr/>
        </p:nvPicPr>
        <p:blipFill>
          <a:blip r:embed="rId6"/>
          <a:stretch>
            <a:fillRect/>
          </a:stretch>
        </p:blipFill>
        <p:spPr>
          <a:xfrm>
            <a:off x="661136" y="968641"/>
            <a:ext cx="7045510" cy="3398533"/>
          </a:xfrm>
          <a:prstGeom prst="rect">
            <a:avLst/>
          </a:prstGeom>
        </p:spPr>
      </p:pic>
      <p:pic>
        <p:nvPicPr>
          <p:cNvPr id="6" name="Picture 5">
            <a:extLst>
              <a:ext uri="{FF2B5EF4-FFF2-40B4-BE49-F238E27FC236}">
                <a16:creationId xmlns:a16="http://schemas.microsoft.com/office/drawing/2014/main" id="{CFA1B4D8-2801-428C-68F1-AA2009DA96A4}"/>
              </a:ext>
            </a:extLst>
          </p:cNvPr>
          <p:cNvPicPr>
            <a:picLocks noChangeAspect="1"/>
          </p:cNvPicPr>
          <p:nvPr/>
        </p:nvPicPr>
        <p:blipFill>
          <a:blip r:embed="rId7"/>
          <a:stretch>
            <a:fillRect/>
          </a:stretch>
        </p:blipFill>
        <p:spPr>
          <a:xfrm>
            <a:off x="6968725" y="4367174"/>
            <a:ext cx="4772025" cy="1718945"/>
          </a:xfrm>
          <a:prstGeom prst="rect">
            <a:avLst/>
          </a:prstGeom>
        </p:spPr>
      </p:pic>
      <p:pic>
        <p:nvPicPr>
          <p:cNvPr id="3" name="Picture 2">
            <a:extLst>
              <a:ext uri="{FF2B5EF4-FFF2-40B4-BE49-F238E27FC236}">
                <a16:creationId xmlns:a16="http://schemas.microsoft.com/office/drawing/2014/main" id="{5D0E87B9-AF1E-856C-E330-C93DEA50D83D}"/>
              </a:ext>
            </a:extLst>
          </p:cNvPr>
          <p:cNvPicPr>
            <a:picLocks noChangeAspect="1"/>
          </p:cNvPicPr>
          <p:nvPr/>
        </p:nvPicPr>
        <p:blipFill>
          <a:blip r:embed="rId8"/>
          <a:stretch>
            <a:fillRect/>
          </a:stretch>
        </p:blipFill>
        <p:spPr>
          <a:xfrm>
            <a:off x="381754" y="1286921"/>
            <a:ext cx="4791810" cy="3548426"/>
          </a:xfrm>
          <a:prstGeom prst="rect">
            <a:avLst/>
          </a:prstGeom>
        </p:spPr>
      </p:pic>
      <p:pic>
        <p:nvPicPr>
          <p:cNvPr id="5" name="Picture 4">
            <a:extLst>
              <a:ext uri="{FF2B5EF4-FFF2-40B4-BE49-F238E27FC236}">
                <a16:creationId xmlns:a16="http://schemas.microsoft.com/office/drawing/2014/main" id="{3C537DEE-9E38-A72B-FEF3-5C99D106F7C5}"/>
              </a:ext>
            </a:extLst>
          </p:cNvPr>
          <p:cNvPicPr>
            <a:picLocks noChangeAspect="1"/>
          </p:cNvPicPr>
          <p:nvPr/>
        </p:nvPicPr>
        <p:blipFill>
          <a:blip r:embed="rId9"/>
          <a:stretch>
            <a:fillRect/>
          </a:stretch>
        </p:blipFill>
        <p:spPr>
          <a:xfrm>
            <a:off x="3398279" y="2120642"/>
            <a:ext cx="7714617" cy="3317850"/>
          </a:xfrm>
          <a:prstGeom prst="rect">
            <a:avLst/>
          </a:prstGeom>
        </p:spPr>
      </p:pic>
    </p:spTree>
    <p:custDataLst>
      <p:custData r:id="rId1"/>
      <p:custData r:id="rId2"/>
    </p:custDataLst>
    <p:extLst>
      <p:ext uri="{BB962C8B-B14F-4D97-AF65-F5344CB8AC3E}">
        <p14:creationId xmlns:p14="http://schemas.microsoft.com/office/powerpoint/2010/main" val="86272794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p:cNvSpPr>
            <a:spLocks noGrp="1"/>
          </p:cNvSpPr>
          <p:nvPr>
            <p:ph type="title"/>
          </p:nvPr>
        </p:nvSpPr>
        <p:spPr bwMode="gray">
          <a:xfrm>
            <a:off x="504001" y="504000"/>
            <a:ext cx="11186476" cy="369332"/>
          </a:xfrm>
        </p:spPr>
        <p:txBody>
          <a:bodyPr/>
          <a:lstStyle/>
          <a:p>
            <a:r>
              <a:rPr lang="en-US" dirty="0"/>
              <a:t>Event Insights - Monitoring</a:t>
            </a:r>
            <a:endParaRPr lang="en-US" sz="2400" dirty="0"/>
          </a:p>
        </p:txBody>
      </p:sp>
      <p:pic>
        <p:nvPicPr>
          <p:cNvPr id="2" name="Picture 1">
            <a:extLst>
              <a:ext uri="{FF2B5EF4-FFF2-40B4-BE49-F238E27FC236}">
                <a16:creationId xmlns:a16="http://schemas.microsoft.com/office/drawing/2014/main" id="{6E839C2B-FE63-0115-AA24-BB1419742C00}"/>
              </a:ext>
            </a:extLst>
          </p:cNvPr>
          <p:cNvPicPr>
            <a:picLocks noChangeAspect="1"/>
          </p:cNvPicPr>
          <p:nvPr/>
        </p:nvPicPr>
        <p:blipFill>
          <a:blip r:embed="rId5"/>
          <a:stretch>
            <a:fillRect/>
          </a:stretch>
        </p:blipFill>
        <p:spPr>
          <a:xfrm>
            <a:off x="661136" y="968641"/>
            <a:ext cx="7045510" cy="3398533"/>
          </a:xfrm>
          <a:prstGeom prst="rect">
            <a:avLst/>
          </a:prstGeom>
        </p:spPr>
      </p:pic>
      <p:pic>
        <p:nvPicPr>
          <p:cNvPr id="3" name="Picture 2">
            <a:extLst>
              <a:ext uri="{FF2B5EF4-FFF2-40B4-BE49-F238E27FC236}">
                <a16:creationId xmlns:a16="http://schemas.microsoft.com/office/drawing/2014/main" id="{5D0E87B9-AF1E-856C-E330-C93DEA50D83D}"/>
              </a:ext>
            </a:extLst>
          </p:cNvPr>
          <p:cNvPicPr>
            <a:picLocks noChangeAspect="1"/>
          </p:cNvPicPr>
          <p:nvPr/>
        </p:nvPicPr>
        <p:blipFill>
          <a:blip r:embed="rId6"/>
          <a:stretch>
            <a:fillRect/>
          </a:stretch>
        </p:blipFill>
        <p:spPr>
          <a:xfrm>
            <a:off x="3389706" y="1797354"/>
            <a:ext cx="4772025" cy="3533775"/>
          </a:xfrm>
          <a:prstGeom prst="rect">
            <a:avLst/>
          </a:prstGeom>
        </p:spPr>
      </p:pic>
      <p:pic>
        <p:nvPicPr>
          <p:cNvPr id="5" name="Picture 4">
            <a:extLst>
              <a:ext uri="{FF2B5EF4-FFF2-40B4-BE49-F238E27FC236}">
                <a16:creationId xmlns:a16="http://schemas.microsoft.com/office/drawing/2014/main" id="{3C537DEE-9E38-A72B-FEF3-5C99D106F7C5}"/>
              </a:ext>
            </a:extLst>
          </p:cNvPr>
          <p:cNvPicPr>
            <a:picLocks noChangeAspect="1"/>
          </p:cNvPicPr>
          <p:nvPr/>
        </p:nvPicPr>
        <p:blipFill>
          <a:blip r:embed="rId7"/>
          <a:stretch>
            <a:fillRect/>
          </a:stretch>
        </p:blipFill>
        <p:spPr>
          <a:xfrm>
            <a:off x="5775718" y="3143567"/>
            <a:ext cx="4772025" cy="2052320"/>
          </a:xfrm>
          <a:prstGeom prst="rect">
            <a:avLst/>
          </a:prstGeom>
        </p:spPr>
      </p:pic>
      <p:pic>
        <p:nvPicPr>
          <p:cNvPr id="7" name="Picture 6">
            <a:extLst>
              <a:ext uri="{FF2B5EF4-FFF2-40B4-BE49-F238E27FC236}">
                <a16:creationId xmlns:a16="http://schemas.microsoft.com/office/drawing/2014/main" id="{AB0413F7-592A-DAAC-A55A-D6EFA462FA32}"/>
              </a:ext>
            </a:extLst>
          </p:cNvPr>
          <p:cNvPicPr>
            <a:picLocks noChangeAspect="1"/>
          </p:cNvPicPr>
          <p:nvPr/>
        </p:nvPicPr>
        <p:blipFill>
          <a:blip r:embed="rId8"/>
          <a:stretch>
            <a:fillRect/>
          </a:stretch>
        </p:blipFill>
        <p:spPr>
          <a:xfrm>
            <a:off x="206051" y="1008874"/>
            <a:ext cx="5709028" cy="3318066"/>
          </a:xfrm>
          <a:prstGeom prst="rect">
            <a:avLst/>
          </a:prstGeom>
        </p:spPr>
      </p:pic>
      <p:pic>
        <p:nvPicPr>
          <p:cNvPr id="6" name="Picture 5">
            <a:extLst>
              <a:ext uri="{FF2B5EF4-FFF2-40B4-BE49-F238E27FC236}">
                <a16:creationId xmlns:a16="http://schemas.microsoft.com/office/drawing/2014/main" id="{CFA1B4D8-2801-428C-68F1-AA2009DA96A4}"/>
              </a:ext>
            </a:extLst>
          </p:cNvPr>
          <p:cNvPicPr>
            <a:picLocks noChangeAspect="1"/>
          </p:cNvPicPr>
          <p:nvPr/>
        </p:nvPicPr>
        <p:blipFill>
          <a:blip r:embed="rId9"/>
          <a:stretch>
            <a:fillRect/>
          </a:stretch>
        </p:blipFill>
        <p:spPr>
          <a:xfrm>
            <a:off x="1450084" y="2058480"/>
            <a:ext cx="9434787" cy="3398532"/>
          </a:xfrm>
          <a:prstGeom prst="rect">
            <a:avLst/>
          </a:prstGeom>
        </p:spPr>
      </p:pic>
    </p:spTree>
    <p:custDataLst>
      <p:custData r:id="rId1"/>
      <p:custData r:id="rId2"/>
    </p:custDataLst>
    <p:extLst>
      <p:ext uri="{BB962C8B-B14F-4D97-AF65-F5344CB8AC3E}">
        <p14:creationId xmlns:p14="http://schemas.microsoft.com/office/powerpoint/2010/main" val="41687709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4EDC9B02-5704-D9EF-E2A2-606B316C6CC2}"/>
              </a:ext>
            </a:extLst>
          </p:cNvPr>
          <p:cNvPicPr>
            <a:picLocks noChangeAspect="1"/>
          </p:cNvPicPr>
          <p:nvPr/>
        </p:nvPicPr>
        <p:blipFill>
          <a:blip r:embed="rId5"/>
          <a:stretch>
            <a:fillRect/>
          </a:stretch>
        </p:blipFill>
        <p:spPr>
          <a:xfrm>
            <a:off x="206051" y="1008874"/>
            <a:ext cx="5709028" cy="3318066"/>
          </a:xfrm>
          <a:prstGeom prst="rect">
            <a:avLst/>
          </a:prstGeom>
        </p:spPr>
      </p:pic>
      <p:sp>
        <p:nvSpPr>
          <p:cNvPr id="24" name="Title"/>
          <p:cNvSpPr>
            <a:spLocks noGrp="1"/>
          </p:cNvSpPr>
          <p:nvPr>
            <p:ph type="title"/>
          </p:nvPr>
        </p:nvSpPr>
        <p:spPr bwMode="gray">
          <a:xfrm>
            <a:off x="504001" y="504000"/>
            <a:ext cx="11186476" cy="369332"/>
          </a:xfrm>
        </p:spPr>
        <p:txBody>
          <a:bodyPr/>
          <a:lstStyle/>
          <a:p>
            <a:r>
              <a:rPr lang="en-US" dirty="0"/>
              <a:t>Event Insights - Monitoring</a:t>
            </a:r>
            <a:endParaRPr lang="en-US" sz="2400" dirty="0"/>
          </a:p>
        </p:txBody>
      </p:sp>
      <p:pic>
        <p:nvPicPr>
          <p:cNvPr id="2" name="Picture 1">
            <a:extLst>
              <a:ext uri="{FF2B5EF4-FFF2-40B4-BE49-F238E27FC236}">
                <a16:creationId xmlns:a16="http://schemas.microsoft.com/office/drawing/2014/main" id="{6E839C2B-FE63-0115-AA24-BB1419742C00}"/>
              </a:ext>
            </a:extLst>
          </p:cNvPr>
          <p:cNvPicPr>
            <a:picLocks noChangeAspect="1"/>
          </p:cNvPicPr>
          <p:nvPr/>
        </p:nvPicPr>
        <p:blipFill>
          <a:blip r:embed="rId6"/>
          <a:stretch>
            <a:fillRect/>
          </a:stretch>
        </p:blipFill>
        <p:spPr>
          <a:xfrm>
            <a:off x="661136" y="968641"/>
            <a:ext cx="7045510" cy="3398533"/>
          </a:xfrm>
          <a:prstGeom prst="rect">
            <a:avLst/>
          </a:prstGeom>
        </p:spPr>
      </p:pic>
      <p:pic>
        <p:nvPicPr>
          <p:cNvPr id="3" name="Picture 2">
            <a:extLst>
              <a:ext uri="{FF2B5EF4-FFF2-40B4-BE49-F238E27FC236}">
                <a16:creationId xmlns:a16="http://schemas.microsoft.com/office/drawing/2014/main" id="{5D0E87B9-AF1E-856C-E330-C93DEA50D83D}"/>
              </a:ext>
            </a:extLst>
          </p:cNvPr>
          <p:cNvPicPr>
            <a:picLocks noChangeAspect="1"/>
          </p:cNvPicPr>
          <p:nvPr/>
        </p:nvPicPr>
        <p:blipFill>
          <a:blip r:embed="rId7"/>
          <a:stretch>
            <a:fillRect/>
          </a:stretch>
        </p:blipFill>
        <p:spPr>
          <a:xfrm>
            <a:off x="3389706" y="1797354"/>
            <a:ext cx="4772025" cy="3533775"/>
          </a:xfrm>
          <a:prstGeom prst="rect">
            <a:avLst/>
          </a:prstGeom>
        </p:spPr>
      </p:pic>
      <p:pic>
        <p:nvPicPr>
          <p:cNvPr id="5" name="Picture 4">
            <a:extLst>
              <a:ext uri="{FF2B5EF4-FFF2-40B4-BE49-F238E27FC236}">
                <a16:creationId xmlns:a16="http://schemas.microsoft.com/office/drawing/2014/main" id="{3C537DEE-9E38-A72B-FEF3-5C99D106F7C5}"/>
              </a:ext>
            </a:extLst>
          </p:cNvPr>
          <p:cNvPicPr>
            <a:picLocks noChangeAspect="1"/>
          </p:cNvPicPr>
          <p:nvPr/>
        </p:nvPicPr>
        <p:blipFill>
          <a:blip r:embed="rId8"/>
          <a:stretch>
            <a:fillRect/>
          </a:stretch>
        </p:blipFill>
        <p:spPr>
          <a:xfrm>
            <a:off x="5775718" y="3143567"/>
            <a:ext cx="4772025" cy="2052320"/>
          </a:xfrm>
          <a:prstGeom prst="rect">
            <a:avLst/>
          </a:prstGeom>
        </p:spPr>
      </p:pic>
      <p:pic>
        <p:nvPicPr>
          <p:cNvPr id="6" name="Picture 5">
            <a:extLst>
              <a:ext uri="{FF2B5EF4-FFF2-40B4-BE49-F238E27FC236}">
                <a16:creationId xmlns:a16="http://schemas.microsoft.com/office/drawing/2014/main" id="{CFA1B4D8-2801-428C-68F1-AA2009DA96A4}"/>
              </a:ext>
            </a:extLst>
          </p:cNvPr>
          <p:cNvPicPr>
            <a:picLocks noChangeAspect="1"/>
          </p:cNvPicPr>
          <p:nvPr/>
        </p:nvPicPr>
        <p:blipFill>
          <a:blip r:embed="rId9"/>
          <a:stretch>
            <a:fillRect/>
          </a:stretch>
        </p:blipFill>
        <p:spPr>
          <a:xfrm>
            <a:off x="433273" y="1351522"/>
            <a:ext cx="5111650" cy="1841282"/>
          </a:xfrm>
          <a:prstGeom prst="rect">
            <a:avLst/>
          </a:prstGeom>
        </p:spPr>
      </p:pic>
      <p:pic>
        <p:nvPicPr>
          <p:cNvPr id="4" name="Picture 3">
            <a:extLst>
              <a:ext uri="{FF2B5EF4-FFF2-40B4-BE49-F238E27FC236}">
                <a16:creationId xmlns:a16="http://schemas.microsoft.com/office/drawing/2014/main" id="{E0C2FD60-2FBD-643E-0947-EF15F0A0B31E}"/>
              </a:ext>
            </a:extLst>
          </p:cNvPr>
          <p:cNvPicPr>
            <a:picLocks noChangeAspect="1"/>
          </p:cNvPicPr>
          <p:nvPr/>
        </p:nvPicPr>
        <p:blipFill>
          <a:blip r:embed="rId10"/>
          <a:stretch>
            <a:fillRect/>
          </a:stretch>
        </p:blipFill>
        <p:spPr>
          <a:xfrm>
            <a:off x="4183891" y="2639212"/>
            <a:ext cx="7240304" cy="3461665"/>
          </a:xfrm>
          <a:prstGeom prst="rect">
            <a:avLst/>
          </a:prstGeom>
        </p:spPr>
      </p:pic>
    </p:spTree>
    <p:custDataLst>
      <p:custData r:id="rId1"/>
      <p:custData r:id="rId2"/>
    </p:custDataLst>
    <p:extLst>
      <p:ext uri="{BB962C8B-B14F-4D97-AF65-F5344CB8AC3E}">
        <p14:creationId xmlns:p14="http://schemas.microsoft.com/office/powerpoint/2010/main" val="224968912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01803D5-868D-F57E-A143-C998350C04BD}"/>
              </a:ext>
            </a:extLst>
          </p:cNvPr>
          <p:cNvPicPr>
            <a:picLocks noChangeAspect="1"/>
          </p:cNvPicPr>
          <p:nvPr/>
        </p:nvPicPr>
        <p:blipFill>
          <a:blip r:embed="rId5"/>
          <a:stretch>
            <a:fillRect/>
          </a:stretch>
        </p:blipFill>
        <p:spPr>
          <a:xfrm>
            <a:off x="206051" y="1008874"/>
            <a:ext cx="5709028" cy="3318066"/>
          </a:xfrm>
          <a:prstGeom prst="rect">
            <a:avLst/>
          </a:prstGeom>
        </p:spPr>
      </p:pic>
      <p:sp>
        <p:nvSpPr>
          <p:cNvPr id="24" name="Title"/>
          <p:cNvSpPr>
            <a:spLocks noGrp="1"/>
          </p:cNvSpPr>
          <p:nvPr>
            <p:ph type="title"/>
          </p:nvPr>
        </p:nvSpPr>
        <p:spPr bwMode="gray">
          <a:xfrm>
            <a:off x="504001" y="504000"/>
            <a:ext cx="11186476" cy="369332"/>
          </a:xfrm>
        </p:spPr>
        <p:txBody>
          <a:bodyPr/>
          <a:lstStyle/>
          <a:p>
            <a:r>
              <a:rPr lang="en-US" dirty="0"/>
              <a:t>Event Insights - Monitoring</a:t>
            </a:r>
            <a:endParaRPr lang="en-US" sz="2400" dirty="0"/>
          </a:p>
        </p:txBody>
      </p:sp>
      <p:pic>
        <p:nvPicPr>
          <p:cNvPr id="2" name="Picture 1">
            <a:extLst>
              <a:ext uri="{FF2B5EF4-FFF2-40B4-BE49-F238E27FC236}">
                <a16:creationId xmlns:a16="http://schemas.microsoft.com/office/drawing/2014/main" id="{6E839C2B-FE63-0115-AA24-BB1419742C00}"/>
              </a:ext>
            </a:extLst>
          </p:cNvPr>
          <p:cNvPicPr>
            <a:picLocks noChangeAspect="1"/>
          </p:cNvPicPr>
          <p:nvPr/>
        </p:nvPicPr>
        <p:blipFill>
          <a:blip r:embed="rId6"/>
          <a:stretch>
            <a:fillRect/>
          </a:stretch>
        </p:blipFill>
        <p:spPr>
          <a:xfrm>
            <a:off x="661136" y="968641"/>
            <a:ext cx="7045510" cy="3398533"/>
          </a:xfrm>
          <a:prstGeom prst="rect">
            <a:avLst/>
          </a:prstGeom>
        </p:spPr>
      </p:pic>
      <p:pic>
        <p:nvPicPr>
          <p:cNvPr id="3" name="Picture 2">
            <a:extLst>
              <a:ext uri="{FF2B5EF4-FFF2-40B4-BE49-F238E27FC236}">
                <a16:creationId xmlns:a16="http://schemas.microsoft.com/office/drawing/2014/main" id="{5D0E87B9-AF1E-856C-E330-C93DEA50D83D}"/>
              </a:ext>
            </a:extLst>
          </p:cNvPr>
          <p:cNvPicPr>
            <a:picLocks noChangeAspect="1"/>
          </p:cNvPicPr>
          <p:nvPr/>
        </p:nvPicPr>
        <p:blipFill>
          <a:blip r:embed="rId7"/>
          <a:stretch>
            <a:fillRect/>
          </a:stretch>
        </p:blipFill>
        <p:spPr>
          <a:xfrm>
            <a:off x="3389706" y="1797354"/>
            <a:ext cx="4772025" cy="3533775"/>
          </a:xfrm>
          <a:prstGeom prst="rect">
            <a:avLst/>
          </a:prstGeom>
        </p:spPr>
      </p:pic>
      <p:pic>
        <p:nvPicPr>
          <p:cNvPr id="5" name="Picture 4">
            <a:extLst>
              <a:ext uri="{FF2B5EF4-FFF2-40B4-BE49-F238E27FC236}">
                <a16:creationId xmlns:a16="http://schemas.microsoft.com/office/drawing/2014/main" id="{3C537DEE-9E38-A72B-FEF3-5C99D106F7C5}"/>
              </a:ext>
            </a:extLst>
          </p:cNvPr>
          <p:cNvPicPr>
            <a:picLocks noChangeAspect="1"/>
          </p:cNvPicPr>
          <p:nvPr/>
        </p:nvPicPr>
        <p:blipFill>
          <a:blip r:embed="rId8"/>
          <a:stretch>
            <a:fillRect/>
          </a:stretch>
        </p:blipFill>
        <p:spPr>
          <a:xfrm>
            <a:off x="5775718" y="3143567"/>
            <a:ext cx="4772025" cy="2052320"/>
          </a:xfrm>
          <a:prstGeom prst="rect">
            <a:avLst/>
          </a:prstGeom>
        </p:spPr>
      </p:pic>
      <p:pic>
        <p:nvPicPr>
          <p:cNvPr id="6" name="Picture 5">
            <a:extLst>
              <a:ext uri="{FF2B5EF4-FFF2-40B4-BE49-F238E27FC236}">
                <a16:creationId xmlns:a16="http://schemas.microsoft.com/office/drawing/2014/main" id="{CFA1B4D8-2801-428C-68F1-AA2009DA96A4}"/>
              </a:ext>
            </a:extLst>
          </p:cNvPr>
          <p:cNvPicPr>
            <a:picLocks noChangeAspect="1"/>
          </p:cNvPicPr>
          <p:nvPr/>
        </p:nvPicPr>
        <p:blipFill>
          <a:blip r:embed="rId9"/>
          <a:stretch>
            <a:fillRect/>
          </a:stretch>
        </p:blipFill>
        <p:spPr>
          <a:xfrm>
            <a:off x="6968725" y="4367174"/>
            <a:ext cx="4772025" cy="1718945"/>
          </a:xfrm>
          <a:prstGeom prst="rect">
            <a:avLst/>
          </a:prstGeom>
        </p:spPr>
      </p:pic>
    </p:spTree>
    <p:custDataLst>
      <p:custData r:id="rId1"/>
      <p:custData r:id="rId2"/>
    </p:custDataLst>
    <p:extLst>
      <p:ext uri="{BB962C8B-B14F-4D97-AF65-F5344CB8AC3E}">
        <p14:creationId xmlns:p14="http://schemas.microsoft.com/office/powerpoint/2010/main" val="111643284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p:cNvSpPr>
            <a:spLocks noGrp="1"/>
          </p:cNvSpPr>
          <p:nvPr>
            <p:ph type="title"/>
          </p:nvPr>
        </p:nvSpPr>
        <p:spPr bwMode="gray">
          <a:xfrm>
            <a:off x="504001" y="504000"/>
            <a:ext cx="11186476" cy="369332"/>
          </a:xfrm>
        </p:spPr>
        <p:txBody>
          <a:bodyPr/>
          <a:lstStyle/>
          <a:p>
            <a:r>
              <a:rPr lang="en-US" dirty="0"/>
              <a:t>Event Insights - Distributed Tracing</a:t>
            </a:r>
            <a:endParaRPr lang="en-US" sz="2400" dirty="0"/>
          </a:p>
        </p:txBody>
      </p:sp>
      <p:sp>
        <p:nvSpPr>
          <p:cNvPr id="3" name="TextBox 2">
            <a:extLst>
              <a:ext uri="{FF2B5EF4-FFF2-40B4-BE49-F238E27FC236}">
                <a16:creationId xmlns:a16="http://schemas.microsoft.com/office/drawing/2014/main" id="{72D85089-CE90-0ACF-539A-47F4F63C21A1}"/>
              </a:ext>
            </a:extLst>
          </p:cNvPr>
          <p:cNvSpPr txBox="1"/>
          <p:nvPr/>
        </p:nvSpPr>
        <p:spPr>
          <a:xfrm>
            <a:off x="448597" y="979443"/>
            <a:ext cx="11297284" cy="1350819"/>
          </a:xfrm>
          <a:prstGeom prst="rect">
            <a:avLst/>
          </a:prstGeom>
          <a:noFill/>
        </p:spPr>
        <p:txBody>
          <a:bodyPr wrap="square">
            <a:spAutoFit/>
          </a:bodyPr>
          <a:lstStyle/>
          <a:p>
            <a:pPr algn="l"/>
            <a:r>
              <a:rPr lang="en-US" sz="1200" dirty="0">
                <a:solidFill>
                  <a:srgbClr val="212529"/>
                </a:solidFill>
                <a:latin typeface="72" panose="020B0503030000000003" pitchFamily="34" charset="0"/>
                <a:cs typeface="72" panose="020B0503030000000003" pitchFamily="34" charset="0"/>
              </a:rPr>
              <a:t>Intention</a:t>
            </a:r>
            <a:r>
              <a:rPr lang="en-US" sz="1200" b="0" i="0" dirty="0">
                <a:solidFill>
                  <a:srgbClr val="111111"/>
                </a:solidFill>
                <a:effectLst/>
                <a:latin typeface="72" panose="020B0503030000000003" pitchFamily="34" charset="0"/>
                <a:cs typeface="72" panose="020B0503030000000003" pitchFamily="34" charset="0"/>
              </a:rPr>
              <a:t>: </a:t>
            </a:r>
          </a:p>
          <a:p>
            <a:pPr marL="342900" indent="-342900" algn="l">
              <a:lnSpc>
                <a:spcPct val="150000"/>
              </a:lnSpc>
              <a:buFont typeface="Arial" panose="020B0604020202020204" pitchFamily="34" charset="0"/>
              <a:buChar char="•"/>
            </a:pPr>
            <a:r>
              <a:rPr lang="en-US" sz="1200" b="0" i="0" dirty="0">
                <a:solidFill>
                  <a:srgbClr val="111111"/>
                </a:solidFill>
                <a:effectLst/>
                <a:latin typeface="72" panose="020B0503030000000003" pitchFamily="34" charset="0"/>
                <a:cs typeface="72" panose="020B0503030000000003" pitchFamily="34" charset="0"/>
              </a:rPr>
              <a:t>Applications in large organizations consist of hundreds or thousands of services.</a:t>
            </a:r>
          </a:p>
          <a:p>
            <a:pPr marL="342900" indent="-342900" algn="l">
              <a:lnSpc>
                <a:spcPct val="150000"/>
              </a:lnSpc>
              <a:buFont typeface="Arial" panose="020B0604020202020204" pitchFamily="34" charset="0"/>
              <a:buChar char="•"/>
            </a:pPr>
            <a:r>
              <a:rPr lang="en-US" sz="1200" b="0" i="0" dirty="0">
                <a:solidFill>
                  <a:srgbClr val="111111"/>
                </a:solidFill>
                <a:effectLst/>
                <a:latin typeface="72" panose="020B0503030000000003" pitchFamily="34" charset="0"/>
                <a:cs typeface="72" panose="020B0503030000000003" pitchFamily="34" charset="0"/>
              </a:rPr>
              <a:t>These services run across many hosts and share messages over one or more event meshes.</a:t>
            </a:r>
          </a:p>
          <a:p>
            <a:pPr marL="342900" indent="-342900" algn="l">
              <a:lnSpc>
                <a:spcPct val="150000"/>
              </a:lnSpc>
              <a:buFont typeface="Arial" panose="020B0604020202020204" pitchFamily="34" charset="0"/>
              <a:buChar char="•"/>
            </a:pPr>
            <a:r>
              <a:rPr lang="en-US" sz="1200" b="0" i="0" dirty="0">
                <a:solidFill>
                  <a:srgbClr val="111111"/>
                </a:solidFill>
                <a:effectLst/>
                <a:latin typeface="72" panose="020B0503030000000003" pitchFamily="34" charset="0"/>
                <a:cs typeface="72" panose="020B0503030000000003" pitchFamily="34" charset="0"/>
              </a:rPr>
              <a:t>Diagnosing problems by troubleshooting error messages or logs is no longer feasible.</a:t>
            </a:r>
          </a:p>
          <a:p>
            <a:pPr marL="342900" indent="-342900" algn="l">
              <a:lnSpc>
                <a:spcPct val="150000"/>
              </a:lnSpc>
              <a:buFont typeface="Arial" panose="020B0604020202020204" pitchFamily="34" charset="0"/>
              <a:buChar char="•"/>
            </a:pPr>
            <a:r>
              <a:rPr lang="en-US" sz="1200" b="0" i="0" dirty="0">
                <a:solidFill>
                  <a:srgbClr val="111111"/>
                </a:solidFill>
                <a:effectLst/>
                <a:latin typeface="72" panose="020B0503030000000003" pitchFamily="34" charset="0"/>
                <a:cs typeface="72" panose="020B0503030000000003" pitchFamily="34" charset="0"/>
              </a:rPr>
              <a:t>A solution is needed to track an event from the sending application, through event brokers, to the receiving application</a:t>
            </a:r>
          </a:p>
        </p:txBody>
      </p:sp>
      <p:pic>
        <p:nvPicPr>
          <p:cNvPr id="1026" name="Picture 2" descr="Illustration depicting the concepts described in the surrounding text.">
            <a:extLst>
              <a:ext uri="{FF2B5EF4-FFF2-40B4-BE49-F238E27FC236}">
                <a16:creationId xmlns:a16="http://schemas.microsoft.com/office/drawing/2014/main" id="{B9CC3017-F51B-88F2-CABA-DBC6B49E5E8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466265" y="1673277"/>
            <a:ext cx="2224212" cy="855879"/>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id="{6826DA47-C391-1A30-1DD2-D2B7B4C13F76}"/>
              </a:ext>
            </a:extLst>
          </p:cNvPr>
          <p:cNvSpPr txBox="1"/>
          <p:nvPr/>
        </p:nvSpPr>
        <p:spPr>
          <a:xfrm>
            <a:off x="448597" y="2531264"/>
            <a:ext cx="11297284" cy="1431161"/>
          </a:xfrm>
          <a:prstGeom prst="rect">
            <a:avLst/>
          </a:prstGeom>
          <a:noFill/>
        </p:spPr>
        <p:txBody>
          <a:bodyPr wrap="square">
            <a:spAutoFit/>
          </a:bodyPr>
          <a:lstStyle/>
          <a:p>
            <a:pPr algn="l"/>
            <a:r>
              <a:rPr lang="en-US" sz="1200" b="0" i="0" dirty="0">
                <a:solidFill>
                  <a:srgbClr val="111111"/>
                </a:solidFill>
                <a:effectLst/>
                <a:latin typeface="72" panose="020B0503030000000003" pitchFamily="34" charset="0"/>
                <a:cs typeface="72" panose="020B0503030000000003" pitchFamily="34" charset="0"/>
              </a:rPr>
              <a:t>Approach:</a:t>
            </a:r>
          </a:p>
          <a:p>
            <a:pPr marL="342900" indent="-342900" algn="l">
              <a:lnSpc>
                <a:spcPct val="150000"/>
              </a:lnSpc>
              <a:buFont typeface="Arial" panose="020B0604020202020204" pitchFamily="34" charset="0"/>
              <a:buChar char="•"/>
            </a:pPr>
            <a:r>
              <a:rPr lang="en-US" sz="1200" b="0" i="0" dirty="0">
                <a:solidFill>
                  <a:srgbClr val="212529"/>
                </a:solidFill>
                <a:effectLst/>
                <a:latin typeface="72" panose="020B0503030000000003" pitchFamily="34" charset="0"/>
                <a:cs typeface="72" panose="020B0503030000000003" pitchFamily="34" charset="0"/>
              </a:rPr>
              <a:t>the event broker generates special guaranteed messages when certain operations happen</a:t>
            </a:r>
          </a:p>
          <a:p>
            <a:pPr marL="342900" indent="-342900" algn="l">
              <a:lnSpc>
                <a:spcPct val="150000"/>
              </a:lnSpc>
              <a:buFont typeface="Arial" panose="020B0604020202020204" pitchFamily="34" charset="0"/>
              <a:buChar char="•"/>
            </a:pPr>
            <a:r>
              <a:rPr lang="en-US" sz="1200" dirty="0">
                <a:solidFill>
                  <a:srgbClr val="111111"/>
                </a:solidFill>
                <a:latin typeface="72" panose="020B0503030000000003" pitchFamily="34" charset="0"/>
                <a:cs typeface="72" panose="020B0503030000000003" pitchFamily="34" charset="0"/>
              </a:rPr>
              <a:t>the publisher and subscriber APIs also generate spans when messages are sent and received</a:t>
            </a:r>
          </a:p>
          <a:p>
            <a:pPr marL="342900" indent="-342900" algn="l">
              <a:lnSpc>
                <a:spcPct val="150000"/>
              </a:lnSpc>
              <a:buFont typeface="Arial" panose="020B0604020202020204" pitchFamily="34" charset="0"/>
              <a:buChar char="•"/>
            </a:pPr>
            <a:r>
              <a:rPr lang="en-US" sz="1200" dirty="0" err="1">
                <a:solidFill>
                  <a:srgbClr val="111111"/>
                </a:solidFill>
                <a:latin typeface="72" panose="020B0503030000000003" pitchFamily="34" charset="0"/>
                <a:cs typeface="72" panose="020B0503030000000003" pitchFamily="34" charset="0"/>
              </a:rPr>
              <a:t>OpenTelemetry</a:t>
            </a:r>
            <a:r>
              <a:rPr lang="en-US" sz="1200" dirty="0">
                <a:solidFill>
                  <a:srgbClr val="111111"/>
                </a:solidFill>
                <a:latin typeface="72" panose="020B0503030000000003" pitchFamily="34" charset="0"/>
                <a:cs typeface="72" panose="020B0503030000000003" pitchFamily="34" charset="0"/>
              </a:rPr>
              <a:t> receivers consume these messages from a particular queue and convert to a format that can be received, processed, and viewed using </a:t>
            </a:r>
            <a:r>
              <a:rPr lang="en-US" sz="1200" dirty="0" err="1">
                <a:solidFill>
                  <a:srgbClr val="111111"/>
                </a:solidFill>
                <a:latin typeface="72" panose="020B0503030000000003" pitchFamily="34" charset="0"/>
                <a:cs typeface="72" panose="020B0503030000000003" pitchFamily="34" charset="0"/>
              </a:rPr>
              <a:t>DataDog</a:t>
            </a:r>
            <a:r>
              <a:rPr lang="en-US" sz="1200" dirty="0">
                <a:solidFill>
                  <a:srgbClr val="111111"/>
                </a:solidFill>
                <a:latin typeface="72" panose="020B0503030000000003" pitchFamily="34" charset="0"/>
                <a:cs typeface="72" panose="020B0503030000000003" pitchFamily="34" charset="0"/>
              </a:rPr>
              <a:t>.</a:t>
            </a:r>
          </a:p>
          <a:p>
            <a:pPr algn="l"/>
            <a:endParaRPr lang="en-US" b="0" i="0" dirty="0">
              <a:solidFill>
                <a:srgbClr val="111111"/>
              </a:solidFill>
              <a:effectLst/>
              <a:latin typeface="-apple-system"/>
            </a:endParaRPr>
          </a:p>
        </p:txBody>
      </p:sp>
      <p:sp>
        <p:nvSpPr>
          <p:cNvPr id="6" name="TextBox 5">
            <a:extLst>
              <a:ext uri="{FF2B5EF4-FFF2-40B4-BE49-F238E27FC236}">
                <a16:creationId xmlns:a16="http://schemas.microsoft.com/office/drawing/2014/main" id="{171B8A18-062F-E733-720E-1B804F790880}"/>
              </a:ext>
            </a:extLst>
          </p:cNvPr>
          <p:cNvSpPr txBox="1"/>
          <p:nvPr/>
        </p:nvSpPr>
        <p:spPr>
          <a:xfrm>
            <a:off x="448597" y="4163426"/>
            <a:ext cx="11297284" cy="1569660"/>
          </a:xfrm>
          <a:prstGeom prst="rect">
            <a:avLst/>
          </a:prstGeom>
          <a:noFill/>
        </p:spPr>
        <p:txBody>
          <a:bodyPr wrap="square">
            <a:spAutoFit/>
          </a:bodyPr>
          <a:lstStyle/>
          <a:p>
            <a:pPr algn="l"/>
            <a:r>
              <a:rPr lang="en-US" sz="1200" dirty="0">
                <a:solidFill>
                  <a:srgbClr val="212529"/>
                </a:solidFill>
                <a:latin typeface="72" panose="020B0503030000000003" pitchFamily="34" charset="0"/>
                <a:cs typeface="72" panose="020B0503030000000003" pitchFamily="34" charset="0"/>
              </a:rPr>
              <a:t>Conclusion: Distributed tracing … </a:t>
            </a:r>
          </a:p>
          <a:p>
            <a:pPr algn="l">
              <a:lnSpc>
                <a:spcPct val="150000"/>
              </a:lnSpc>
            </a:pPr>
            <a:r>
              <a:rPr lang="en-US" sz="1200" dirty="0">
                <a:solidFill>
                  <a:srgbClr val="212529"/>
                </a:solidFill>
                <a:latin typeface="72" panose="020B0503030000000003" pitchFamily="34" charset="0"/>
                <a:cs typeface="72" panose="020B0503030000000003" pitchFamily="34" charset="0"/>
              </a:rPr>
              <a:t>… allows tracking the lifecycle of an event as it moves through the event mesh.</a:t>
            </a:r>
          </a:p>
          <a:p>
            <a:pPr algn="l">
              <a:lnSpc>
                <a:spcPct val="150000"/>
              </a:lnSpc>
            </a:pPr>
            <a:r>
              <a:rPr lang="en-US" sz="1200" dirty="0">
                <a:solidFill>
                  <a:srgbClr val="212529"/>
                </a:solidFill>
                <a:latin typeface="72" panose="020B0503030000000003" pitchFamily="34" charset="0"/>
                <a:cs typeface="72" panose="020B0503030000000003" pitchFamily="34" charset="0"/>
              </a:rPr>
              <a:t>… helps diagnosing issues by providing visibility into the event flow across different services and brokers.</a:t>
            </a:r>
          </a:p>
          <a:p>
            <a:pPr algn="l">
              <a:lnSpc>
                <a:spcPct val="150000"/>
              </a:lnSpc>
            </a:pPr>
            <a:r>
              <a:rPr lang="en-US" sz="1200" dirty="0">
                <a:solidFill>
                  <a:srgbClr val="212529"/>
                </a:solidFill>
                <a:latin typeface="72" panose="020B0503030000000003" pitchFamily="34" charset="0"/>
                <a:cs typeface="72" panose="020B0503030000000003" pitchFamily="34" charset="0"/>
              </a:rPr>
              <a:t>… enables monitoring of performance metrics and identifying bottlenecks in the event processing pipeline.</a:t>
            </a:r>
          </a:p>
          <a:p>
            <a:pPr algn="l">
              <a:lnSpc>
                <a:spcPct val="150000"/>
              </a:lnSpc>
            </a:pPr>
            <a:r>
              <a:rPr lang="en-US" sz="1200" dirty="0">
                <a:solidFill>
                  <a:srgbClr val="212529"/>
                </a:solidFill>
                <a:latin typeface="72" panose="020B0503030000000003" pitchFamily="34" charset="0"/>
                <a:cs typeface="72" panose="020B0503030000000003" pitchFamily="34" charset="0"/>
              </a:rPr>
              <a:t>… Improves overall observability of the system by correlating events and tracing their paths end-to-end.</a:t>
            </a:r>
          </a:p>
          <a:p>
            <a:pPr algn="l"/>
            <a:endParaRPr lang="en-US" sz="1200" dirty="0">
              <a:solidFill>
                <a:srgbClr val="212529"/>
              </a:solidFill>
              <a:latin typeface="72" panose="020B0503030000000003" pitchFamily="34" charset="0"/>
              <a:cs typeface="72" panose="020B0503030000000003" pitchFamily="34" charset="0"/>
            </a:endParaRPr>
          </a:p>
        </p:txBody>
      </p:sp>
    </p:spTree>
    <p:custDataLst>
      <p:custData r:id="rId1"/>
      <p:custData r:id="rId2"/>
    </p:custDataLst>
    <p:extLst>
      <p:ext uri="{BB962C8B-B14F-4D97-AF65-F5344CB8AC3E}">
        <p14:creationId xmlns:p14="http://schemas.microsoft.com/office/powerpoint/2010/main" val="2470785984"/>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p:cNvSpPr>
            <a:spLocks noGrp="1"/>
          </p:cNvSpPr>
          <p:nvPr>
            <p:ph type="title"/>
          </p:nvPr>
        </p:nvSpPr>
        <p:spPr bwMode="gray">
          <a:xfrm>
            <a:off x="504001" y="504000"/>
            <a:ext cx="11186476" cy="369332"/>
          </a:xfrm>
        </p:spPr>
        <p:txBody>
          <a:bodyPr/>
          <a:lstStyle/>
          <a:p>
            <a:r>
              <a:rPr lang="en-US" dirty="0"/>
              <a:t>Event Insights - Distributed Tracing</a:t>
            </a:r>
            <a:endParaRPr lang="en-US" sz="2400" dirty="0"/>
          </a:p>
        </p:txBody>
      </p:sp>
      <p:sp>
        <p:nvSpPr>
          <p:cNvPr id="3" name="TextBox 2">
            <a:extLst>
              <a:ext uri="{FF2B5EF4-FFF2-40B4-BE49-F238E27FC236}">
                <a16:creationId xmlns:a16="http://schemas.microsoft.com/office/drawing/2014/main" id="{72D85089-CE90-0ACF-539A-47F4F63C21A1}"/>
              </a:ext>
            </a:extLst>
          </p:cNvPr>
          <p:cNvSpPr txBox="1"/>
          <p:nvPr/>
        </p:nvSpPr>
        <p:spPr>
          <a:xfrm>
            <a:off x="448597" y="979443"/>
            <a:ext cx="11297284" cy="1292662"/>
          </a:xfrm>
          <a:prstGeom prst="rect">
            <a:avLst/>
          </a:prstGeom>
          <a:noFill/>
        </p:spPr>
        <p:txBody>
          <a:bodyPr wrap="square">
            <a:spAutoFit/>
          </a:bodyPr>
          <a:lstStyle/>
          <a:p>
            <a:pPr algn="l"/>
            <a:r>
              <a:rPr lang="en-US" sz="1200" b="0" i="0" dirty="0">
                <a:solidFill>
                  <a:srgbClr val="111111"/>
                </a:solidFill>
                <a:effectLst/>
                <a:latin typeface="72" panose="020B0503030000000003" pitchFamily="34" charset="0"/>
                <a:cs typeface="72" panose="020B0503030000000003" pitchFamily="34" charset="0"/>
              </a:rPr>
              <a:t>Approach:</a:t>
            </a:r>
          </a:p>
          <a:p>
            <a:pPr marL="342900" indent="-342900" algn="l">
              <a:lnSpc>
                <a:spcPct val="150000"/>
              </a:lnSpc>
              <a:buFont typeface="Arial" panose="020B0604020202020204" pitchFamily="34" charset="0"/>
              <a:buChar char="•"/>
            </a:pPr>
            <a:r>
              <a:rPr lang="en-US" sz="1200" b="0" i="0" dirty="0">
                <a:solidFill>
                  <a:srgbClr val="212529"/>
                </a:solidFill>
                <a:effectLst/>
                <a:latin typeface="72" panose="020B0503030000000003" pitchFamily="34" charset="0"/>
                <a:cs typeface="72" panose="020B0503030000000003" pitchFamily="34" charset="0"/>
              </a:rPr>
              <a:t>the event broker generates special guaranteed messages when certain operations happen</a:t>
            </a:r>
          </a:p>
          <a:p>
            <a:pPr marL="342900" indent="-342900" algn="l">
              <a:lnSpc>
                <a:spcPct val="150000"/>
              </a:lnSpc>
              <a:buFont typeface="Arial" panose="020B0604020202020204" pitchFamily="34" charset="0"/>
              <a:buChar char="•"/>
            </a:pPr>
            <a:r>
              <a:rPr lang="en-US" sz="1200" dirty="0">
                <a:solidFill>
                  <a:srgbClr val="111111"/>
                </a:solidFill>
                <a:latin typeface="72" panose="020B0503030000000003" pitchFamily="34" charset="0"/>
                <a:cs typeface="72" panose="020B0503030000000003" pitchFamily="34" charset="0"/>
              </a:rPr>
              <a:t>the publisher and subscriber APIs also generate spans when messages are sent and received</a:t>
            </a:r>
          </a:p>
          <a:p>
            <a:pPr marL="342900" indent="-342900" algn="l">
              <a:lnSpc>
                <a:spcPct val="150000"/>
              </a:lnSpc>
              <a:buFont typeface="Arial" panose="020B0604020202020204" pitchFamily="34" charset="0"/>
              <a:buChar char="•"/>
            </a:pPr>
            <a:r>
              <a:rPr lang="en-US" sz="1200" dirty="0" err="1">
                <a:solidFill>
                  <a:srgbClr val="111111"/>
                </a:solidFill>
                <a:latin typeface="72" panose="020B0503030000000003" pitchFamily="34" charset="0"/>
                <a:cs typeface="72" panose="020B0503030000000003" pitchFamily="34" charset="0"/>
              </a:rPr>
              <a:t>OpenTelemetry</a:t>
            </a:r>
            <a:r>
              <a:rPr lang="en-US" sz="1200" dirty="0">
                <a:solidFill>
                  <a:srgbClr val="111111"/>
                </a:solidFill>
                <a:latin typeface="72" panose="020B0503030000000003" pitchFamily="34" charset="0"/>
                <a:cs typeface="72" panose="020B0503030000000003" pitchFamily="34" charset="0"/>
              </a:rPr>
              <a:t> receivers consume these messages from a particular queue and convert to a format that can be received, processed, and viewed using </a:t>
            </a:r>
            <a:r>
              <a:rPr lang="en-US" sz="1200" dirty="0" err="1">
                <a:solidFill>
                  <a:srgbClr val="111111"/>
                </a:solidFill>
                <a:latin typeface="72" panose="020B0503030000000003" pitchFamily="34" charset="0"/>
                <a:cs typeface="72" panose="020B0503030000000003" pitchFamily="34" charset="0"/>
              </a:rPr>
              <a:t>DataDog</a:t>
            </a:r>
            <a:r>
              <a:rPr lang="en-US" sz="1200" dirty="0">
                <a:solidFill>
                  <a:srgbClr val="111111"/>
                </a:solidFill>
                <a:latin typeface="72" panose="020B0503030000000003" pitchFamily="34" charset="0"/>
                <a:cs typeface="72" panose="020B0503030000000003" pitchFamily="34" charset="0"/>
              </a:rPr>
              <a:t>.</a:t>
            </a:r>
          </a:p>
          <a:p>
            <a:pPr algn="l"/>
            <a:endParaRPr lang="en-US" sz="1200" b="0" i="0" dirty="0">
              <a:solidFill>
                <a:srgbClr val="111111"/>
              </a:solidFill>
              <a:effectLst/>
              <a:latin typeface="-apple-system"/>
            </a:endParaRPr>
          </a:p>
        </p:txBody>
      </p:sp>
      <p:pic>
        <p:nvPicPr>
          <p:cNvPr id="1026" name="Picture 2" descr="Illustration depicting the concepts described in the surrounding text.">
            <a:extLst>
              <a:ext uri="{FF2B5EF4-FFF2-40B4-BE49-F238E27FC236}">
                <a16:creationId xmlns:a16="http://schemas.microsoft.com/office/drawing/2014/main" id="{B9CC3017-F51B-88F2-CABA-DBC6B49E5E8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41171" y="2119504"/>
            <a:ext cx="10176231" cy="3915824"/>
          </a:xfrm>
          <a:prstGeom prst="rect">
            <a:avLst/>
          </a:prstGeom>
          <a:noFill/>
          <a:extLst>
            <a:ext uri="{909E8E84-426E-40DD-AFC4-6F175D3DCCD1}">
              <a14:hiddenFill xmlns:a14="http://schemas.microsoft.com/office/drawing/2010/main">
                <a:solidFill>
                  <a:srgbClr val="FFFFFF"/>
                </a:solidFill>
              </a14:hiddenFill>
            </a:ext>
          </a:extLst>
        </p:spPr>
      </p:pic>
    </p:spTree>
    <p:custDataLst>
      <p:custData r:id="rId1"/>
      <p:custData r:id="rId2"/>
    </p:custDataLst>
    <p:extLst>
      <p:ext uri="{BB962C8B-B14F-4D97-AF65-F5344CB8AC3E}">
        <p14:creationId xmlns:p14="http://schemas.microsoft.com/office/powerpoint/2010/main" val="274735774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p:cNvSpPr>
            <a:spLocks noGrp="1"/>
          </p:cNvSpPr>
          <p:nvPr>
            <p:ph type="title"/>
          </p:nvPr>
        </p:nvSpPr>
        <p:spPr bwMode="gray">
          <a:xfrm>
            <a:off x="504001" y="504000"/>
            <a:ext cx="11186476" cy="369332"/>
          </a:xfrm>
        </p:spPr>
        <p:txBody>
          <a:bodyPr/>
          <a:lstStyle/>
          <a:p>
            <a:r>
              <a:rPr lang="en-US" dirty="0"/>
              <a:t>Event Insights - Distributed Tracing</a:t>
            </a:r>
            <a:endParaRPr lang="en-US" sz="2400" dirty="0"/>
          </a:p>
        </p:txBody>
      </p:sp>
      <p:sp>
        <p:nvSpPr>
          <p:cNvPr id="3" name="TextBox 2">
            <a:extLst>
              <a:ext uri="{FF2B5EF4-FFF2-40B4-BE49-F238E27FC236}">
                <a16:creationId xmlns:a16="http://schemas.microsoft.com/office/drawing/2014/main" id="{72D85089-CE90-0ACF-539A-47F4F63C21A1}"/>
              </a:ext>
            </a:extLst>
          </p:cNvPr>
          <p:cNvSpPr txBox="1"/>
          <p:nvPr/>
        </p:nvSpPr>
        <p:spPr>
          <a:xfrm>
            <a:off x="448597" y="979443"/>
            <a:ext cx="11297284" cy="1350819"/>
          </a:xfrm>
          <a:prstGeom prst="rect">
            <a:avLst/>
          </a:prstGeom>
          <a:noFill/>
        </p:spPr>
        <p:txBody>
          <a:bodyPr wrap="square">
            <a:spAutoFit/>
          </a:bodyPr>
          <a:lstStyle/>
          <a:p>
            <a:pPr algn="l"/>
            <a:r>
              <a:rPr lang="en-US" sz="1200">
                <a:solidFill>
                  <a:srgbClr val="212529"/>
                </a:solidFill>
                <a:latin typeface="72" panose="020B0503030000000003" pitchFamily="34" charset="0"/>
                <a:cs typeface="72" panose="020B0503030000000003" pitchFamily="34" charset="0"/>
              </a:rPr>
              <a:t>Intention</a:t>
            </a:r>
            <a:r>
              <a:rPr lang="en-US" sz="1200" b="0" i="0">
                <a:solidFill>
                  <a:srgbClr val="111111"/>
                </a:solidFill>
                <a:effectLst/>
                <a:latin typeface="72" panose="020B0503030000000003" pitchFamily="34" charset="0"/>
                <a:cs typeface="72" panose="020B0503030000000003" pitchFamily="34" charset="0"/>
              </a:rPr>
              <a:t>: </a:t>
            </a:r>
          </a:p>
          <a:p>
            <a:pPr marL="342900" indent="-342900" algn="l">
              <a:lnSpc>
                <a:spcPct val="150000"/>
              </a:lnSpc>
              <a:buFont typeface="Arial" panose="020B0604020202020204" pitchFamily="34" charset="0"/>
              <a:buChar char="•"/>
            </a:pPr>
            <a:r>
              <a:rPr lang="en-US" sz="1200" b="0" i="0">
                <a:solidFill>
                  <a:srgbClr val="111111"/>
                </a:solidFill>
                <a:effectLst/>
                <a:latin typeface="72" panose="020B0503030000000003" pitchFamily="34" charset="0"/>
                <a:cs typeface="72" panose="020B0503030000000003" pitchFamily="34" charset="0"/>
              </a:rPr>
              <a:t>Applications </a:t>
            </a:r>
            <a:r>
              <a:rPr lang="en-US" sz="1200" b="0" i="0" dirty="0">
                <a:solidFill>
                  <a:srgbClr val="111111"/>
                </a:solidFill>
                <a:effectLst/>
                <a:latin typeface="72" panose="020B0503030000000003" pitchFamily="34" charset="0"/>
                <a:cs typeface="72" panose="020B0503030000000003" pitchFamily="34" charset="0"/>
              </a:rPr>
              <a:t>in large organizations consist of hundreds or thousands of services.</a:t>
            </a:r>
          </a:p>
          <a:p>
            <a:pPr marL="342900" indent="-342900" algn="l">
              <a:lnSpc>
                <a:spcPct val="150000"/>
              </a:lnSpc>
              <a:buFont typeface="Arial" panose="020B0604020202020204" pitchFamily="34" charset="0"/>
              <a:buChar char="•"/>
            </a:pPr>
            <a:r>
              <a:rPr lang="en-US" sz="1200" b="0" i="0" dirty="0">
                <a:solidFill>
                  <a:srgbClr val="111111"/>
                </a:solidFill>
                <a:effectLst/>
                <a:latin typeface="72" panose="020B0503030000000003" pitchFamily="34" charset="0"/>
                <a:cs typeface="72" panose="020B0503030000000003" pitchFamily="34" charset="0"/>
              </a:rPr>
              <a:t>These services run across many hosts and share messages over one or more event meshes.</a:t>
            </a:r>
          </a:p>
          <a:p>
            <a:pPr marL="342900" indent="-342900" algn="l">
              <a:lnSpc>
                <a:spcPct val="150000"/>
              </a:lnSpc>
              <a:buFont typeface="Arial" panose="020B0604020202020204" pitchFamily="34" charset="0"/>
              <a:buChar char="•"/>
            </a:pPr>
            <a:r>
              <a:rPr lang="en-US" sz="1200" b="0" i="0" dirty="0">
                <a:solidFill>
                  <a:srgbClr val="111111"/>
                </a:solidFill>
                <a:effectLst/>
                <a:latin typeface="72" panose="020B0503030000000003" pitchFamily="34" charset="0"/>
                <a:cs typeface="72" panose="020B0503030000000003" pitchFamily="34" charset="0"/>
              </a:rPr>
              <a:t>Diagnosing problems by troubleshooting error messages or logs is no longer feasible.</a:t>
            </a:r>
          </a:p>
          <a:p>
            <a:pPr marL="342900" indent="-342900" algn="l">
              <a:lnSpc>
                <a:spcPct val="150000"/>
              </a:lnSpc>
              <a:buFont typeface="Arial" panose="020B0604020202020204" pitchFamily="34" charset="0"/>
              <a:buChar char="•"/>
            </a:pPr>
            <a:r>
              <a:rPr lang="en-US" sz="1200" b="0" i="0" dirty="0">
                <a:solidFill>
                  <a:srgbClr val="111111"/>
                </a:solidFill>
                <a:effectLst/>
                <a:latin typeface="72" panose="020B0503030000000003" pitchFamily="34" charset="0"/>
                <a:cs typeface="72" panose="020B0503030000000003" pitchFamily="34" charset="0"/>
              </a:rPr>
              <a:t>A solution is needed to track an event from the sending application, through event brokers, to the receiving application</a:t>
            </a:r>
          </a:p>
        </p:txBody>
      </p:sp>
      <p:pic>
        <p:nvPicPr>
          <p:cNvPr id="1026" name="Picture 2" descr="Illustration depicting the concepts described in the surrounding text.">
            <a:extLst>
              <a:ext uri="{FF2B5EF4-FFF2-40B4-BE49-F238E27FC236}">
                <a16:creationId xmlns:a16="http://schemas.microsoft.com/office/drawing/2014/main" id="{B9CC3017-F51B-88F2-CABA-DBC6B49E5E8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466265" y="1673277"/>
            <a:ext cx="2224212" cy="855879"/>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id="{6826DA47-C391-1A30-1DD2-D2B7B4C13F76}"/>
              </a:ext>
            </a:extLst>
          </p:cNvPr>
          <p:cNvSpPr txBox="1"/>
          <p:nvPr/>
        </p:nvSpPr>
        <p:spPr>
          <a:xfrm>
            <a:off x="448597" y="2531264"/>
            <a:ext cx="11297284" cy="1431161"/>
          </a:xfrm>
          <a:prstGeom prst="rect">
            <a:avLst/>
          </a:prstGeom>
          <a:noFill/>
        </p:spPr>
        <p:txBody>
          <a:bodyPr wrap="square">
            <a:spAutoFit/>
          </a:bodyPr>
          <a:lstStyle/>
          <a:p>
            <a:pPr algn="l"/>
            <a:r>
              <a:rPr lang="en-US" sz="1200" b="0" i="0" dirty="0">
                <a:solidFill>
                  <a:srgbClr val="111111"/>
                </a:solidFill>
                <a:effectLst/>
                <a:latin typeface="72" panose="020B0503030000000003" pitchFamily="34" charset="0"/>
                <a:cs typeface="72" panose="020B0503030000000003" pitchFamily="34" charset="0"/>
              </a:rPr>
              <a:t>Approach:</a:t>
            </a:r>
          </a:p>
          <a:p>
            <a:pPr marL="342900" indent="-342900" algn="l">
              <a:lnSpc>
                <a:spcPct val="150000"/>
              </a:lnSpc>
              <a:buFont typeface="Arial" panose="020B0604020202020204" pitchFamily="34" charset="0"/>
              <a:buChar char="•"/>
            </a:pPr>
            <a:r>
              <a:rPr lang="en-US" sz="1200" b="0" i="0" dirty="0">
                <a:solidFill>
                  <a:srgbClr val="212529"/>
                </a:solidFill>
                <a:effectLst/>
                <a:latin typeface="72" panose="020B0503030000000003" pitchFamily="34" charset="0"/>
                <a:cs typeface="72" panose="020B0503030000000003" pitchFamily="34" charset="0"/>
              </a:rPr>
              <a:t>the event broker generates special guaranteed messages when certain operations happen</a:t>
            </a:r>
          </a:p>
          <a:p>
            <a:pPr marL="342900" indent="-342900" algn="l">
              <a:lnSpc>
                <a:spcPct val="150000"/>
              </a:lnSpc>
              <a:buFont typeface="Arial" panose="020B0604020202020204" pitchFamily="34" charset="0"/>
              <a:buChar char="•"/>
            </a:pPr>
            <a:r>
              <a:rPr lang="en-US" sz="1200" dirty="0">
                <a:solidFill>
                  <a:srgbClr val="111111"/>
                </a:solidFill>
                <a:latin typeface="72" panose="020B0503030000000003" pitchFamily="34" charset="0"/>
                <a:cs typeface="72" panose="020B0503030000000003" pitchFamily="34" charset="0"/>
              </a:rPr>
              <a:t>the publisher and subscriber APIs also generate spans when messages are sent and received</a:t>
            </a:r>
          </a:p>
          <a:p>
            <a:pPr marL="342900" indent="-342900" algn="l">
              <a:lnSpc>
                <a:spcPct val="150000"/>
              </a:lnSpc>
              <a:buFont typeface="Arial" panose="020B0604020202020204" pitchFamily="34" charset="0"/>
              <a:buChar char="•"/>
            </a:pPr>
            <a:r>
              <a:rPr lang="en-US" sz="1200" dirty="0" err="1">
                <a:solidFill>
                  <a:srgbClr val="111111"/>
                </a:solidFill>
                <a:latin typeface="72" panose="020B0503030000000003" pitchFamily="34" charset="0"/>
                <a:cs typeface="72" panose="020B0503030000000003" pitchFamily="34" charset="0"/>
              </a:rPr>
              <a:t>OpenTelemetry</a:t>
            </a:r>
            <a:r>
              <a:rPr lang="en-US" sz="1200" dirty="0">
                <a:solidFill>
                  <a:srgbClr val="111111"/>
                </a:solidFill>
                <a:latin typeface="72" panose="020B0503030000000003" pitchFamily="34" charset="0"/>
                <a:cs typeface="72" panose="020B0503030000000003" pitchFamily="34" charset="0"/>
              </a:rPr>
              <a:t> receivers consume these messages from a particular queue and convert to a format that can be received, processed, and viewed using </a:t>
            </a:r>
            <a:r>
              <a:rPr lang="en-US" sz="1200" dirty="0" err="1">
                <a:solidFill>
                  <a:srgbClr val="111111"/>
                </a:solidFill>
                <a:latin typeface="72" panose="020B0503030000000003" pitchFamily="34" charset="0"/>
                <a:cs typeface="72" panose="020B0503030000000003" pitchFamily="34" charset="0"/>
              </a:rPr>
              <a:t>DataDog</a:t>
            </a:r>
            <a:r>
              <a:rPr lang="en-US" sz="1200" dirty="0">
                <a:solidFill>
                  <a:srgbClr val="111111"/>
                </a:solidFill>
                <a:latin typeface="72" panose="020B0503030000000003" pitchFamily="34" charset="0"/>
                <a:cs typeface="72" panose="020B0503030000000003" pitchFamily="34" charset="0"/>
              </a:rPr>
              <a:t>.</a:t>
            </a:r>
          </a:p>
          <a:p>
            <a:pPr algn="l"/>
            <a:endParaRPr lang="en-US" b="0" i="0" dirty="0">
              <a:solidFill>
                <a:srgbClr val="111111"/>
              </a:solidFill>
              <a:effectLst/>
              <a:latin typeface="-apple-system"/>
            </a:endParaRPr>
          </a:p>
        </p:txBody>
      </p:sp>
      <p:sp>
        <p:nvSpPr>
          <p:cNvPr id="6" name="TextBox 5">
            <a:extLst>
              <a:ext uri="{FF2B5EF4-FFF2-40B4-BE49-F238E27FC236}">
                <a16:creationId xmlns:a16="http://schemas.microsoft.com/office/drawing/2014/main" id="{171B8A18-062F-E733-720E-1B804F790880}"/>
              </a:ext>
            </a:extLst>
          </p:cNvPr>
          <p:cNvSpPr txBox="1"/>
          <p:nvPr/>
        </p:nvSpPr>
        <p:spPr>
          <a:xfrm>
            <a:off x="448597" y="4163426"/>
            <a:ext cx="11297284" cy="1569660"/>
          </a:xfrm>
          <a:prstGeom prst="rect">
            <a:avLst/>
          </a:prstGeom>
          <a:noFill/>
        </p:spPr>
        <p:txBody>
          <a:bodyPr wrap="square">
            <a:spAutoFit/>
          </a:bodyPr>
          <a:lstStyle/>
          <a:p>
            <a:pPr algn="l"/>
            <a:r>
              <a:rPr lang="en-US" sz="1200" dirty="0">
                <a:solidFill>
                  <a:srgbClr val="212529"/>
                </a:solidFill>
                <a:latin typeface="72" panose="020B0503030000000003" pitchFamily="34" charset="0"/>
                <a:cs typeface="72" panose="020B0503030000000003" pitchFamily="34" charset="0"/>
              </a:rPr>
              <a:t>Conclusion: Distributed tracing … </a:t>
            </a:r>
          </a:p>
          <a:p>
            <a:pPr algn="l">
              <a:lnSpc>
                <a:spcPct val="150000"/>
              </a:lnSpc>
            </a:pPr>
            <a:r>
              <a:rPr lang="en-US" sz="1200" dirty="0">
                <a:solidFill>
                  <a:srgbClr val="212529"/>
                </a:solidFill>
                <a:latin typeface="72" panose="020B0503030000000003" pitchFamily="34" charset="0"/>
                <a:cs typeface="72" panose="020B0503030000000003" pitchFamily="34" charset="0"/>
              </a:rPr>
              <a:t>… allows tracking the lifecycle of an event as it moves through the event mesh.</a:t>
            </a:r>
          </a:p>
          <a:p>
            <a:pPr algn="l">
              <a:lnSpc>
                <a:spcPct val="150000"/>
              </a:lnSpc>
            </a:pPr>
            <a:r>
              <a:rPr lang="en-US" sz="1200" dirty="0">
                <a:solidFill>
                  <a:srgbClr val="212529"/>
                </a:solidFill>
                <a:latin typeface="72" panose="020B0503030000000003" pitchFamily="34" charset="0"/>
                <a:cs typeface="72" panose="020B0503030000000003" pitchFamily="34" charset="0"/>
              </a:rPr>
              <a:t>… helps diagnosing issues by providing visibility into the event flow across different services and brokers.</a:t>
            </a:r>
          </a:p>
          <a:p>
            <a:pPr algn="l">
              <a:lnSpc>
                <a:spcPct val="150000"/>
              </a:lnSpc>
            </a:pPr>
            <a:r>
              <a:rPr lang="en-US" sz="1200" dirty="0">
                <a:solidFill>
                  <a:srgbClr val="212529"/>
                </a:solidFill>
                <a:latin typeface="72" panose="020B0503030000000003" pitchFamily="34" charset="0"/>
                <a:cs typeface="72" panose="020B0503030000000003" pitchFamily="34" charset="0"/>
              </a:rPr>
              <a:t>… enables monitoring of performance metrics and identifying bottlenecks in the event processing pipeline.</a:t>
            </a:r>
          </a:p>
          <a:p>
            <a:pPr algn="l">
              <a:lnSpc>
                <a:spcPct val="150000"/>
              </a:lnSpc>
            </a:pPr>
            <a:r>
              <a:rPr lang="en-US" sz="1200" dirty="0">
                <a:solidFill>
                  <a:srgbClr val="212529"/>
                </a:solidFill>
                <a:latin typeface="72" panose="020B0503030000000003" pitchFamily="34" charset="0"/>
                <a:cs typeface="72" panose="020B0503030000000003" pitchFamily="34" charset="0"/>
              </a:rPr>
              <a:t>… Improves overall observability of the system by correlating events and tracing their paths end-to-end.</a:t>
            </a:r>
          </a:p>
          <a:p>
            <a:pPr algn="l"/>
            <a:endParaRPr lang="en-US" sz="1200" dirty="0">
              <a:solidFill>
                <a:srgbClr val="212529"/>
              </a:solidFill>
              <a:latin typeface="72" panose="020B0503030000000003" pitchFamily="34" charset="0"/>
              <a:cs typeface="72" panose="020B0503030000000003" pitchFamily="34" charset="0"/>
            </a:endParaRPr>
          </a:p>
        </p:txBody>
      </p:sp>
    </p:spTree>
    <p:custDataLst>
      <p:custData r:id="rId1"/>
      <p:custData r:id="rId2"/>
    </p:custDataLst>
    <p:extLst>
      <p:ext uri="{BB962C8B-B14F-4D97-AF65-F5344CB8AC3E}">
        <p14:creationId xmlns:p14="http://schemas.microsoft.com/office/powerpoint/2010/main" val="377012557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Agenda items"/>
          <p:cNvSpPr>
            <a:spLocks noGrp="1"/>
          </p:cNvSpPr>
          <p:nvPr>
            <p:ph type="body" sz="quarter" idx="10"/>
          </p:nvPr>
        </p:nvSpPr>
        <p:spPr bwMode="gray">
          <a:xfrm>
            <a:off x="504000" y="1005142"/>
            <a:ext cx="11185200" cy="5330758"/>
          </a:xfrm>
        </p:spPr>
        <p:txBody>
          <a:bodyPr>
            <a:noAutofit/>
          </a:bodyPr>
          <a:lstStyle/>
          <a:p>
            <a:r>
              <a:rPr lang="en-US" sz="1600" dirty="0"/>
              <a:t>API Overview</a:t>
            </a:r>
          </a:p>
          <a:p>
            <a:pPr lvl="1"/>
            <a:r>
              <a:rPr lang="en-US" sz="1200" dirty="0"/>
              <a:t>Manage SAP Advanced Event Mesh</a:t>
            </a:r>
          </a:p>
          <a:p>
            <a:pPr lvl="1"/>
            <a:r>
              <a:rPr lang="en-US" sz="1200" dirty="0"/>
              <a:t>Manage SAP Event Brokers</a:t>
            </a:r>
          </a:p>
          <a:p>
            <a:pPr lvl="1"/>
            <a:r>
              <a:rPr lang="en-US" sz="1200" dirty="0"/>
              <a:t>Connection &amp; Protocols</a:t>
            </a:r>
          </a:p>
          <a:p>
            <a:pPr marL="0" lvl="1" indent="0">
              <a:buNone/>
            </a:pPr>
            <a:endParaRPr lang="en-US" sz="700" dirty="0"/>
          </a:p>
          <a:p>
            <a:pPr marL="0" marR="0">
              <a:spcBef>
                <a:spcPts val="0"/>
              </a:spcBef>
              <a:spcAft>
                <a:spcPts val="0"/>
              </a:spcAft>
            </a:pPr>
            <a:r>
              <a:rPr lang="en-US" sz="1600" dirty="0"/>
              <a:t>SAP Advanced Event Mesh - REST – API(v2) (</a:t>
            </a:r>
            <a:r>
              <a:rPr lang="en-US" sz="1600" dirty="0" err="1"/>
              <a:t>PubSub</a:t>
            </a:r>
            <a:r>
              <a:rPr lang="en-US" sz="1600" dirty="0"/>
              <a:t>+ Cloud REST API)</a:t>
            </a:r>
          </a:p>
          <a:p>
            <a:pPr lvl="1"/>
            <a:r>
              <a:rPr lang="en-US" sz="1200" dirty="0"/>
              <a:t>Managing Services</a:t>
            </a:r>
          </a:p>
          <a:p>
            <a:pPr lvl="1"/>
            <a:r>
              <a:rPr lang="en-US" sz="1200" dirty="0"/>
              <a:t>Configuration Reference</a:t>
            </a:r>
          </a:p>
          <a:p>
            <a:pPr lvl="1"/>
            <a:endParaRPr lang="en-US" sz="1200" dirty="0"/>
          </a:p>
          <a:p>
            <a:pPr marL="0" lvl="1" indent="0">
              <a:buNone/>
            </a:pPr>
            <a:endParaRPr lang="de-DE" sz="700" dirty="0"/>
          </a:p>
          <a:p>
            <a:pPr rtl="0" fontAlgn="ctr">
              <a:spcBef>
                <a:spcPts val="0"/>
              </a:spcBef>
              <a:spcAft>
                <a:spcPts val="0"/>
              </a:spcAft>
              <a:buNone/>
            </a:pPr>
            <a:r>
              <a:rPr lang="en-US" sz="1600" dirty="0">
                <a:effectLst/>
              </a:rPr>
              <a:t>SEMP(v</a:t>
            </a:r>
            <a:r>
              <a:rPr lang="en-US" sz="1600" dirty="0"/>
              <a:t>2)</a:t>
            </a:r>
            <a:r>
              <a:rPr lang="en-US" sz="1600" dirty="0">
                <a:effectLst/>
              </a:rPr>
              <a:t> (Solace Element Management Protocol) </a:t>
            </a:r>
          </a:p>
          <a:p>
            <a:pPr lvl="1"/>
            <a:r>
              <a:rPr lang="en-US" sz="1200" dirty="0"/>
              <a:t>Configuration Reference</a:t>
            </a:r>
          </a:p>
          <a:p>
            <a:pPr lvl="1"/>
            <a:r>
              <a:rPr lang="en-US" sz="1200" dirty="0"/>
              <a:t>Action Reference</a:t>
            </a:r>
          </a:p>
          <a:p>
            <a:pPr lvl="1"/>
            <a:r>
              <a:rPr lang="en-US" sz="1200" dirty="0"/>
              <a:t>Monitor Reference</a:t>
            </a:r>
          </a:p>
          <a:p>
            <a:pPr lvl="1"/>
            <a:endParaRPr lang="en-US" sz="700" dirty="0"/>
          </a:p>
          <a:p>
            <a:pPr marL="0" lvl="1" indent="0">
              <a:buNone/>
            </a:pPr>
            <a:r>
              <a:rPr lang="de-DE" sz="1600" dirty="0"/>
              <a:t>Open </a:t>
            </a:r>
            <a:r>
              <a:rPr lang="de-DE" sz="1600" dirty="0" err="1"/>
              <a:t>API‘s</a:t>
            </a:r>
            <a:r>
              <a:rPr lang="de-DE" sz="1600" dirty="0"/>
              <a:t> &amp; </a:t>
            </a:r>
            <a:r>
              <a:rPr lang="de-DE" sz="1600" dirty="0" err="1"/>
              <a:t>Protocols</a:t>
            </a:r>
            <a:r>
              <a:rPr lang="de-DE" sz="1600" dirty="0"/>
              <a:t> </a:t>
            </a:r>
          </a:p>
          <a:p>
            <a:pPr lvl="1"/>
            <a:r>
              <a:rPr lang="de-DE" sz="1200" dirty="0" err="1"/>
              <a:t>API‘s</a:t>
            </a:r>
            <a:endParaRPr lang="de-DE" sz="1200" dirty="0"/>
          </a:p>
          <a:p>
            <a:pPr lvl="1"/>
            <a:r>
              <a:rPr lang="de-DE" sz="1200" dirty="0"/>
              <a:t>Open </a:t>
            </a:r>
            <a:r>
              <a:rPr lang="de-DE" sz="1200" dirty="0" err="1"/>
              <a:t>Wireline</a:t>
            </a:r>
            <a:r>
              <a:rPr lang="de-DE" sz="1200" dirty="0"/>
              <a:t> </a:t>
            </a:r>
            <a:r>
              <a:rPr lang="de-DE" sz="1200" dirty="0" err="1"/>
              <a:t>Protocols</a:t>
            </a:r>
            <a:endParaRPr lang="de-DE" sz="1200" dirty="0"/>
          </a:p>
          <a:p>
            <a:pPr marL="0" lvl="1" indent="0">
              <a:buNone/>
            </a:pPr>
            <a:endParaRPr lang="en-US" sz="1200" dirty="0"/>
          </a:p>
          <a:p>
            <a:pPr lvl="1"/>
            <a:endParaRPr lang="en-US" sz="1200" dirty="0"/>
          </a:p>
        </p:txBody>
      </p:sp>
      <p:sp>
        <p:nvSpPr>
          <p:cNvPr id="2" name="Agenda"/>
          <p:cNvSpPr>
            <a:spLocks noGrp="1"/>
          </p:cNvSpPr>
          <p:nvPr>
            <p:ph type="title"/>
          </p:nvPr>
        </p:nvSpPr>
        <p:spPr bwMode="gray">
          <a:xfrm>
            <a:off x="517525" y="505381"/>
            <a:ext cx="11186476" cy="369332"/>
          </a:xfrm>
        </p:spPr>
        <p:txBody>
          <a:bodyPr/>
          <a:lstStyle/>
          <a:p>
            <a:pPr rtl="0" fontAlgn="ctr">
              <a:spcBef>
                <a:spcPts val="1200"/>
              </a:spcBef>
              <a:spcAft>
                <a:spcPts val="0"/>
              </a:spcAft>
            </a:pPr>
            <a:r>
              <a:rPr lang="en-US" sz="2400" dirty="0">
                <a:effectLst/>
              </a:rPr>
              <a:t>Advanced Event Mesh – API’s</a:t>
            </a:r>
          </a:p>
        </p:txBody>
      </p:sp>
    </p:spTree>
    <p:custDataLst>
      <p:custData r:id="rId1"/>
      <p:custData r:id="rId2"/>
    </p:custData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F701E04F-6056-D519-8214-081FCBB760C7}"/>
              </a:ext>
            </a:extLst>
          </p:cNvPr>
          <p:cNvSpPr>
            <a:spLocks noGrp="1"/>
          </p:cNvSpPr>
          <p:nvPr>
            <p:ph type="body" sz="quarter" idx="10"/>
          </p:nvPr>
        </p:nvSpPr>
        <p:spPr>
          <a:xfrm>
            <a:off x="504000" y="1074944"/>
            <a:ext cx="11186477" cy="5260956"/>
          </a:xfrm>
        </p:spPr>
        <p:txBody>
          <a:bodyPr>
            <a:normAutofit fontScale="92500" lnSpcReduction="10000"/>
          </a:bodyPr>
          <a:lstStyle/>
          <a:p>
            <a:pPr marL="0" marR="0">
              <a:spcBef>
                <a:spcPts val="0"/>
              </a:spcBef>
              <a:spcAft>
                <a:spcPts val="0"/>
              </a:spcAft>
            </a:pPr>
            <a:r>
              <a:rPr lang="en-US" sz="1500" u="sng" dirty="0">
                <a:latin typeface="72" panose="020B0503030000000003" pitchFamily="34" charset="0"/>
                <a:cs typeface="72" panose="020B0503030000000003" pitchFamily="34" charset="0"/>
              </a:rPr>
              <a:t>SAP Advanced Event Mesh - REST – API(v2)</a:t>
            </a:r>
          </a:p>
          <a:p>
            <a:pPr marL="0" marR="0">
              <a:spcBef>
                <a:spcPts val="0"/>
              </a:spcBef>
              <a:spcAft>
                <a:spcPts val="0"/>
              </a:spcAft>
            </a:pPr>
            <a:endParaRPr lang="de-DE" sz="1500" dirty="0">
              <a:effectLst/>
              <a:latin typeface="72" panose="020B0503030000000003" pitchFamily="34" charset="0"/>
              <a:cs typeface="72" panose="020B0503030000000003" pitchFamily="34" charset="0"/>
            </a:endParaRPr>
          </a:p>
          <a:p>
            <a:pPr marL="285750" indent="-285750" fontAlgn="ctr">
              <a:spcBef>
                <a:spcPts val="0"/>
              </a:spcBef>
              <a:buFont typeface="Arial" panose="020B0604020202020204" pitchFamily="34" charset="0"/>
              <a:buChar char="•"/>
            </a:pPr>
            <a:r>
              <a:rPr lang="en-US" sz="1200" dirty="0">
                <a:latin typeface="72" panose="020B0503030000000003" pitchFamily="34" charset="0"/>
                <a:cs typeface="72" panose="020B0503030000000003" pitchFamily="34" charset="0"/>
              </a:rPr>
              <a:t>In a nutshell: „Administration of the Cloud Env. of Advanced Event Mesh</a:t>
            </a:r>
          </a:p>
          <a:p>
            <a:pPr marL="285750" indent="-285750" fontAlgn="ctr">
              <a:spcBef>
                <a:spcPts val="0"/>
              </a:spcBef>
              <a:buFont typeface="Arial" panose="020B0604020202020204" pitchFamily="34" charset="0"/>
              <a:buChar char="•"/>
            </a:pPr>
            <a:r>
              <a:rPr lang="en-US" sz="1200" dirty="0">
                <a:latin typeface="72" panose="020B0503030000000003" pitchFamily="34" charset="0"/>
                <a:cs typeface="72" panose="020B0503030000000003" pitchFamily="34" charset="0"/>
              </a:rPr>
              <a:t>This API provide mechanism for you to manage event broker services, work with Event Portal and manage accounts for advanced event mesh</a:t>
            </a:r>
          </a:p>
          <a:p>
            <a:pPr marL="285750" indent="-285750" fontAlgn="ctr">
              <a:spcBef>
                <a:spcPts val="0"/>
              </a:spcBef>
              <a:buFont typeface="Arial" panose="020B0604020202020204" pitchFamily="34" charset="0"/>
              <a:buChar char="•"/>
            </a:pPr>
            <a:r>
              <a:rPr lang="en-US" sz="1200" dirty="0">
                <a:latin typeface="72" panose="020B0503030000000003" pitchFamily="34" charset="0"/>
                <a:cs typeface="72" panose="020B0503030000000003" pitchFamily="34" charset="0"/>
              </a:rPr>
              <a:t>Legacy v0/v1 available – not recommended to use </a:t>
            </a:r>
          </a:p>
          <a:p>
            <a:pPr marL="285750" indent="-285750" fontAlgn="ctr">
              <a:spcBef>
                <a:spcPts val="0"/>
              </a:spcBef>
              <a:buFont typeface="Arial" panose="020B0604020202020204" pitchFamily="34" charset="0"/>
              <a:buChar char="•"/>
            </a:pPr>
            <a:r>
              <a:rPr lang="en-US" sz="1200" dirty="0">
                <a:latin typeface="72" panose="020B0503030000000003" pitchFamily="34" charset="0"/>
                <a:cs typeface="72" panose="020B0503030000000003" pitchFamily="34" charset="0"/>
              </a:rPr>
              <a:t>For further documentation also known as: </a:t>
            </a:r>
            <a:r>
              <a:rPr lang="en-US" sz="1200" dirty="0" err="1">
                <a:latin typeface="72" panose="020B0503030000000003" pitchFamily="34" charset="0"/>
                <a:cs typeface="72" panose="020B0503030000000003" pitchFamily="34" charset="0"/>
              </a:rPr>
              <a:t>PubSub</a:t>
            </a:r>
            <a:r>
              <a:rPr lang="en-US" sz="1200" dirty="0">
                <a:latin typeface="72" panose="020B0503030000000003" pitchFamily="34" charset="0"/>
                <a:cs typeface="72" panose="020B0503030000000003" pitchFamily="34" charset="0"/>
              </a:rPr>
              <a:t>+ Cloud REST API</a:t>
            </a:r>
          </a:p>
          <a:p>
            <a:pPr fontAlgn="ctr">
              <a:spcBef>
                <a:spcPts val="0"/>
              </a:spcBef>
              <a:buNone/>
            </a:pPr>
            <a:endParaRPr lang="de-DE" sz="1500" dirty="0">
              <a:effectLst/>
              <a:latin typeface="72" panose="020B0503030000000003" pitchFamily="34" charset="0"/>
              <a:cs typeface="72" panose="020B0503030000000003" pitchFamily="34" charset="0"/>
            </a:endParaRPr>
          </a:p>
          <a:p>
            <a:pPr rtl="0" fontAlgn="ctr">
              <a:spcBef>
                <a:spcPts val="0"/>
              </a:spcBef>
              <a:spcAft>
                <a:spcPts val="0"/>
              </a:spcAft>
              <a:buNone/>
            </a:pPr>
            <a:r>
              <a:rPr lang="en-US" sz="1500" u="sng" dirty="0">
                <a:latin typeface="72" panose="020B0503030000000003" pitchFamily="34" charset="0"/>
                <a:cs typeface="72" panose="020B0503030000000003" pitchFamily="34" charset="0"/>
              </a:rPr>
              <a:t>SAP Advanced Event Mesh - SEMP(v2) (Solace Element Management Protocol)</a:t>
            </a:r>
          </a:p>
          <a:p>
            <a:pPr rtl="0" fontAlgn="ctr">
              <a:spcBef>
                <a:spcPts val="0"/>
              </a:spcBef>
              <a:spcAft>
                <a:spcPts val="0"/>
              </a:spcAft>
              <a:buNone/>
            </a:pPr>
            <a:endParaRPr lang="en-US" sz="1500" dirty="0">
              <a:effectLst/>
              <a:latin typeface="72" panose="020B0503030000000003" pitchFamily="34" charset="0"/>
              <a:cs typeface="72" panose="020B0503030000000003" pitchFamily="34" charset="0"/>
            </a:endParaRPr>
          </a:p>
          <a:p>
            <a:pPr marL="285750" indent="-285750" rtl="0" fontAlgn="ctr">
              <a:spcBef>
                <a:spcPts val="0"/>
              </a:spcBef>
              <a:spcAft>
                <a:spcPts val="0"/>
              </a:spcAft>
              <a:buFont typeface="Arial" panose="020B0604020202020204" pitchFamily="34" charset="0"/>
              <a:buChar char="•"/>
            </a:pPr>
            <a:r>
              <a:rPr lang="en-US" sz="1200" dirty="0">
                <a:latin typeface="72" panose="020B0503030000000003" pitchFamily="34" charset="0"/>
                <a:cs typeface="72" panose="020B0503030000000003" pitchFamily="34" charset="0"/>
              </a:rPr>
              <a:t>In a nutshell: “Admin interface for the brokers”</a:t>
            </a:r>
          </a:p>
          <a:p>
            <a:pPr marL="285750" indent="-285750" rtl="0" fontAlgn="ctr">
              <a:spcBef>
                <a:spcPts val="0"/>
              </a:spcBef>
              <a:spcAft>
                <a:spcPts val="0"/>
              </a:spcAft>
              <a:buFont typeface="Arial" panose="020B0604020202020204" pitchFamily="34" charset="0"/>
              <a:buChar char="•"/>
            </a:pPr>
            <a:r>
              <a:rPr lang="en-US" sz="1200" dirty="0">
                <a:latin typeface="72" panose="020B0503030000000003" pitchFamily="34" charset="0"/>
                <a:cs typeface="72" panose="020B0503030000000003" pitchFamily="34" charset="0"/>
              </a:rPr>
              <a:t>This Rest based API can be used for provision, operate, and maintain a single SAP Event Broker</a:t>
            </a:r>
          </a:p>
          <a:p>
            <a:pPr rtl="0" fontAlgn="ctr">
              <a:spcBef>
                <a:spcPts val="0"/>
              </a:spcBef>
              <a:spcAft>
                <a:spcPts val="0"/>
              </a:spcAft>
              <a:buFont typeface="Arial" panose="020B0604020202020204" pitchFamily="34" charset="0"/>
              <a:buChar char="•"/>
            </a:pPr>
            <a:endParaRPr lang="en-US" sz="1500" dirty="0">
              <a:latin typeface="72" panose="020B0503030000000003" pitchFamily="34" charset="0"/>
              <a:cs typeface="72" panose="020B0503030000000003" pitchFamily="34" charset="0"/>
            </a:endParaRPr>
          </a:p>
          <a:p>
            <a:pPr fontAlgn="ctr">
              <a:spcBef>
                <a:spcPts val="0"/>
              </a:spcBef>
              <a:buNone/>
            </a:pPr>
            <a:r>
              <a:rPr lang="de-DE" sz="1500" u="sng" dirty="0">
                <a:effectLst/>
                <a:latin typeface="72" panose="020B0503030000000003" pitchFamily="34" charset="0"/>
                <a:cs typeface="72" panose="020B0503030000000003" pitchFamily="34" charset="0"/>
              </a:rPr>
              <a:t>Open APIs</a:t>
            </a:r>
          </a:p>
          <a:p>
            <a:pPr fontAlgn="ctr">
              <a:spcBef>
                <a:spcPts val="0"/>
              </a:spcBef>
              <a:buNone/>
            </a:pPr>
            <a:endParaRPr lang="de-DE" sz="1500" dirty="0">
              <a:latin typeface="72" panose="020B0503030000000003" pitchFamily="34" charset="0"/>
              <a:cs typeface="72" panose="020B0503030000000003" pitchFamily="34" charset="0"/>
            </a:endParaRPr>
          </a:p>
          <a:p>
            <a:pPr marL="342900" indent="-342900" rtl="0" fontAlgn="ctr">
              <a:spcBef>
                <a:spcPts val="0"/>
              </a:spcBef>
              <a:spcAft>
                <a:spcPts val="0"/>
              </a:spcAft>
              <a:buFont typeface="Arial" panose="020B0604020202020204" pitchFamily="34" charset="0"/>
              <a:buChar char="•"/>
            </a:pPr>
            <a:r>
              <a:rPr lang="de-DE" sz="1200" dirty="0">
                <a:effectLst/>
                <a:latin typeface="72" panose="020B0503030000000003" pitchFamily="34" charset="0"/>
                <a:cs typeface="72" panose="020B0503030000000003" pitchFamily="34" charset="0"/>
              </a:rPr>
              <a:t>JMS (Java Message Service): </a:t>
            </a:r>
            <a:r>
              <a:rPr lang="de-DE" sz="1200" dirty="0" err="1">
                <a:effectLst/>
                <a:latin typeface="72" panose="020B0503030000000003" pitchFamily="34" charset="0"/>
                <a:cs typeface="72" panose="020B0503030000000003" pitchFamily="34" charset="0"/>
              </a:rPr>
              <a:t>allowing</a:t>
            </a:r>
            <a:r>
              <a:rPr lang="de-DE" sz="1200" dirty="0">
                <a:effectLst/>
                <a:latin typeface="72" panose="020B0503030000000003" pitchFamily="34" charset="0"/>
                <a:cs typeface="72" panose="020B0503030000000003" pitchFamily="34" charset="0"/>
              </a:rPr>
              <a:t> </a:t>
            </a:r>
            <a:r>
              <a:rPr lang="de-DE" sz="1200" dirty="0" err="1">
                <a:effectLst/>
                <a:latin typeface="72" panose="020B0503030000000003" pitchFamily="34" charset="0"/>
                <a:cs typeface="72" panose="020B0503030000000003" pitchFamily="34" charset="0"/>
              </a:rPr>
              <a:t>seamless</a:t>
            </a:r>
            <a:r>
              <a:rPr lang="de-DE" sz="1200" dirty="0">
                <a:effectLst/>
                <a:latin typeface="72" panose="020B0503030000000003" pitchFamily="34" charset="0"/>
                <a:cs typeface="72" panose="020B0503030000000003" pitchFamily="34" charset="0"/>
              </a:rPr>
              <a:t> </a:t>
            </a:r>
            <a:r>
              <a:rPr lang="de-DE" sz="1200" dirty="0" err="1">
                <a:effectLst/>
                <a:latin typeface="72" panose="020B0503030000000003" pitchFamily="34" charset="0"/>
                <a:cs typeface="72" panose="020B0503030000000003" pitchFamily="34" charset="0"/>
              </a:rPr>
              <a:t>integration</a:t>
            </a:r>
            <a:r>
              <a:rPr lang="de-DE" sz="1200" dirty="0">
                <a:effectLst/>
                <a:latin typeface="72" panose="020B0503030000000003" pitchFamily="34" charset="0"/>
                <a:cs typeface="72" panose="020B0503030000000003" pitchFamily="34" charset="0"/>
              </a:rPr>
              <a:t> </a:t>
            </a:r>
            <a:r>
              <a:rPr lang="de-DE" sz="1200" dirty="0" err="1">
                <a:effectLst/>
                <a:latin typeface="72" panose="020B0503030000000003" pitchFamily="34" charset="0"/>
                <a:cs typeface="72" panose="020B0503030000000003" pitchFamily="34" charset="0"/>
              </a:rPr>
              <a:t>with</a:t>
            </a:r>
            <a:r>
              <a:rPr lang="de-DE" sz="1200" dirty="0">
                <a:effectLst/>
                <a:latin typeface="72" panose="020B0503030000000003" pitchFamily="34" charset="0"/>
                <a:cs typeface="72" panose="020B0503030000000003" pitchFamily="34" charset="0"/>
              </a:rPr>
              <a:t> Java-</a:t>
            </a:r>
            <a:r>
              <a:rPr lang="de-DE" sz="1200" dirty="0" err="1">
                <a:effectLst/>
                <a:latin typeface="72" panose="020B0503030000000003" pitchFamily="34" charset="0"/>
                <a:cs typeface="72" panose="020B0503030000000003" pitchFamily="34" charset="0"/>
              </a:rPr>
              <a:t>based</a:t>
            </a:r>
            <a:r>
              <a:rPr lang="de-DE" sz="1200" dirty="0">
                <a:effectLst/>
                <a:latin typeface="72" panose="020B0503030000000003" pitchFamily="34" charset="0"/>
                <a:cs typeface="72" panose="020B0503030000000003" pitchFamily="34" charset="0"/>
              </a:rPr>
              <a:t> </a:t>
            </a:r>
            <a:r>
              <a:rPr lang="de-DE" sz="1200" dirty="0" err="1">
                <a:effectLst/>
                <a:latin typeface="72" panose="020B0503030000000003" pitchFamily="34" charset="0"/>
                <a:cs typeface="72" panose="020B0503030000000003" pitchFamily="34" charset="0"/>
              </a:rPr>
              <a:t>applications</a:t>
            </a:r>
            <a:endParaRPr lang="de-DE" sz="1200" dirty="0">
              <a:effectLst/>
              <a:latin typeface="72" panose="020B0503030000000003" pitchFamily="34" charset="0"/>
              <a:cs typeface="72" panose="020B0503030000000003" pitchFamily="34" charset="0"/>
            </a:endParaRPr>
          </a:p>
          <a:p>
            <a:pPr marL="342900" indent="-342900" rtl="0" fontAlgn="ctr">
              <a:spcBef>
                <a:spcPts val="0"/>
              </a:spcBef>
              <a:spcAft>
                <a:spcPts val="0"/>
              </a:spcAft>
              <a:buFont typeface="Arial" panose="020B0604020202020204" pitchFamily="34" charset="0"/>
              <a:buChar char="•"/>
            </a:pPr>
            <a:r>
              <a:rPr lang="de-DE" sz="1200" dirty="0">
                <a:effectLst/>
                <a:latin typeface="72" panose="020B0503030000000003" pitchFamily="34" charset="0"/>
                <a:cs typeface="72" panose="020B0503030000000003" pitchFamily="34" charset="0"/>
              </a:rPr>
              <a:t>Open MAMA: Open Middleware </a:t>
            </a:r>
            <a:r>
              <a:rPr lang="de-DE" sz="1200" dirty="0" err="1">
                <a:effectLst/>
                <a:latin typeface="72" panose="020B0503030000000003" pitchFamily="34" charset="0"/>
                <a:cs typeface="72" panose="020B0503030000000003" pitchFamily="34" charset="0"/>
              </a:rPr>
              <a:t>Agnostic</a:t>
            </a:r>
            <a:r>
              <a:rPr lang="de-DE" sz="1200" dirty="0">
                <a:effectLst/>
                <a:latin typeface="72" panose="020B0503030000000003" pitchFamily="34" charset="0"/>
                <a:cs typeface="72" panose="020B0503030000000003" pitchFamily="34" charset="0"/>
              </a:rPr>
              <a:t> Messaging API (</a:t>
            </a:r>
            <a:r>
              <a:rPr lang="de-DE" sz="1200" dirty="0" err="1">
                <a:effectLst/>
                <a:latin typeface="72" panose="020B0503030000000003" pitchFamily="34" charset="0"/>
                <a:cs typeface="72" panose="020B0503030000000003" pitchFamily="34" charset="0"/>
              </a:rPr>
              <a:t>OpenMAMA</a:t>
            </a:r>
            <a:r>
              <a:rPr lang="de-DE" sz="1200" dirty="0">
                <a:effectLst/>
                <a:latin typeface="72" panose="020B0503030000000003" pitchFamily="34" charset="0"/>
                <a:cs typeface="72" panose="020B0503030000000003" pitchFamily="34" charset="0"/>
              </a:rPr>
              <a:t>) open-source, </a:t>
            </a:r>
            <a:r>
              <a:rPr lang="de-DE" sz="1200" dirty="0" err="1">
                <a:effectLst/>
                <a:latin typeface="72" panose="020B0503030000000003" pitchFamily="34" charset="0"/>
                <a:cs typeface="72" panose="020B0503030000000003" pitchFamily="34" charset="0"/>
              </a:rPr>
              <a:t>lightweight</a:t>
            </a:r>
            <a:r>
              <a:rPr lang="de-DE" sz="1200" dirty="0">
                <a:effectLst/>
                <a:latin typeface="72" panose="020B0503030000000003" pitchFamily="34" charset="0"/>
                <a:cs typeface="72" panose="020B0503030000000003" pitchFamily="34" charset="0"/>
              </a:rPr>
              <a:t>, </a:t>
            </a:r>
            <a:r>
              <a:rPr lang="de-DE" sz="1200" dirty="0" err="1">
                <a:effectLst/>
                <a:latin typeface="72" panose="020B0503030000000003" pitchFamily="34" charset="0"/>
                <a:cs typeface="72" panose="020B0503030000000003" pitchFamily="34" charset="0"/>
              </a:rPr>
              <a:t>vendor</a:t>
            </a:r>
            <a:r>
              <a:rPr lang="de-DE" sz="1200" dirty="0">
                <a:effectLst/>
                <a:latin typeface="72" panose="020B0503030000000003" pitchFamily="34" charset="0"/>
                <a:cs typeface="72" panose="020B0503030000000003" pitchFamily="34" charset="0"/>
              </a:rPr>
              <a:t>-neutral </a:t>
            </a:r>
            <a:r>
              <a:rPr lang="de-DE" sz="1200" dirty="0" err="1">
                <a:effectLst/>
                <a:latin typeface="72" panose="020B0503030000000003" pitchFamily="34" charset="0"/>
                <a:cs typeface="72" panose="020B0503030000000003" pitchFamily="34" charset="0"/>
              </a:rPr>
              <a:t>integration</a:t>
            </a:r>
            <a:r>
              <a:rPr lang="de-DE" sz="1200" dirty="0">
                <a:effectLst/>
                <a:latin typeface="72" panose="020B0503030000000003" pitchFamily="34" charset="0"/>
                <a:cs typeface="72" panose="020B0503030000000003" pitchFamily="34" charset="0"/>
              </a:rPr>
              <a:t> </a:t>
            </a:r>
            <a:r>
              <a:rPr lang="de-DE" sz="1200" dirty="0" err="1">
                <a:effectLst/>
                <a:latin typeface="72" panose="020B0503030000000003" pitchFamily="34" charset="0"/>
                <a:cs typeface="72" panose="020B0503030000000003" pitchFamily="34" charset="0"/>
              </a:rPr>
              <a:t>layer</a:t>
            </a:r>
            <a:r>
              <a:rPr lang="de-DE" sz="1200" dirty="0">
                <a:effectLst/>
                <a:latin typeface="72" panose="020B0503030000000003" pitchFamily="34" charset="0"/>
                <a:cs typeface="72" panose="020B0503030000000003" pitchFamily="34" charset="0"/>
              </a:rPr>
              <a:t> </a:t>
            </a:r>
            <a:r>
              <a:rPr lang="de-DE" sz="1200" dirty="0" err="1">
                <a:effectLst/>
                <a:latin typeface="72" panose="020B0503030000000003" pitchFamily="34" charset="0"/>
                <a:cs typeface="72" panose="020B0503030000000003" pitchFamily="34" charset="0"/>
              </a:rPr>
              <a:t>for</a:t>
            </a:r>
            <a:r>
              <a:rPr lang="de-DE" sz="1200" dirty="0">
                <a:effectLst/>
                <a:latin typeface="72" panose="020B0503030000000003" pitchFamily="34" charset="0"/>
                <a:cs typeface="72" panose="020B0503030000000003" pitchFamily="34" charset="0"/>
              </a:rPr>
              <a:t> </a:t>
            </a:r>
            <a:r>
              <a:rPr lang="de-DE" sz="1200" dirty="0" err="1">
                <a:effectLst/>
                <a:latin typeface="72" panose="020B0503030000000003" pitchFamily="34" charset="0"/>
                <a:cs typeface="72" panose="020B0503030000000003" pitchFamily="34" charset="0"/>
              </a:rPr>
              <a:t>sending</a:t>
            </a:r>
            <a:r>
              <a:rPr lang="de-DE" sz="1200" dirty="0">
                <a:effectLst/>
                <a:latin typeface="72" panose="020B0503030000000003" pitchFamily="34" charset="0"/>
                <a:cs typeface="72" panose="020B0503030000000003" pitchFamily="34" charset="0"/>
              </a:rPr>
              <a:t> and </a:t>
            </a:r>
            <a:r>
              <a:rPr lang="de-DE" sz="1200" dirty="0" err="1">
                <a:effectLst/>
                <a:latin typeface="72" panose="020B0503030000000003" pitchFamily="34" charset="0"/>
                <a:cs typeface="72" panose="020B0503030000000003" pitchFamily="34" charset="0"/>
              </a:rPr>
              <a:t>receiving</a:t>
            </a:r>
            <a:r>
              <a:rPr lang="de-DE" sz="1200" dirty="0">
                <a:effectLst/>
                <a:latin typeface="72" panose="020B0503030000000003" pitchFamily="34" charset="0"/>
                <a:cs typeface="72" panose="020B0503030000000003" pitchFamily="34" charset="0"/>
              </a:rPr>
              <a:t> </a:t>
            </a:r>
            <a:r>
              <a:rPr lang="de-DE" sz="1200" dirty="0" err="1">
                <a:effectLst/>
                <a:latin typeface="72" panose="020B0503030000000003" pitchFamily="34" charset="0"/>
                <a:cs typeface="72" panose="020B0503030000000003" pitchFamily="34" charset="0"/>
              </a:rPr>
              <a:t>market</a:t>
            </a:r>
            <a:r>
              <a:rPr lang="de-DE" sz="1200" dirty="0">
                <a:effectLst/>
                <a:latin typeface="72" panose="020B0503030000000003" pitchFamily="34" charset="0"/>
                <a:cs typeface="72" panose="020B0503030000000003" pitchFamily="34" charset="0"/>
              </a:rPr>
              <a:t> </a:t>
            </a:r>
            <a:r>
              <a:rPr lang="de-DE" sz="1200" dirty="0" err="1">
                <a:effectLst/>
                <a:latin typeface="72" panose="020B0503030000000003" pitchFamily="34" charset="0"/>
                <a:cs typeface="72" panose="020B0503030000000003" pitchFamily="34" charset="0"/>
              </a:rPr>
              <a:t>data</a:t>
            </a:r>
            <a:r>
              <a:rPr lang="de-DE" sz="1200" dirty="0">
                <a:effectLst/>
                <a:latin typeface="72" panose="020B0503030000000003" pitchFamily="34" charset="0"/>
                <a:cs typeface="72" panose="020B0503030000000003" pitchFamily="34" charset="0"/>
              </a:rPr>
              <a:t> </a:t>
            </a:r>
            <a:r>
              <a:rPr lang="de-DE" sz="1200" dirty="0" err="1">
                <a:effectLst/>
                <a:latin typeface="72" panose="020B0503030000000003" pitchFamily="34" charset="0"/>
                <a:cs typeface="72" panose="020B0503030000000003" pitchFamily="34" charset="0"/>
              </a:rPr>
              <a:t>information</a:t>
            </a:r>
            <a:endParaRPr lang="de-DE" sz="1200" dirty="0">
              <a:effectLst/>
              <a:latin typeface="72" panose="020B0503030000000003" pitchFamily="34" charset="0"/>
              <a:cs typeface="72" panose="020B0503030000000003" pitchFamily="34" charset="0"/>
            </a:endParaRPr>
          </a:p>
          <a:p>
            <a:pPr marL="342900" indent="-342900" rtl="0" fontAlgn="ctr">
              <a:spcBef>
                <a:spcPts val="0"/>
              </a:spcBef>
              <a:spcAft>
                <a:spcPts val="0"/>
              </a:spcAft>
              <a:buFont typeface="Arial" panose="020B0604020202020204" pitchFamily="34" charset="0"/>
              <a:buChar char="•"/>
            </a:pPr>
            <a:r>
              <a:rPr lang="de-DE" sz="1200" dirty="0">
                <a:effectLst/>
                <a:latin typeface="72" panose="020B0503030000000003" pitchFamily="34" charset="0"/>
                <a:cs typeface="72" panose="020B0503030000000003" pitchFamily="34" charset="0"/>
              </a:rPr>
              <a:t>REST: REST Messaging API </a:t>
            </a:r>
            <a:r>
              <a:rPr lang="de-DE" sz="1200" dirty="0" err="1">
                <a:effectLst/>
                <a:latin typeface="72" panose="020B0503030000000003" pitchFamily="34" charset="0"/>
                <a:cs typeface="72" panose="020B0503030000000003" pitchFamily="34" charset="0"/>
              </a:rPr>
              <a:t>enables</a:t>
            </a:r>
            <a:r>
              <a:rPr lang="de-DE" sz="1200" dirty="0">
                <a:effectLst/>
                <a:latin typeface="72" panose="020B0503030000000003" pitchFamily="34" charset="0"/>
                <a:cs typeface="72" panose="020B0503030000000003" pitchFamily="34" charset="0"/>
              </a:rPr>
              <a:t> HTTP </a:t>
            </a:r>
            <a:r>
              <a:rPr lang="de-DE" sz="1200" dirty="0" err="1">
                <a:effectLst/>
                <a:latin typeface="72" panose="020B0503030000000003" pitchFamily="34" charset="0"/>
                <a:cs typeface="72" panose="020B0503030000000003" pitchFamily="34" charset="0"/>
              </a:rPr>
              <a:t>clients</a:t>
            </a:r>
            <a:r>
              <a:rPr lang="de-DE" sz="1200" dirty="0">
                <a:effectLst/>
                <a:latin typeface="72" panose="020B0503030000000003" pitchFamily="34" charset="0"/>
                <a:cs typeface="72" panose="020B0503030000000003" pitchFamily="34" charset="0"/>
              </a:rPr>
              <a:t> </a:t>
            </a:r>
            <a:r>
              <a:rPr lang="de-DE" sz="1200" dirty="0" err="1">
                <a:effectLst/>
                <a:latin typeface="72" panose="020B0503030000000003" pitchFamily="34" charset="0"/>
                <a:cs typeface="72" panose="020B0503030000000003" pitchFamily="34" charset="0"/>
              </a:rPr>
              <a:t>to</a:t>
            </a:r>
            <a:r>
              <a:rPr lang="de-DE" sz="1200" dirty="0">
                <a:effectLst/>
                <a:latin typeface="72" panose="020B0503030000000003" pitchFamily="34" charset="0"/>
                <a:cs typeface="72" panose="020B0503030000000003" pitchFamily="34" charset="0"/>
              </a:rPr>
              <a:t> send and </a:t>
            </a:r>
            <a:r>
              <a:rPr lang="de-DE" sz="1200" dirty="0" err="1">
                <a:effectLst/>
                <a:latin typeface="72" panose="020B0503030000000003" pitchFamily="34" charset="0"/>
                <a:cs typeface="72" panose="020B0503030000000003" pitchFamily="34" charset="0"/>
              </a:rPr>
              <a:t>receive</a:t>
            </a:r>
            <a:r>
              <a:rPr lang="de-DE" sz="1200" dirty="0">
                <a:effectLst/>
                <a:latin typeface="72" panose="020B0503030000000003" pitchFamily="34" charset="0"/>
                <a:cs typeface="72" panose="020B0503030000000003" pitchFamily="34" charset="0"/>
              </a:rPr>
              <a:t> </a:t>
            </a:r>
            <a:r>
              <a:rPr lang="de-DE" sz="1200" dirty="0" err="1">
                <a:effectLst/>
                <a:latin typeface="72" panose="020B0503030000000003" pitchFamily="34" charset="0"/>
                <a:cs typeface="72" panose="020B0503030000000003" pitchFamily="34" charset="0"/>
              </a:rPr>
              <a:t>messages</a:t>
            </a:r>
            <a:r>
              <a:rPr lang="de-DE" sz="1200" dirty="0">
                <a:effectLst/>
                <a:latin typeface="72" panose="020B0503030000000003" pitchFamily="34" charset="0"/>
                <a:cs typeface="72" panose="020B0503030000000003" pitchFamily="34" charset="0"/>
              </a:rPr>
              <a:t> </a:t>
            </a:r>
            <a:r>
              <a:rPr lang="de-DE" sz="1200" dirty="0" err="1">
                <a:effectLst/>
                <a:latin typeface="72" panose="020B0503030000000003" pitchFamily="34" charset="0"/>
                <a:cs typeface="72" panose="020B0503030000000003" pitchFamily="34" charset="0"/>
              </a:rPr>
              <a:t>with</a:t>
            </a:r>
            <a:r>
              <a:rPr lang="de-DE" sz="1200" dirty="0">
                <a:effectLst/>
                <a:latin typeface="72" panose="020B0503030000000003" pitchFamily="34" charset="0"/>
                <a:cs typeface="72" panose="020B0503030000000003" pitchFamily="34" charset="0"/>
              </a:rPr>
              <a:t> an </a:t>
            </a:r>
            <a:r>
              <a:rPr lang="de-DE" sz="1200" dirty="0" err="1">
                <a:effectLst/>
                <a:latin typeface="72" panose="020B0503030000000003" pitchFamily="34" charset="0"/>
                <a:cs typeface="72" panose="020B0503030000000003" pitchFamily="34" charset="0"/>
              </a:rPr>
              <a:t>event</a:t>
            </a:r>
            <a:r>
              <a:rPr lang="de-DE" sz="1200" dirty="0">
                <a:effectLst/>
                <a:latin typeface="72" panose="020B0503030000000003" pitchFamily="34" charset="0"/>
                <a:cs typeface="72" panose="020B0503030000000003" pitchFamily="34" charset="0"/>
              </a:rPr>
              <a:t> </a:t>
            </a:r>
            <a:r>
              <a:rPr lang="de-DE" sz="1200" dirty="0" err="1">
                <a:effectLst/>
                <a:latin typeface="72" panose="020B0503030000000003" pitchFamily="34" charset="0"/>
                <a:cs typeface="72" panose="020B0503030000000003" pitchFamily="34" charset="0"/>
              </a:rPr>
              <a:t>broker</a:t>
            </a:r>
            <a:endParaRPr lang="de-DE" sz="1200" dirty="0">
              <a:effectLst/>
              <a:latin typeface="72" panose="020B0503030000000003" pitchFamily="34" charset="0"/>
              <a:cs typeface="72" panose="020B0503030000000003" pitchFamily="34" charset="0"/>
            </a:endParaRPr>
          </a:p>
          <a:p>
            <a:pPr marL="342900" indent="-342900" rtl="0" fontAlgn="ctr">
              <a:spcBef>
                <a:spcPts val="0"/>
              </a:spcBef>
              <a:spcAft>
                <a:spcPts val="0"/>
              </a:spcAft>
              <a:buFont typeface="Arial" panose="020B0604020202020204" pitchFamily="34" charset="0"/>
              <a:buChar char="•"/>
            </a:pPr>
            <a:endParaRPr lang="de-DE" sz="1500" dirty="0">
              <a:latin typeface="72" panose="020B0503030000000003" pitchFamily="34" charset="0"/>
              <a:cs typeface="72" panose="020B0503030000000003" pitchFamily="34" charset="0"/>
            </a:endParaRPr>
          </a:p>
          <a:p>
            <a:pPr fontAlgn="ctr">
              <a:spcBef>
                <a:spcPts val="0"/>
              </a:spcBef>
              <a:buNone/>
            </a:pPr>
            <a:r>
              <a:rPr lang="de-DE" sz="1500" u="sng" dirty="0" err="1">
                <a:latin typeface="72" panose="020B0503030000000003" pitchFamily="34" charset="0"/>
                <a:cs typeface="72" panose="020B0503030000000003" pitchFamily="34" charset="0"/>
              </a:rPr>
              <a:t>Supported</a:t>
            </a:r>
            <a:r>
              <a:rPr lang="de-DE" sz="1500" u="sng" dirty="0">
                <a:latin typeface="72" panose="020B0503030000000003" pitchFamily="34" charset="0"/>
                <a:cs typeface="72" panose="020B0503030000000003" pitchFamily="34" charset="0"/>
              </a:rPr>
              <a:t> </a:t>
            </a:r>
            <a:r>
              <a:rPr lang="de-DE" sz="1500" u="sng" dirty="0" err="1">
                <a:latin typeface="72" panose="020B0503030000000003" pitchFamily="34" charset="0"/>
                <a:cs typeface="72" panose="020B0503030000000003" pitchFamily="34" charset="0"/>
              </a:rPr>
              <a:t>Protocols</a:t>
            </a:r>
            <a:r>
              <a:rPr lang="de-DE" sz="1500" u="sng" dirty="0">
                <a:latin typeface="72" panose="020B0503030000000003" pitchFamily="34" charset="0"/>
                <a:cs typeface="72" panose="020B0503030000000003" pitchFamily="34" charset="0"/>
              </a:rPr>
              <a:t> </a:t>
            </a:r>
          </a:p>
          <a:p>
            <a:pPr fontAlgn="ctr">
              <a:spcBef>
                <a:spcPts val="0"/>
              </a:spcBef>
              <a:buNone/>
            </a:pPr>
            <a:endParaRPr lang="de-DE" sz="1500" dirty="0">
              <a:latin typeface="72" panose="020B0503030000000003" pitchFamily="34" charset="0"/>
              <a:cs typeface="72" panose="020B0503030000000003" pitchFamily="34" charset="0"/>
            </a:endParaRPr>
          </a:p>
          <a:p>
            <a:pPr marL="285750" indent="-285750" fontAlgn="ctr">
              <a:spcBef>
                <a:spcPts val="0"/>
              </a:spcBef>
              <a:buFont typeface="Arial" panose="020B0604020202020204" pitchFamily="34" charset="0"/>
              <a:buChar char="•"/>
            </a:pPr>
            <a:r>
              <a:rPr lang="de-DE" sz="1200" dirty="0">
                <a:effectLst/>
                <a:latin typeface="72" panose="020B0503030000000003" pitchFamily="34" charset="0"/>
                <a:cs typeface="72" panose="020B0503030000000003" pitchFamily="34" charset="0"/>
              </a:rPr>
              <a:t>AMQP (</a:t>
            </a:r>
            <a:r>
              <a:rPr lang="de-DE" sz="1200" dirty="0" err="1">
                <a:effectLst/>
                <a:latin typeface="72" panose="020B0503030000000003" pitchFamily="34" charset="0"/>
                <a:cs typeface="72" panose="020B0503030000000003" pitchFamily="34" charset="0"/>
              </a:rPr>
              <a:t>Advanced</a:t>
            </a:r>
            <a:r>
              <a:rPr lang="de-DE" sz="1200" dirty="0">
                <a:effectLst/>
                <a:latin typeface="72" panose="020B0503030000000003" pitchFamily="34" charset="0"/>
                <a:cs typeface="72" panose="020B0503030000000003" pitchFamily="34" charset="0"/>
              </a:rPr>
              <a:t> Message Queuing Protocol) 1.0</a:t>
            </a:r>
          </a:p>
          <a:p>
            <a:pPr marL="285750" indent="-285750" fontAlgn="ctr">
              <a:spcBef>
                <a:spcPts val="0"/>
              </a:spcBef>
              <a:buFont typeface="Arial" panose="020B0604020202020204" pitchFamily="34" charset="0"/>
              <a:buChar char="•"/>
            </a:pPr>
            <a:r>
              <a:rPr lang="de-DE" sz="1200" dirty="0">
                <a:effectLst/>
                <a:latin typeface="72" panose="020B0503030000000003" pitchFamily="34" charset="0"/>
                <a:cs typeface="72" panose="020B0503030000000003" pitchFamily="34" charset="0"/>
              </a:rPr>
              <a:t>MQTT (support </a:t>
            </a:r>
            <a:r>
              <a:rPr lang="de-DE" sz="1200" dirty="0" err="1">
                <a:effectLst/>
                <a:latin typeface="72" panose="020B0503030000000003" pitchFamily="34" charset="0"/>
                <a:cs typeface="72" panose="020B0503030000000003" pitchFamily="34" charset="0"/>
              </a:rPr>
              <a:t>for</a:t>
            </a:r>
            <a:r>
              <a:rPr lang="de-DE" sz="1200" dirty="0">
                <a:effectLst/>
                <a:latin typeface="72" panose="020B0503030000000003" pitchFamily="34" charset="0"/>
                <a:cs typeface="72" panose="020B0503030000000003" pitchFamily="34" charset="0"/>
              </a:rPr>
              <a:t> MQTT 3.1.1 and MQTT 5.0 </a:t>
            </a:r>
            <a:r>
              <a:rPr lang="de-DE" sz="1200" dirty="0" err="1">
                <a:effectLst/>
                <a:latin typeface="72" panose="020B0503030000000003" pitchFamily="34" charset="0"/>
                <a:cs typeface="72" panose="020B0503030000000003" pitchFamily="34" charset="0"/>
              </a:rPr>
              <a:t>standards</a:t>
            </a:r>
            <a:r>
              <a:rPr lang="de-DE" sz="1200" dirty="0">
                <a:effectLst/>
                <a:latin typeface="72" panose="020B0503030000000003" pitchFamily="34" charset="0"/>
                <a:cs typeface="72" panose="020B0503030000000003" pitchFamily="34" charset="0"/>
              </a:rPr>
              <a:t>)</a:t>
            </a:r>
          </a:p>
          <a:p>
            <a:pPr marL="285750" indent="-285750" fontAlgn="ctr">
              <a:spcBef>
                <a:spcPts val="0"/>
              </a:spcBef>
              <a:buFont typeface="Arial" panose="020B0604020202020204" pitchFamily="34" charset="0"/>
              <a:buChar char="•"/>
            </a:pPr>
            <a:r>
              <a:rPr lang="de-DE" sz="1200" dirty="0" err="1">
                <a:effectLst/>
                <a:latin typeface="72" panose="020B0503030000000003" pitchFamily="34" charset="0"/>
                <a:cs typeface="72" panose="020B0503030000000003" pitchFamily="34" charset="0"/>
              </a:rPr>
              <a:t>WebSocket</a:t>
            </a:r>
            <a:r>
              <a:rPr lang="de-DE" sz="1200" dirty="0">
                <a:effectLst/>
                <a:latin typeface="72" panose="020B0503030000000003" pitchFamily="34" charset="0"/>
                <a:cs typeface="72" panose="020B0503030000000003" pitchFamily="34" charset="0"/>
              </a:rPr>
              <a:t> - Protocol</a:t>
            </a:r>
          </a:p>
          <a:p>
            <a:pPr>
              <a:spcAft>
                <a:spcPts val="1200"/>
              </a:spcAft>
              <a:buNone/>
            </a:pPr>
            <a:r>
              <a:rPr lang="de-DE" sz="1500" u="sng" dirty="0">
                <a:latin typeface="72" panose="020B0503030000000003" pitchFamily="34" charset="0"/>
                <a:cs typeface="72" panose="020B0503030000000003" pitchFamily="34" charset="0"/>
              </a:rPr>
              <a:t>Support </a:t>
            </a:r>
            <a:r>
              <a:rPr lang="de-DE" sz="1500" u="sng" dirty="0" err="1">
                <a:latin typeface="72" panose="020B0503030000000003" pitchFamily="34" charset="0"/>
                <a:cs typeface="72" panose="020B0503030000000003" pitchFamily="34" charset="0"/>
              </a:rPr>
              <a:t>of</a:t>
            </a:r>
            <a:r>
              <a:rPr lang="de-DE" sz="1500" u="sng" dirty="0">
                <a:latin typeface="72" panose="020B0503030000000003" pitchFamily="34" charset="0"/>
                <a:cs typeface="72" panose="020B0503030000000003" pitchFamily="34" charset="0"/>
              </a:rPr>
              <a:t> Terraform </a:t>
            </a:r>
          </a:p>
          <a:p>
            <a:pPr marL="144000" indent="-180000">
              <a:spcBef>
                <a:spcPts val="0"/>
              </a:spcBef>
              <a:buFont typeface="Arial" panose="020B0604020202020204" pitchFamily="34" charset="0"/>
              <a:buChar char="•"/>
            </a:pPr>
            <a:r>
              <a:rPr lang="en-US" sz="1200" dirty="0">
                <a:latin typeface="72" panose="020B0503030000000003" pitchFamily="34" charset="0"/>
                <a:cs typeface="72" panose="020B0503030000000003" pitchFamily="34" charset="0"/>
                <a:hlinkClick r:id="rId5">
                  <a:extLst>
                    <a:ext uri="{A12FA001-AC4F-418D-AE19-62706E023703}">
                      <ahyp:hlinkClr xmlns:ahyp="http://schemas.microsoft.com/office/drawing/2018/hyperlinkcolor" val="tx"/>
                    </a:ext>
                  </a:extLst>
                </a:hlinkClick>
              </a:rPr>
              <a:t>https://github.com/SolaceProducts/terraform-provider-solacebroker</a:t>
            </a:r>
            <a:endParaRPr lang="en-US" sz="1200" dirty="0">
              <a:latin typeface="72" panose="020B0503030000000003" pitchFamily="34" charset="0"/>
              <a:cs typeface="72" panose="020B0503030000000003" pitchFamily="34" charset="0"/>
            </a:endParaRPr>
          </a:p>
          <a:p>
            <a:pPr marL="144000" indent="-180000">
              <a:spcBef>
                <a:spcPts val="0"/>
              </a:spcBef>
              <a:buFont typeface="Arial" panose="020B0604020202020204" pitchFamily="34" charset="0"/>
              <a:buChar char="•"/>
            </a:pPr>
            <a:r>
              <a:rPr lang="en-US" sz="1200" dirty="0">
                <a:latin typeface="72" panose="020B0503030000000003" pitchFamily="34" charset="0"/>
                <a:cs typeface="72" panose="020B0503030000000003" pitchFamily="34" charset="0"/>
                <a:hlinkClick r:id="rId6">
                  <a:extLst>
                    <a:ext uri="{A12FA001-AC4F-418D-AE19-62706E023703}">
                      <ahyp:hlinkClr xmlns:ahyp="http://schemas.microsoft.com/office/drawing/2018/hyperlinkcolor" val="tx"/>
                    </a:ext>
                  </a:extLst>
                </a:hlinkClick>
              </a:rPr>
              <a:t>https://docs.solace.com/Admin/SEMP/Declarative-SEMP.htm</a:t>
            </a:r>
            <a:r>
              <a:rPr lang="en-US" sz="1200" dirty="0">
                <a:latin typeface="72" panose="020B0503030000000003" pitchFamily="34" charset="0"/>
                <a:cs typeface="72" panose="020B0503030000000003" pitchFamily="34" charset="0"/>
              </a:rPr>
              <a:t> </a:t>
            </a:r>
          </a:p>
          <a:p>
            <a:pPr marL="171450" indent="-171450">
              <a:buFont typeface="Arial" panose="020B0604020202020204" pitchFamily="34" charset="0"/>
              <a:buChar char="•"/>
            </a:pPr>
            <a:endParaRPr lang="en-US" sz="1200" dirty="0">
              <a:latin typeface="72" panose="020B0503030000000003" pitchFamily="34" charset="0"/>
              <a:cs typeface="72" panose="020B0503030000000003" pitchFamily="34" charset="0"/>
            </a:endParaRPr>
          </a:p>
        </p:txBody>
      </p:sp>
      <p:sp>
        <p:nvSpPr>
          <p:cNvPr id="24" name="Title"/>
          <p:cNvSpPr>
            <a:spLocks noGrp="1"/>
          </p:cNvSpPr>
          <p:nvPr>
            <p:ph type="title"/>
          </p:nvPr>
        </p:nvSpPr>
        <p:spPr bwMode="gray">
          <a:xfrm>
            <a:off x="504001" y="504000"/>
            <a:ext cx="11186476" cy="369332"/>
          </a:xfrm>
        </p:spPr>
        <p:txBody>
          <a:bodyPr/>
          <a:lstStyle/>
          <a:p>
            <a:r>
              <a:rPr lang="en-US" sz="2400" dirty="0"/>
              <a:t>Overview</a:t>
            </a:r>
          </a:p>
        </p:txBody>
      </p:sp>
    </p:spTree>
    <p:custDataLst>
      <p:custData r:id="rId1"/>
      <p:custData r:id="rId2"/>
    </p:custDataLst>
    <p:extLst>
      <p:ext uri="{BB962C8B-B14F-4D97-AF65-F5344CB8AC3E}">
        <p14:creationId xmlns:p14="http://schemas.microsoft.com/office/powerpoint/2010/main" val="360274948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able 12">
            <a:extLst>
              <a:ext uri="{FF2B5EF4-FFF2-40B4-BE49-F238E27FC236}">
                <a16:creationId xmlns:a16="http://schemas.microsoft.com/office/drawing/2014/main" id="{A6A3FD7E-0705-41DC-8885-BC460D8C7AE3}"/>
              </a:ext>
            </a:extLst>
          </p:cNvPr>
          <p:cNvGraphicFramePr>
            <a:graphicFrameLocks noGrp="1"/>
          </p:cNvGraphicFramePr>
          <p:nvPr/>
        </p:nvGraphicFramePr>
        <p:xfrm>
          <a:off x="504000" y="1215957"/>
          <a:ext cx="11186350" cy="4806636"/>
        </p:xfrm>
        <a:graphic>
          <a:graphicData uri="http://schemas.openxmlformats.org/drawingml/2006/table">
            <a:tbl>
              <a:tblPr firstRow="1" bandRow="1">
                <a:tableStyleId>{2D5ABB26-0587-4C30-8999-92F81FD0307C}</a:tableStyleId>
              </a:tblPr>
              <a:tblGrid>
                <a:gridCol w="1640018">
                  <a:extLst>
                    <a:ext uri="{9D8B030D-6E8A-4147-A177-3AD203B41FA5}">
                      <a16:colId xmlns:a16="http://schemas.microsoft.com/office/drawing/2014/main" val="3330045179"/>
                    </a:ext>
                  </a:extLst>
                </a:gridCol>
                <a:gridCol w="4274242">
                  <a:extLst>
                    <a:ext uri="{9D8B030D-6E8A-4147-A177-3AD203B41FA5}">
                      <a16:colId xmlns:a16="http://schemas.microsoft.com/office/drawing/2014/main" val="350506442"/>
                    </a:ext>
                  </a:extLst>
                </a:gridCol>
                <a:gridCol w="5272090">
                  <a:extLst>
                    <a:ext uri="{9D8B030D-6E8A-4147-A177-3AD203B41FA5}">
                      <a16:colId xmlns:a16="http://schemas.microsoft.com/office/drawing/2014/main" val="2486344592"/>
                    </a:ext>
                  </a:extLst>
                </a:gridCol>
              </a:tblGrid>
              <a:tr h="350196">
                <a:tc>
                  <a:txBody>
                    <a:bodyPr/>
                    <a:lstStyle/>
                    <a:p>
                      <a:pPr marL="0" marR="0" indent="0" algn="ctr" defTabSz="409575" latinLnBrk="0">
                        <a:lnSpc>
                          <a:spcPct val="100000"/>
                        </a:lnSpc>
                        <a:spcBef>
                          <a:spcPts val="0"/>
                        </a:spcBef>
                        <a:spcAft>
                          <a:spcPts val="0"/>
                        </a:spcAft>
                        <a:buClrTx/>
                        <a:buSzTx/>
                        <a:buFontTx/>
                        <a:buNone/>
                        <a:tabLst/>
                      </a:pPr>
                      <a:r>
                        <a:rPr lang="en-GB" sz="1600" b="1" u="none" strike="noStrike" cap="none" spc="0" baseline="0" dirty="0">
                          <a:ln>
                            <a:noFill/>
                          </a:ln>
                          <a:uFillTx/>
                          <a:sym typeface="Gill Sans"/>
                        </a:rPr>
                        <a:t> </a:t>
                      </a:r>
                      <a:endParaRPr lang="en-GB" sz="1600" b="1" i="0" u="none" strike="noStrike" cap="none" spc="0" baseline="0" dirty="0">
                        <a:ln>
                          <a:noFill/>
                        </a:ln>
                        <a:uFillTx/>
                        <a:latin typeface="Arial" panose="020B0604020202020204" pitchFamily="34" charset="0"/>
                        <a:ea typeface="Open Sans"/>
                        <a:cs typeface="Arial" panose="020B0604020202020204" pitchFamily="34" charset="0"/>
                        <a:sym typeface="Gill Sans"/>
                      </a:endParaRPr>
                    </a:p>
                  </a:txBody>
                  <a:tcPr marL="0" marR="0" marT="0" marB="0" anchor="ctr">
                    <a:lnB w="19050" cap="flat" cmpd="sng" algn="ctr">
                      <a:solidFill>
                        <a:schemeClr val="tx1"/>
                      </a:solidFill>
                      <a:prstDash val="solid"/>
                      <a:round/>
                      <a:headEnd type="none" w="med" len="med"/>
                      <a:tailEnd type="none" w="med" len="med"/>
                    </a:lnB>
                  </a:tcPr>
                </a:tc>
                <a:tc>
                  <a:txBody>
                    <a:bodyPr/>
                    <a:lstStyle/>
                    <a:p>
                      <a:pPr marL="0" marR="0" indent="0" algn="l" defTabSz="409575" latinLnBrk="0">
                        <a:lnSpc>
                          <a:spcPct val="100000"/>
                        </a:lnSpc>
                        <a:spcBef>
                          <a:spcPts val="0"/>
                        </a:spcBef>
                        <a:spcAft>
                          <a:spcPts val="0"/>
                        </a:spcAft>
                        <a:buClrTx/>
                        <a:buSzTx/>
                        <a:buFontTx/>
                        <a:buNone/>
                        <a:tabLst/>
                      </a:pPr>
                      <a:r>
                        <a:rPr lang="en-GB" sz="1600" b="1" u="none" strike="noStrike" cap="none" spc="0" baseline="0" dirty="0">
                          <a:ln>
                            <a:noFill/>
                          </a:ln>
                          <a:uFillTx/>
                          <a:sym typeface="Gill Sans"/>
                        </a:rPr>
                        <a:t>SAP Event Mesh</a:t>
                      </a:r>
                      <a:endParaRPr lang="en-GB" sz="1600" b="1" i="0" u="none" strike="noStrike" cap="none" spc="0" baseline="0" dirty="0">
                        <a:ln>
                          <a:noFill/>
                        </a:ln>
                        <a:uFillTx/>
                        <a:latin typeface="Arial" panose="020B0604020202020204" pitchFamily="34" charset="0"/>
                        <a:ea typeface="Open Sans" panose="020B0606030504020204" pitchFamily="34" charset="0"/>
                        <a:cs typeface="Arial" panose="020B0604020202020204" pitchFamily="34" charset="0"/>
                        <a:sym typeface="Gill Sans"/>
                      </a:endParaRPr>
                    </a:p>
                  </a:txBody>
                  <a:tcPr marL="0" marR="0" marT="0" marB="0" anchor="ctr">
                    <a:lnB w="19050" cap="flat" cmpd="sng" algn="ctr">
                      <a:solidFill>
                        <a:schemeClr val="tx1"/>
                      </a:solidFill>
                      <a:prstDash val="solid"/>
                      <a:round/>
                      <a:headEnd type="none" w="med" len="med"/>
                      <a:tailEnd type="none" w="med" len="med"/>
                    </a:lnB>
                  </a:tcPr>
                </a:tc>
                <a:tc>
                  <a:txBody>
                    <a:bodyPr/>
                    <a:lstStyle/>
                    <a:p>
                      <a:pPr marL="9525" indent="0" algn="l">
                        <a:tabLst/>
                      </a:pPr>
                      <a:r>
                        <a:rPr lang="en-GB" sz="1600" b="1" dirty="0"/>
                        <a:t>Advanced event mesh</a:t>
                      </a:r>
                      <a:endParaRPr lang="en-GB" sz="1600" b="1" dirty="0">
                        <a:latin typeface="Arial" panose="020B0604020202020204" pitchFamily="34" charset="0"/>
                        <a:ea typeface="Open Sans" panose="020B0606030504020204" pitchFamily="34" charset="0"/>
                        <a:cs typeface="Arial" panose="020B0604020202020204" pitchFamily="34" charset="0"/>
                      </a:endParaRPr>
                    </a:p>
                  </a:txBody>
                  <a:tcPr marL="0" marR="0" marT="0" marB="0" anchor="ctr">
                    <a:lnB w="190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895517206"/>
                  </a:ext>
                </a:extLst>
              </a:tr>
              <a:tr h="468000">
                <a:tc>
                  <a:txBody>
                    <a:bodyPr/>
                    <a:lstStyle/>
                    <a:p>
                      <a:pPr marL="0" marR="0" indent="0" algn="l" defTabSz="409575" latinLnBrk="0">
                        <a:lnSpc>
                          <a:spcPct val="100000"/>
                        </a:lnSpc>
                        <a:spcBef>
                          <a:spcPts val="0"/>
                        </a:spcBef>
                        <a:spcAft>
                          <a:spcPts val="0"/>
                        </a:spcAft>
                        <a:buClrTx/>
                        <a:buSzTx/>
                        <a:buFontTx/>
                        <a:buNone/>
                        <a:tabLst/>
                      </a:pPr>
                      <a:r>
                        <a:rPr lang="en-GB" sz="1050" b="1" u="none" strike="noStrike" cap="none" spc="0" baseline="0" dirty="0">
                          <a:ln>
                            <a:noFill/>
                          </a:ln>
                          <a:uFillTx/>
                          <a:sym typeface="Gill Sans"/>
                        </a:rPr>
                        <a:t>Recommended for</a:t>
                      </a:r>
                      <a:endParaRPr lang="en-GB" sz="1050" b="1" i="0" u="none" strike="noStrike" cap="none" spc="0" baseline="0" dirty="0">
                        <a:ln>
                          <a:noFill/>
                        </a:ln>
                        <a:uFillTx/>
                        <a:latin typeface="Arial" panose="020B0604020202020204" pitchFamily="34" charset="0"/>
                        <a:ea typeface="Open Sans"/>
                        <a:cs typeface="Arial" panose="020B0604020202020204" pitchFamily="34" charset="0"/>
                        <a:sym typeface="Gill Sans"/>
                      </a:endParaRPr>
                    </a:p>
                  </a:txBody>
                  <a:tcPr marL="0" marR="0" marT="0" marB="0" anchor="ctr">
                    <a:lnT w="1905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marL="9525" marR="0" lvl="1" indent="0" algn="l" defTabSz="409575" latinLnBrk="0">
                        <a:lnSpc>
                          <a:spcPct val="100000"/>
                        </a:lnSpc>
                        <a:spcBef>
                          <a:spcPts val="0"/>
                        </a:spcBef>
                        <a:spcAft>
                          <a:spcPts val="0"/>
                        </a:spcAft>
                        <a:buClrTx/>
                        <a:buSzTx/>
                        <a:buFontTx/>
                        <a:buNone/>
                        <a:tabLst/>
                      </a:pPr>
                      <a:r>
                        <a:rPr lang="en-GB" sz="1050" b="1" u="none" strike="noStrike" cap="none" spc="0" baseline="0" dirty="0">
                          <a:ln>
                            <a:noFill/>
                          </a:ln>
                          <a:uFillTx/>
                          <a:sym typeface="Gill Sans"/>
                        </a:rPr>
                        <a:t>SAP’s event-driven ecosystem </a:t>
                      </a:r>
                      <a:r>
                        <a:rPr lang="en-GB" sz="1050" b="0" u="none" strike="noStrike" cap="none" spc="0" baseline="0" dirty="0">
                          <a:ln>
                            <a:noFill/>
                          </a:ln>
                          <a:uFillTx/>
                          <a:sym typeface="Gill Sans"/>
                        </a:rPr>
                        <a:t>and third-party components around the ecosystem</a:t>
                      </a:r>
                      <a:endParaRPr lang="en-GB" sz="1050" b="0" i="0" u="none" strike="noStrike" cap="none" spc="0" baseline="0" dirty="0">
                        <a:ln>
                          <a:noFill/>
                        </a:ln>
                        <a:uFillTx/>
                        <a:latin typeface="Arial" panose="020B0604020202020204" pitchFamily="34" charset="0"/>
                        <a:ea typeface="Open Sans" panose="020B0606030504020204" pitchFamily="34" charset="0"/>
                        <a:cs typeface="Arial" panose="020B0604020202020204" pitchFamily="34" charset="0"/>
                        <a:sym typeface="Gill Sans"/>
                      </a:endParaRPr>
                    </a:p>
                  </a:txBody>
                  <a:tcPr marL="0" marR="0" marT="0" marB="0" anchor="ctr">
                    <a:lnT w="1905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marL="9525" lvl="1" indent="0" algn="l">
                        <a:tabLst/>
                      </a:pPr>
                      <a:r>
                        <a:rPr lang="en-GB" sz="1050" b="1" dirty="0"/>
                        <a:t>General purpose </a:t>
                      </a:r>
                      <a:r>
                        <a:rPr lang="en-GB" sz="1050" b="0" dirty="0"/>
                        <a:t>including SAP ecosystem</a:t>
                      </a:r>
                      <a:endParaRPr lang="en-GB" sz="1050" dirty="0">
                        <a:latin typeface="Arial" panose="020B0604020202020204" pitchFamily="34" charset="0"/>
                        <a:ea typeface="Open Sans" panose="020B0606030504020204" pitchFamily="34" charset="0"/>
                        <a:cs typeface="Arial" panose="020B0604020202020204" pitchFamily="34" charset="0"/>
                      </a:endParaRPr>
                    </a:p>
                  </a:txBody>
                  <a:tcPr marL="0" marR="0" marT="0" marB="0" anchor="ctr">
                    <a:lnT w="1905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706555000"/>
                  </a:ext>
                </a:extLst>
              </a:tr>
              <a:tr h="468000">
                <a:tc>
                  <a:txBody>
                    <a:bodyPr/>
                    <a:lstStyle/>
                    <a:p>
                      <a:pPr marL="0" marR="0" indent="0" algn="l" defTabSz="409575" latinLnBrk="0">
                        <a:lnSpc>
                          <a:spcPct val="100000"/>
                        </a:lnSpc>
                        <a:spcBef>
                          <a:spcPts val="0"/>
                        </a:spcBef>
                        <a:spcAft>
                          <a:spcPts val="0"/>
                        </a:spcAft>
                        <a:buClrTx/>
                        <a:buSzTx/>
                        <a:buFontTx/>
                        <a:buNone/>
                        <a:tabLst/>
                      </a:pPr>
                      <a:r>
                        <a:rPr lang="en-GB" sz="1050" b="1" u="none" strike="noStrike" cap="none" spc="0" baseline="0" dirty="0">
                          <a:ln>
                            <a:noFill/>
                          </a:ln>
                          <a:uFillTx/>
                          <a:sym typeface="Gill Sans"/>
                        </a:rPr>
                        <a:t>Target scenarios</a:t>
                      </a:r>
                      <a:endParaRPr lang="en-GB" sz="1050" b="1" i="0" u="none" strike="noStrike" cap="none" spc="0" baseline="0" dirty="0">
                        <a:ln>
                          <a:noFill/>
                        </a:ln>
                        <a:uFillTx/>
                        <a:latin typeface="Arial" panose="020B0604020202020204" pitchFamily="34" charset="0"/>
                        <a:ea typeface="Open Sans"/>
                        <a:cs typeface="Arial" panose="020B0604020202020204" pitchFamily="34" charset="0"/>
                        <a:sym typeface="Gill Sans"/>
                      </a:endParaRPr>
                    </a:p>
                  </a:txBody>
                  <a:tcPr marL="0" marR="0" marT="0" marB="0" anchor="ct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marL="9525" lvl="1" indent="0" algn="l">
                        <a:buFont typeface="Arial" panose="020B0604020202020204" pitchFamily="34" charset="0"/>
                        <a:buNone/>
                        <a:tabLst/>
                      </a:pPr>
                      <a:r>
                        <a:rPr lang="en-US" sz="1050" b="1" dirty="0"/>
                        <a:t>SAP to everything</a:t>
                      </a:r>
                      <a:endParaRPr lang="en-US" sz="1050" b="1" dirty="0">
                        <a:latin typeface="Arial" panose="020B0604020202020204" pitchFamily="34" charset="0"/>
                        <a:cs typeface="Arial" panose="020B0604020202020204" pitchFamily="34" charset="0"/>
                      </a:endParaRPr>
                    </a:p>
                  </a:txBody>
                  <a:tcPr marL="0" marR="0" marT="0" marB="0" anchor="ct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marL="9525" lvl="1" indent="0" algn="l">
                        <a:buFont typeface="Arial" panose="020B0604020202020204" pitchFamily="34" charset="0"/>
                        <a:buNone/>
                        <a:tabLst/>
                      </a:pPr>
                      <a:r>
                        <a:rPr lang="en-US" sz="1050" dirty="0"/>
                        <a:t>SAP to everything and </a:t>
                      </a:r>
                      <a:r>
                        <a:rPr lang="en-US" sz="1050" b="1" dirty="0"/>
                        <a:t>everything to everything</a:t>
                      </a:r>
                      <a:endParaRPr lang="en-US" sz="1050" dirty="0">
                        <a:latin typeface="Arial" panose="020B0604020202020204" pitchFamily="34" charset="0"/>
                        <a:cs typeface="Arial" panose="020B0604020202020204" pitchFamily="34" charset="0"/>
                      </a:endParaRPr>
                    </a:p>
                  </a:txBody>
                  <a:tcPr marL="0" marR="0" marT="0" marB="0" anchor="ct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311754431"/>
                  </a:ext>
                </a:extLst>
              </a:tr>
              <a:tr h="468000">
                <a:tc>
                  <a:txBody>
                    <a:bodyPr/>
                    <a:lstStyle/>
                    <a:p>
                      <a:pPr marL="0" marR="0" indent="0" algn="l" defTabSz="409575" latinLnBrk="0">
                        <a:lnSpc>
                          <a:spcPct val="100000"/>
                        </a:lnSpc>
                        <a:spcBef>
                          <a:spcPts val="0"/>
                        </a:spcBef>
                        <a:spcAft>
                          <a:spcPts val="0"/>
                        </a:spcAft>
                        <a:buClrTx/>
                        <a:buSzTx/>
                        <a:buFontTx/>
                        <a:buNone/>
                        <a:tabLst/>
                      </a:pPr>
                      <a:r>
                        <a:rPr lang="en-GB" sz="1050" b="1" u="none" strike="noStrike" cap="none" spc="0" baseline="0" dirty="0">
                          <a:ln>
                            <a:noFill/>
                          </a:ln>
                          <a:uFillTx/>
                          <a:sym typeface="Gill Sans"/>
                        </a:rPr>
                        <a:t> Main use cases</a:t>
                      </a:r>
                      <a:endParaRPr lang="en-GB" sz="1050" b="1" i="0" u="none" strike="noStrike" cap="none" spc="0" baseline="0" dirty="0">
                        <a:ln>
                          <a:noFill/>
                        </a:ln>
                        <a:uFillTx/>
                        <a:latin typeface="Arial" panose="020B0604020202020204" pitchFamily="34" charset="0"/>
                        <a:ea typeface="Open Sans"/>
                        <a:cs typeface="Arial" panose="020B0604020202020204" pitchFamily="34" charset="0"/>
                        <a:sym typeface="Gill Sans"/>
                      </a:endParaRPr>
                    </a:p>
                  </a:txBody>
                  <a:tcPr marL="0" marR="0" marT="0" marB="0" anchor="ct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marL="9525" lvl="1" indent="0" algn="l">
                        <a:buFont typeface="Arial" panose="020B0604020202020204" pitchFamily="34" charset="0"/>
                        <a:buChar char="•"/>
                        <a:tabLst/>
                      </a:pPr>
                      <a:endParaRPr lang="en-US" sz="1050" dirty="0"/>
                    </a:p>
                    <a:p>
                      <a:pPr marL="9525" lvl="1" indent="0" algn="l">
                        <a:buFont typeface="Arial" panose="020B0604020202020204" pitchFamily="34" charset="0"/>
                        <a:buNone/>
                        <a:tabLst/>
                      </a:pPr>
                      <a:r>
                        <a:rPr lang="en-US" sz="1050" dirty="0"/>
                        <a:t>Integration and extension</a:t>
                      </a:r>
                    </a:p>
                    <a:p>
                      <a:pPr marL="9525" lvl="1" indent="0" algn="l">
                        <a:buFont typeface="Arial" panose="020B0604020202020204" pitchFamily="34" charset="0"/>
                        <a:buChar char="•"/>
                        <a:tabLst/>
                      </a:pPr>
                      <a:endParaRPr lang="en-US" sz="1050" dirty="0">
                        <a:latin typeface="Arial" panose="020B0604020202020204" pitchFamily="34" charset="0"/>
                        <a:cs typeface="Arial" panose="020B0604020202020204" pitchFamily="34" charset="0"/>
                      </a:endParaRPr>
                    </a:p>
                  </a:txBody>
                  <a:tcPr marL="0" marR="0" marT="0" marB="0" anchor="ct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marL="9525" lvl="1" indent="0" algn="l">
                        <a:buFont typeface="Arial" panose="020B0604020202020204" pitchFamily="34" charset="0"/>
                        <a:buChar char="•"/>
                        <a:tabLst/>
                      </a:pPr>
                      <a:endParaRPr lang="en-US" sz="1050" dirty="0"/>
                    </a:p>
                    <a:p>
                      <a:pPr marL="9525" marR="0" lvl="1" indent="0" algn="l" defTabSz="1088558"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50" dirty="0"/>
                        <a:t>Integration, event streaming, and event-driven backbone</a:t>
                      </a:r>
                    </a:p>
                    <a:p>
                      <a:pPr marL="9525" marR="0" lvl="1" indent="0" algn="l" defTabSz="1088558"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050" dirty="0">
                        <a:latin typeface="Arial" panose="020B0604020202020204" pitchFamily="34" charset="0"/>
                        <a:cs typeface="Arial" panose="020B0604020202020204" pitchFamily="34" charset="0"/>
                      </a:endParaRPr>
                    </a:p>
                  </a:txBody>
                  <a:tcPr marL="0" marR="0" marT="0" marB="0" anchor="ct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807322985"/>
                  </a:ext>
                </a:extLst>
              </a:tr>
              <a:tr h="468000">
                <a:tc>
                  <a:txBody>
                    <a:bodyPr/>
                    <a:lstStyle/>
                    <a:p>
                      <a:pPr marL="0" marR="0" indent="0" algn="l" defTabSz="409575" latinLnBrk="0">
                        <a:lnSpc>
                          <a:spcPct val="100000"/>
                        </a:lnSpc>
                        <a:spcBef>
                          <a:spcPts val="0"/>
                        </a:spcBef>
                        <a:spcAft>
                          <a:spcPts val="0"/>
                        </a:spcAft>
                        <a:buClrTx/>
                        <a:buSzTx/>
                        <a:buFontTx/>
                        <a:buNone/>
                        <a:tabLst/>
                      </a:pPr>
                      <a:r>
                        <a:rPr lang="en-GB" sz="1050" b="1" u="none" strike="noStrike" cap="none" spc="0" baseline="0" dirty="0">
                          <a:ln>
                            <a:noFill/>
                          </a:ln>
                          <a:solidFill>
                            <a:schemeClr val="tx1"/>
                          </a:solidFill>
                          <a:uFillTx/>
                          <a:sym typeface="Gill Sans"/>
                        </a:rPr>
                        <a:t>Numbers</a:t>
                      </a:r>
                      <a:endParaRPr lang="en-GB" sz="1050" b="1" i="0" u="none" strike="noStrike" cap="none" spc="0" baseline="0" dirty="0">
                        <a:ln>
                          <a:noFill/>
                        </a:ln>
                        <a:solidFill>
                          <a:schemeClr val="tx1"/>
                        </a:solidFill>
                        <a:uFillTx/>
                        <a:latin typeface="Arial" panose="020B0604020202020204" pitchFamily="34" charset="0"/>
                        <a:ea typeface="Open Sans" panose="020B0606030504020204" pitchFamily="34" charset="0"/>
                        <a:cs typeface="Arial" panose="020B0604020202020204" pitchFamily="34" charset="0"/>
                        <a:sym typeface="Gill Sans"/>
                      </a:endParaRPr>
                    </a:p>
                  </a:txBody>
                  <a:tcPr marL="0" marR="0" marT="0" marB="0" anchor="ct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marL="9525" marR="0" indent="0" algn="l" defTabSz="409575" latinLnBrk="0">
                        <a:lnSpc>
                          <a:spcPct val="100000"/>
                        </a:lnSpc>
                        <a:spcBef>
                          <a:spcPts val="0"/>
                        </a:spcBef>
                        <a:spcAft>
                          <a:spcPts val="0"/>
                        </a:spcAft>
                        <a:buClrTx/>
                        <a:buSzTx/>
                        <a:buFontTx/>
                        <a:buNone/>
                        <a:tabLst/>
                      </a:pPr>
                      <a:endParaRPr lang="en-GB" sz="1050" b="0" u="none" strike="noStrike" cap="none" spc="0" baseline="0" dirty="0">
                        <a:ln>
                          <a:noFill/>
                        </a:ln>
                        <a:solidFill>
                          <a:schemeClr val="tx1"/>
                        </a:solidFill>
                        <a:uFillTx/>
                        <a:sym typeface="Gill Sans"/>
                      </a:endParaRPr>
                    </a:p>
                    <a:p>
                      <a:pPr marL="134938" marR="0" lvl="1" indent="-125413" algn="l" defTabSz="409575" latinLnBrk="0">
                        <a:lnSpc>
                          <a:spcPct val="100000"/>
                        </a:lnSpc>
                        <a:spcBef>
                          <a:spcPts val="0"/>
                        </a:spcBef>
                        <a:spcAft>
                          <a:spcPts val="0"/>
                        </a:spcAft>
                        <a:buClr>
                          <a:schemeClr val="accent1"/>
                        </a:buClr>
                        <a:buSzTx/>
                        <a:buFont typeface="Wingdings" pitchFamily="2" charset="2"/>
                        <a:buChar char="§"/>
                        <a:tabLst/>
                      </a:pPr>
                      <a:r>
                        <a:rPr lang="en-GB" sz="1050" b="0" u="none" strike="noStrike" cap="none" spc="0" baseline="0" dirty="0">
                          <a:ln>
                            <a:noFill/>
                          </a:ln>
                          <a:solidFill>
                            <a:schemeClr val="tx1"/>
                          </a:solidFill>
                          <a:uFillTx/>
                          <a:sym typeface="Gill Sans"/>
                        </a:rPr>
                        <a:t>Message size up to 1 MB</a:t>
                      </a:r>
                    </a:p>
                    <a:p>
                      <a:pPr marL="134938" marR="0" lvl="1" indent="-125413" algn="l" defTabSz="409575" latinLnBrk="0">
                        <a:lnSpc>
                          <a:spcPct val="100000"/>
                        </a:lnSpc>
                        <a:spcBef>
                          <a:spcPts val="0"/>
                        </a:spcBef>
                        <a:spcAft>
                          <a:spcPts val="0"/>
                        </a:spcAft>
                        <a:buClr>
                          <a:schemeClr val="accent1"/>
                        </a:buClr>
                        <a:buSzTx/>
                        <a:buFont typeface="Wingdings" pitchFamily="2" charset="2"/>
                        <a:buChar char="§"/>
                        <a:tabLst/>
                      </a:pPr>
                      <a:r>
                        <a:rPr lang="en-GB" sz="1050" b="0" u="none" strike="noStrike" cap="none" spc="0" baseline="0" dirty="0">
                          <a:ln>
                            <a:noFill/>
                          </a:ln>
                          <a:solidFill>
                            <a:schemeClr val="tx1"/>
                          </a:solidFill>
                          <a:uFillTx/>
                          <a:sym typeface="Gill Sans"/>
                        </a:rPr>
                        <a:t>10 GB of storage</a:t>
                      </a:r>
                    </a:p>
                    <a:p>
                      <a:pPr marL="134938" marR="0" lvl="1" indent="-125413" algn="l" defTabSz="409575" rtl="0" eaLnBrk="1" latinLnBrk="0" hangingPunct="1">
                        <a:lnSpc>
                          <a:spcPct val="100000"/>
                        </a:lnSpc>
                        <a:spcBef>
                          <a:spcPts val="0"/>
                        </a:spcBef>
                        <a:spcAft>
                          <a:spcPts val="0"/>
                        </a:spcAft>
                        <a:buClr>
                          <a:schemeClr val="accent1"/>
                        </a:buClr>
                        <a:buSzTx/>
                        <a:buFont typeface="Wingdings" pitchFamily="2" charset="2"/>
                        <a:buChar char="§"/>
                        <a:tabLst/>
                      </a:pPr>
                      <a:r>
                        <a:rPr lang="en-GB" sz="1050" b="0" u="none" strike="noStrike" kern="1200" cap="none" spc="0" baseline="0" dirty="0">
                          <a:ln>
                            <a:noFill/>
                          </a:ln>
                          <a:solidFill>
                            <a:schemeClr val="tx1"/>
                          </a:solidFill>
                          <a:uFillTx/>
                          <a:sym typeface="Gill Sans"/>
                        </a:rPr>
                        <a:t>Guaranteed throughput of 250 KBps</a:t>
                      </a:r>
                    </a:p>
                    <a:p>
                      <a:pPr marL="9525" marR="0" indent="0" algn="l" defTabSz="409575" latinLnBrk="0">
                        <a:lnSpc>
                          <a:spcPct val="100000"/>
                        </a:lnSpc>
                        <a:spcBef>
                          <a:spcPts val="0"/>
                        </a:spcBef>
                        <a:spcAft>
                          <a:spcPts val="0"/>
                        </a:spcAft>
                        <a:buClrTx/>
                        <a:buSzTx/>
                        <a:buFontTx/>
                        <a:buNone/>
                        <a:tabLst/>
                      </a:pPr>
                      <a:endParaRPr lang="en-GB" sz="1050" b="0" i="0" u="none" strike="noStrike" cap="none" spc="0" baseline="0" dirty="0">
                        <a:ln>
                          <a:noFill/>
                        </a:ln>
                        <a:solidFill>
                          <a:schemeClr val="tx1"/>
                        </a:solidFill>
                        <a:uFillTx/>
                        <a:latin typeface="Arial" panose="020B0604020202020204" pitchFamily="34" charset="0"/>
                        <a:ea typeface="Open Sans" panose="020B0606030504020204" pitchFamily="34" charset="0"/>
                        <a:cs typeface="Arial" panose="020B0604020202020204" pitchFamily="34" charset="0"/>
                        <a:sym typeface="Gill Sans"/>
                      </a:endParaRPr>
                    </a:p>
                  </a:txBody>
                  <a:tcPr marL="0" marR="0" marT="0" marB="0" anchor="ct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marL="134938" lvl="1" indent="-125413" algn="l">
                        <a:buClr>
                          <a:schemeClr val="accent1"/>
                        </a:buClr>
                        <a:buFont typeface="Wingdings" pitchFamily="2" charset="2"/>
                        <a:buChar char="§"/>
                        <a:tabLst/>
                      </a:pPr>
                      <a:r>
                        <a:rPr lang="en-GB" sz="1050" b="0" dirty="0">
                          <a:solidFill>
                            <a:schemeClr val="tx1"/>
                          </a:solidFill>
                        </a:rPr>
                        <a:t>Message size up to 30 MB</a:t>
                      </a:r>
                    </a:p>
                    <a:p>
                      <a:pPr marL="134938" lvl="1" indent="-125413" algn="l">
                        <a:buClr>
                          <a:schemeClr val="accent1"/>
                        </a:buClr>
                        <a:buFont typeface="Wingdings" pitchFamily="2" charset="2"/>
                        <a:buChar char="§"/>
                        <a:tabLst/>
                      </a:pPr>
                      <a:r>
                        <a:rPr lang="en-GB" sz="1050" b="0" dirty="0">
                          <a:solidFill>
                            <a:schemeClr val="tx1"/>
                          </a:solidFill>
                        </a:rPr>
                        <a:t>Storage up to 6 TB</a:t>
                      </a:r>
                    </a:p>
                    <a:p>
                      <a:pPr marL="134938" lvl="1" indent="-125413" algn="l">
                        <a:buClr>
                          <a:schemeClr val="accent1"/>
                        </a:buClr>
                        <a:buFont typeface="Wingdings" pitchFamily="2" charset="2"/>
                        <a:buChar char="§"/>
                        <a:tabLst/>
                      </a:pPr>
                      <a:r>
                        <a:rPr lang="en-GB" sz="1050" b="0" dirty="0">
                          <a:solidFill>
                            <a:schemeClr val="tx1"/>
                          </a:solidFill>
                        </a:rPr>
                        <a:t>Up to billions of events per day</a:t>
                      </a:r>
                      <a:endParaRPr lang="en-GB" sz="1050" dirty="0">
                        <a:solidFill>
                          <a:schemeClr val="tx1"/>
                        </a:solidFill>
                        <a:latin typeface="Arial" panose="020B0604020202020204" pitchFamily="34" charset="0"/>
                        <a:ea typeface="Open Sans" panose="020B0606030504020204" pitchFamily="34" charset="0"/>
                        <a:cs typeface="Arial" panose="020B0604020202020204" pitchFamily="34" charset="0"/>
                      </a:endParaRPr>
                    </a:p>
                  </a:txBody>
                  <a:tcPr marL="0" marR="0" marT="0" marB="0" anchor="ct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814416993"/>
                  </a:ext>
                </a:extLst>
              </a:tr>
              <a:tr h="468000">
                <a:tc>
                  <a:txBody>
                    <a:bodyPr/>
                    <a:lstStyle/>
                    <a:p>
                      <a:pPr marL="0" marR="0" lvl="0" indent="0" algn="l" eaLnBrk="1" fontAlgn="auto" latinLnBrk="0" hangingPunct="1">
                        <a:lnSpc>
                          <a:spcPct val="100000"/>
                        </a:lnSpc>
                        <a:spcBef>
                          <a:spcPts val="0"/>
                        </a:spcBef>
                        <a:spcAft>
                          <a:spcPts val="0"/>
                        </a:spcAft>
                        <a:buClrTx/>
                        <a:buSzTx/>
                        <a:buFontTx/>
                        <a:buNone/>
                      </a:pPr>
                      <a:r>
                        <a:rPr lang="en-GB" sz="1050" b="1" u="none" strike="noStrike" cap="none" spc="0" baseline="0" dirty="0">
                          <a:ln>
                            <a:noFill/>
                          </a:ln>
                          <a:solidFill>
                            <a:schemeClr val="tx1"/>
                          </a:solidFill>
                          <a:uFillTx/>
                          <a:sym typeface="Gill Sans"/>
                        </a:rPr>
                        <a:t> Interfaces</a:t>
                      </a:r>
                      <a:endParaRPr lang="en-GB" sz="1050" b="1" i="0" u="none" strike="noStrike" cap="none" spc="0" baseline="0" dirty="0">
                        <a:ln>
                          <a:noFill/>
                        </a:ln>
                        <a:solidFill>
                          <a:schemeClr val="tx1"/>
                        </a:solidFill>
                        <a:uFillTx/>
                        <a:latin typeface="Arial" panose="020B0604020202020204" pitchFamily="34" charset="0"/>
                        <a:ea typeface="Open Sans" panose="020B0606030504020204" pitchFamily="34" charset="0"/>
                        <a:cs typeface="Arial" panose="020B0604020202020204" pitchFamily="34" charset="0"/>
                        <a:sym typeface="Gill Sans"/>
                      </a:endParaRPr>
                    </a:p>
                  </a:txBody>
                  <a:tcPr marL="0" marR="0" marT="0" marB="0" anchor="ct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marL="9525" marR="0" lvl="1" indent="0" algn="l" defTabSz="1088558" rtl="0" eaLnBrk="1" fontAlgn="auto" latinLnBrk="0" hangingPunct="1">
                        <a:lnSpc>
                          <a:spcPct val="100000"/>
                        </a:lnSpc>
                        <a:spcBef>
                          <a:spcPts val="0"/>
                        </a:spcBef>
                        <a:spcAft>
                          <a:spcPts val="0"/>
                        </a:spcAft>
                        <a:buClrTx/>
                        <a:buSzTx/>
                        <a:buFontTx/>
                        <a:buNone/>
                        <a:tabLst/>
                        <a:defRPr/>
                      </a:pPr>
                      <a:r>
                        <a:rPr lang="en-GB" sz="1050" b="0" kern="1200" dirty="0">
                          <a:solidFill>
                            <a:schemeClr val="tx1"/>
                          </a:solidFill>
                          <a:sym typeface="Gill Sans"/>
                        </a:rPr>
                        <a:t>REST, JMS, </a:t>
                      </a:r>
                      <a:r>
                        <a:rPr lang="en-GB" sz="1050" b="0" kern="1200" dirty="0">
                          <a:solidFill>
                            <a:schemeClr val="tx1"/>
                          </a:solidFill>
                        </a:rPr>
                        <a:t>AMQP</a:t>
                      </a:r>
                      <a:r>
                        <a:rPr lang="en-GB" sz="1050" b="0" kern="1200" dirty="0">
                          <a:solidFill>
                            <a:schemeClr val="tx1"/>
                          </a:solidFill>
                          <a:sym typeface="Gill Sans"/>
                        </a:rPr>
                        <a:t>, MQTT over WebSockets</a:t>
                      </a:r>
                      <a:endParaRPr lang="en-SG" sz="1050" b="0" kern="1200" noProof="0" dirty="0">
                        <a:solidFill>
                          <a:schemeClr val="tx1"/>
                        </a:solidFill>
                        <a:latin typeface="Arial" panose="020B0604020202020204" pitchFamily="34" charset="0"/>
                        <a:ea typeface="+mn-ea"/>
                        <a:cs typeface="Arial" panose="020B0604020202020204" pitchFamily="34" charset="0"/>
                        <a:sym typeface="Gill Sans"/>
                      </a:endParaRPr>
                    </a:p>
                  </a:txBody>
                  <a:tcPr marL="0" marR="0" marT="0" marB="0" anchor="ct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marL="9525" marR="0" lvl="1" indent="0" algn="l" defTabSz="1088558" rtl="0" eaLnBrk="1" fontAlgn="auto" latinLnBrk="0" hangingPunct="1">
                        <a:lnSpc>
                          <a:spcPct val="100000"/>
                        </a:lnSpc>
                        <a:spcBef>
                          <a:spcPts val="0"/>
                        </a:spcBef>
                        <a:spcAft>
                          <a:spcPts val="0"/>
                        </a:spcAft>
                        <a:buClrTx/>
                        <a:buSzTx/>
                        <a:buFontTx/>
                        <a:buNone/>
                        <a:tabLst/>
                        <a:defRPr/>
                      </a:pPr>
                      <a:endParaRPr lang="en-GB" sz="1050" b="0" kern="1200" dirty="0">
                        <a:solidFill>
                          <a:schemeClr val="tx1"/>
                        </a:solidFill>
                      </a:endParaRPr>
                    </a:p>
                    <a:p>
                      <a:pPr marL="9525" marR="0" lvl="1" indent="0" algn="l" defTabSz="1088558" rtl="0" eaLnBrk="1" fontAlgn="auto" latinLnBrk="0" hangingPunct="1">
                        <a:lnSpc>
                          <a:spcPct val="100000"/>
                        </a:lnSpc>
                        <a:spcBef>
                          <a:spcPts val="0"/>
                        </a:spcBef>
                        <a:spcAft>
                          <a:spcPts val="0"/>
                        </a:spcAft>
                        <a:buClrTx/>
                        <a:buSzTx/>
                        <a:buFontTx/>
                        <a:buNone/>
                        <a:tabLst/>
                        <a:defRPr/>
                      </a:pPr>
                      <a:r>
                        <a:rPr lang="en-GB" sz="1050" b="0" kern="1200" dirty="0">
                          <a:solidFill>
                            <a:schemeClr val="tx1"/>
                          </a:solidFill>
                        </a:rPr>
                        <a:t>REST, JMS, AMQP, MQTT, SMF over WebSockets and direct </a:t>
                      </a:r>
                    </a:p>
                    <a:p>
                      <a:pPr marL="9525" marR="0" lvl="1" indent="0" algn="l" defTabSz="1088558" rtl="0" eaLnBrk="1" fontAlgn="auto" latinLnBrk="0" hangingPunct="1">
                        <a:lnSpc>
                          <a:spcPct val="100000"/>
                        </a:lnSpc>
                        <a:spcBef>
                          <a:spcPts val="0"/>
                        </a:spcBef>
                        <a:spcAft>
                          <a:spcPts val="0"/>
                        </a:spcAft>
                        <a:buClrTx/>
                        <a:buSzTx/>
                        <a:buFontTx/>
                        <a:buNone/>
                        <a:tabLst/>
                        <a:defRPr/>
                      </a:pPr>
                      <a:endParaRPr lang="en-GB" sz="1050" b="0" kern="1200" dirty="0">
                        <a:solidFill>
                          <a:schemeClr val="tx1"/>
                        </a:solidFill>
                        <a:latin typeface="Arial" panose="020B0604020202020204" pitchFamily="34" charset="0"/>
                        <a:ea typeface="+mn-ea"/>
                        <a:cs typeface="Arial" panose="020B0604020202020204" pitchFamily="34" charset="0"/>
                      </a:endParaRPr>
                    </a:p>
                  </a:txBody>
                  <a:tcPr marL="0" marR="0" marT="0" marB="0" anchor="ct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271283737"/>
                  </a:ext>
                </a:extLst>
              </a:tr>
              <a:tr h="468000">
                <a:tc>
                  <a:txBody>
                    <a:bodyPr/>
                    <a:lstStyle/>
                    <a:p>
                      <a:pPr algn="l"/>
                      <a:r>
                        <a:rPr lang="en-GB" sz="1050" b="1" dirty="0">
                          <a:solidFill>
                            <a:schemeClr val="tx1"/>
                          </a:solidFill>
                        </a:rPr>
                        <a:t> Deployment </a:t>
                      </a:r>
                      <a:endParaRPr lang="en-GB" sz="1050" b="1" dirty="0">
                        <a:solidFill>
                          <a:schemeClr val="tx1"/>
                        </a:solidFill>
                        <a:latin typeface="Arial" panose="020B0604020202020204" pitchFamily="34" charset="0"/>
                        <a:ea typeface="Open Sans" panose="020B0606030504020204" pitchFamily="34" charset="0"/>
                        <a:cs typeface="Arial" panose="020B0604020202020204" pitchFamily="34" charset="0"/>
                      </a:endParaRPr>
                    </a:p>
                  </a:txBody>
                  <a:tcPr marL="0" marR="0" marT="0" marB="0" anchor="ct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marL="9525" marR="0" lvl="1" indent="0" algn="l" defTabSz="1088558" rtl="0" eaLnBrk="1" fontAlgn="auto" latinLnBrk="0" hangingPunct="1">
                        <a:lnSpc>
                          <a:spcPct val="100000"/>
                        </a:lnSpc>
                        <a:spcBef>
                          <a:spcPts val="0"/>
                        </a:spcBef>
                        <a:spcAft>
                          <a:spcPts val="0"/>
                        </a:spcAft>
                        <a:buClrTx/>
                        <a:buSzTx/>
                        <a:buFontTx/>
                        <a:buNone/>
                        <a:tabLst/>
                        <a:defRPr/>
                      </a:pPr>
                      <a:r>
                        <a:rPr lang="en-GB" sz="1050" b="0" kern="1200" dirty="0">
                          <a:solidFill>
                            <a:schemeClr val="tx1"/>
                          </a:solidFill>
                        </a:rPr>
                        <a:t>On SAP BTP</a:t>
                      </a:r>
                      <a:endParaRPr lang="en-SG" sz="1050" b="0" kern="1200" noProof="0" dirty="0">
                        <a:solidFill>
                          <a:schemeClr val="tx1"/>
                        </a:solidFill>
                        <a:latin typeface="Arial" panose="020B0604020202020204" pitchFamily="34" charset="0"/>
                        <a:ea typeface="+mn-ea"/>
                        <a:cs typeface="Arial" panose="020B0604020202020204" pitchFamily="34" charset="0"/>
                        <a:sym typeface="Gill Sans"/>
                      </a:endParaRPr>
                    </a:p>
                  </a:txBody>
                  <a:tcPr marL="0" marR="0" marT="0" marB="0" anchor="ct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marL="9525" marR="0" lvl="1" indent="0" algn="l" defTabSz="1088558" rtl="0" eaLnBrk="1" fontAlgn="auto" latinLnBrk="0" hangingPunct="1">
                        <a:lnSpc>
                          <a:spcPct val="100000"/>
                        </a:lnSpc>
                        <a:spcBef>
                          <a:spcPts val="0"/>
                        </a:spcBef>
                        <a:spcAft>
                          <a:spcPts val="0"/>
                        </a:spcAft>
                        <a:buClrTx/>
                        <a:buSzTx/>
                        <a:buFontTx/>
                        <a:buNone/>
                        <a:tabLst/>
                        <a:defRPr/>
                      </a:pPr>
                      <a:endParaRPr lang="en-GB" sz="1050" b="0" kern="1200" dirty="0">
                        <a:solidFill>
                          <a:schemeClr val="tx1"/>
                        </a:solidFill>
                      </a:endParaRPr>
                    </a:p>
                    <a:p>
                      <a:pPr marL="9525" marR="0" lvl="1" indent="0" algn="l" defTabSz="1088558" rtl="0" eaLnBrk="1" fontAlgn="auto" latinLnBrk="0" hangingPunct="1">
                        <a:lnSpc>
                          <a:spcPct val="100000"/>
                        </a:lnSpc>
                        <a:spcBef>
                          <a:spcPts val="0"/>
                        </a:spcBef>
                        <a:spcAft>
                          <a:spcPts val="0"/>
                        </a:spcAft>
                        <a:buClrTx/>
                        <a:buSzTx/>
                        <a:buFontTx/>
                        <a:buNone/>
                        <a:tabLst/>
                        <a:defRPr/>
                      </a:pPr>
                      <a:r>
                        <a:rPr lang="en-GB" sz="1050" b="0" kern="1200" dirty="0">
                          <a:solidFill>
                            <a:schemeClr val="tx1"/>
                          </a:solidFill>
                        </a:rPr>
                        <a:t>Almost anywhere including cloud and on premise</a:t>
                      </a:r>
                    </a:p>
                    <a:p>
                      <a:pPr marL="9525" marR="0" lvl="1" indent="0" algn="l" defTabSz="1088558" rtl="0" eaLnBrk="1" fontAlgn="auto" latinLnBrk="0" hangingPunct="1">
                        <a:lnSpc>
                          <a:spcPct val="100000"/>
                        </a:lnSpc>
                        <a:spcBef>
                          <a:spcPts val="0"/>
                        </a:spcBef>
                        <a:spcAft>
                          <a:spcPts val="0"/>
                        </a:spcAft>
                        <a:buClrTx/>
                        <a:buSzTx/>
                        <a:buFontTx/>
                        <a:buNone/>
                        <a:tabLst/>
                        <a:defRPr/>
                      </a:pPr>
                      <a:endParaRPr lang="en-SG" sz="1050" b="0" kern="1200" noProof="0" dirty="0">
                        <a:solidFill>
                          <a:schemeClr val="tx1"/>
                        </a:solidFill>
                        <a:latin typeface="Arial" panose="020B0604020202020204" pitchFamily="34" charset="0"/>
                        <a:ea typeface="+mn-ea"/>
                        <a:cs typeface="Arial" panose="020B0604020202020204" pitchFamily="34" charset="0"/>
                        <a:sym typeface="Gill Sans"/>
                      </a:endParaRPr>
                    </a:p>
                  </a:txBody>
                  <a:tcPr marL="0" marR="0" marT="0" marB="0" anchor="ct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652388528"/>
                  </a:ext>
                </a:extLst>
              </a:tr>
              <a:tr h="468000">
                <a:tc>
                  <a:txBody>
                    <a:bodyPr/>
                    <a:lstStyle/>
                    <a:p>
                      <a:pPr algn="l"/>
                      <a:r>
                        <a:rPr lang="en-GB" sz="1050" b="1" dirty="0">
                          <a:solidFill>
                            <a:schemeClr val="tx1"/>
                          </a:solidFill>
                        </a:rPr>
                        <a:t> Pricing</a:t>
                      </a:r>
                      <a:endParaRPr lang="en-GB" sz="1050" b="1" dirty="0">
                        <a:solidFill>
                          <a:schemeClr val="tx1"/>
                        </a:solidFill>
                        <a:latin typeface="Arial" panose="020B0604020202020204" pitchFamily="34" charset="0"/>
                        <a:ea typeface="Open Sans" panose="020B0606030504020204" pitchFamily="34" charset="0"/>
                        <a:cs typeface="Arial" panose="020B0604020202020204" pitchFamily="34" charset="0"/>
                      </a:endParaRPr>
                    </a:p>
                  </a:txBody>
                  <a:tcPr marL="0" marR="0" marT="0" marB="0" anchor="ct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marL="9525" marR="0" lvl="0" indent="0" algn="l" defTabSz="1088558"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GB" sz="1050" b="0" kern="1200" dirty="0">
                        <a:solidFill>
                          <a:schemeClr val="tx1"/>
                        </a:solidFill>
                      </a:endParaRPr>
                    </a:p>
                    <a:p>
                      <a:pPr marL="9525" marR="0" lvl="1" indent="0" algn="l" defTabSz="1088558"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050" b="0" kern="1200" dirty="0">
                          <a:solidFill>
                            <a:schemeClr val="tx1"/>
                          </a:solidFill>
                        </a:rPr>
                        <a:t>Usage-based pricing, starting with zero cost</a:t>
                      </a:r>
                    </a:p>
                    <a:p>
                      <a:pPr marL="9525" marR="0" lvl="0" indent="0" algn="l" defTabSz="1088558"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GB" sz="1050" b="0" kern="1200" dirty="0">
                        <a:solidFill>
                          <a:schemeClr val="tx1"/>
                        </a:solidFill>
                        <a:latin typeface="Arial" panose="020B0604020202020204" pitchFamily="34" charset="0"/>
                        <a:ea typeface="+mn-ea"/>
                        <a:cs typeface="Arial" panose="020B0604020202020204" pitchFamily="34" charset="0"/>
                      </a:endParaRPr>
                    </a:p>
                  </a:txBody>
                  <a:tcPr marL="0" marR="0" marT="0" marB="0" anchor="ct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marL="9525" marR="0" lvl="1" indent="0" algn="l" defTabSz="1088558"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050" b="0" kern="1200" dirty="0">
                          <a:solidFill>
                            <a:schemeClr val="tx1"/>
                          </a:solidFill>
                        </a:rPr>
                        <a:t>Various T-shirt sizes, grows with your business</a:t>
                      </a:r>
                      <a:endParaRPr lang="en-SG" sz="1050" b="0" kern="1200" noProof="0" dirty="0">
                        <a:solidFill>
                          <a:schemeClr val="tx1"/>
                        </a:solidFill>
                        <a:latin typeface="Arial" panose="020B0604020202020204" pitchFamily="34" charset="0"/>
                        <a:ea typeface="+mn-ea"/>
                        <a:cs typeface="Arial" panose="020B0604020202020204" pitchFamily="34" charset="0"/>
                        <a:sym typeface="Gill Sans"/>
                      </a:endParaRPr>
                    </a:p>
                  </a:txBody>
                  <a:tcPr marL="0" marR="0" marT="0" marB="0" anchor="ct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351570947"/>
                  </a:ext>
                </a:extLst>
              </a:tr>
              <a:tr h="468000">
                <a:tc>
                  <a:txBody>
                    <a:bodyPr/>
                    <a:lstStyle/>
                    <a:p>
                      <a:pPr marL="0" marR="0" indent="0" algn="l" defTabSz="409575" latinLnBrk="0">
                        <a:lnSpc>
                          <a:spcPct val="100000"/>
                        </a:lnSpc>
                        <a:spcBef>
                          <a:spcPts val="0"/>
                        </a:spcBef>
                        <a:spcAft>
                          <a:spcPts val="0"/>
                        </a:spcAft>
                        <a:buClrTx/>
                        <a:buSzTx/>
                        <a:buFontTx/>
                        <a:buNone/>
                        <a:tabLst/>
                      </a:pPr>
                      <a:r>
                        <a:rPr lang="en-GB" sz="1050" b="1" u="none" strike="noStrike" cap="none" spc="0" baseline="0" dirty="0">
                          <a:ln>
                            <a:noFill/>
                          </a:ln>
                          <a:solidFill>
                            <a:schemeClr val="tx1"/>
                          </a:solidFill>
                          <a:uFillTx/>
                          <a:sym typeface="Gill Sans"/>
                        </a:rPr>
                        <a:t> Advanced features</a:t>
                      </a:r>
                      <a:endParaRPr lang="en-GB" sz="1050" b="1" i="0" u="none" strike="noStrike" cap="none" spc="0" baseline="0" dirty="0">
                        <a:ln>
                          <a:noFill/>
                        </a:ln>
                        <a:solidFill>
                          <a:schemeClr val="tx1"/>
                        </a:solidFill>
                        <a:uFillTx/>
                        <a:latin typeface="Arial" panose="020B0604020202020204" pitchFamily="34" charset="0"/>
                        <a:ea typeface="Open Sans" panose="020B0606030504020204" pitchFamily="34" charset="0"/>
                        <a:cs typeface="Arial" panose="020B0604020202020204" pitchFamily="34" charset="0"/>
                        <a:sym typeface="Gill Sans"/>
                      </a:endParaRPr>
                    </a:p>
                  </a:txBody>
                  <a:tcPr marL="0" marR="0" marT="0" marB="0" anchor="ctr">
                    <a:lnT w="9525" cap="flat" cmpd="sng" algn="ctr">
                      <a:solidFill>
                        <a:schemeClr val="tx1"/>
                      </a:solidFill>
                      <a:prstDash val="solid"/>
                      <a:round/>
                      <a:headEnd type="none" w="med" len="med"/>
                      <a:tailEnd type="none" w="med" len="med"/>
                    </a:lnT>
                  </a:tcPr>
                </a:tc>
                <a:tc>
                  <a:txBody>
                    <a:bodyPr/>
                    <a:lstStyle/>
                    <a:p>
                      <a:pPr marL="134938" marR="0" lvl="1" indent="-125413" algn="l" defTabSz="1088558" rtl="0" eaLnBrk="1" latinLnBrk="0" hangingPunct="1">
                        <a:lnSpc>
                          <a:spcPct val="100000"/>
                        </a:lnSpc>
                        <a:spcBef>
                          <a:spcPts val="0"/>
                        </a:spcBef>
                        <a:spcAft>
                          <a:spcPts val="0"/>
                        </a:spcAft>
                        <a:buClr>
                          <a:schemeClr val="accent1"/>
                        </a:buClr>
                        <a:buSzTx/>
                        <a:buFont typeface="Wingdings" pitchFamily="2" charset="2"/>
                        <a:buChar char="§"/>
                        <a:tabLst/>
                      </a:pPr>
                      <a:r>
                        <a:rPr lang="en-GB" sz="1050" b="0" kern="1200" dirty="0">
                          <a:solidFill>
                            <a:schemeClr val="tx1"/>
                          </a:solidFill>
                          <a:sym typeface="Gill Sans"/>
                        </a:rPr>
                        <a:t>Facilitated connectivity to selected SAP software back ends</a:t>
                      </a:r>
                    </a:p>
                    <a:p>
                      <a:pPr marL="134938" marR="0" lvl="1" indent="-125413" algn="l" defTabSz="1088558" rtl="0" eaLnBrk="1" latinLnBrk="0" hangingPunct="1">
                        <a:lnSpc>
                          <a:spcPct val="100000"/>
                        </a:lnSpc>
                        <a:spcBef>
                          <a:spcPts val="0"/>
                        </a:spcBef>
                        <a:spcAft>
                          <a:spcPts val="0"/>
                        </a:spcAft>
                        <a:buClr>
                          <a:schemeClr val="accent1"/>
                        </a:buClr>
                        <a:buSzTx/>
                        <a:buFont typeface="Wingdings" pitchFamily="2" charset="2"/>
                        <a:buChar char="§"/>
                        <a:tabLst/>
                      </a:pPr>
                      <a:r>
                        <a:rPr lang="en-GB" sz="1050" b="0" kern="1200" dirty="0">
                          <a:solidFill>
                            <a:schemeClr val="tx1"/>
                          </a:solidFill>
                          <a:sym typeface="Gill Sans"/>
                        </a:rPr>
                        <a:t>Integration into SAP services and solutions </a:t>
                      </a:r>
                      <a:endParaRPr lang="en-GB" sz="1050" b="0" kern="1200" dirty="0">
                        <a:solidFill>
                          <a:schemeClr val="tx1"/>
                        </a:solidFill>
                        <a:latin typeface="Arial" panose="020B0604020202020204" pitchFamily="34" charset="0"/>
                        <a:ea typeface="+mn-ea"/>
                        <a:cs typeface="Arial" panose="020B0604020202020204" pitchFamily="34" charset="0"/>
                        <a:sym typeface="Gill Sans"/>
                      </a:endParaRPr>
                    </a:p>
                  </a:txBody>
                  <a:tcPr marL="0" marR="0" marT="0" marB="0" anchor="ctr">
                    <a:lnT w="9525" cap="flat" cmpd="sng" algn="ctr">
                      <a:solidFill>
                        <a:schemeClr val="tx1"/>
                      </a:solidFill>
                      <a:prstDash val="solid"/>
                      <a:round/>
                      <a:headEnd type="none" w="med" len="med"/>
                      <a:tailEnd type="none" w="med" len="med"/>
                    </a:lnT>
                  </a:tcPr>
                </a:tc>
                <a:tc>
                  <a:txBody>
                    <a:bodyPr/>
                    <a:lstStyle/>
                    <a:p>
                      <a:pPr marL="9525" marR="0" lvl="1" indent="0" algn="l" defTabSz="1088558"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GB" sz="1050" b="0" kern="1200" dirty="0">
                        <a:solidFill>
                          <a:schemeClr val="tx1"/>
                        </a:solidFill>
                        <a:sym typeface="Gill Sans"/>
                      </a:endParaRPr>
                    </a:p>
                    <a:p>
                      <a:pPr marL="134938" marR="0" lvl="1" indent="-125413" algn="l" defTabSz="1088558" rtl="0" eaLnBrk="1" fontAlgn="auto" latinLnBrk="0" hangingPunct="1">
                        <a:lnSpc>
                          <a:spcPct val="100000"/>
                        </a:lnSpc>
                        <a:spcBef>
                          <a:spcPts val="0"/>
                        </a:spcBef>
                        <a:spcAft>
                          <a:spcPts val="0"/>
                        </a:spcAft>
                        <a:buClr>
                          <a:schemeClr val="accent1"/>
                        </a:buClr>
                        <a:buSzTx/>
                        <a:buFont typeface="Wingdings" pitchFamily="2" charset="2"/>
                        <a:buChar char="§"/>
                        <a:tabLst/>
                        <a:defRPr/>
                      </a:pPr>
                      <a:r>
                        <a:rPr lang="en-GB" sz="1050" b="0" kern="1200" dirty="0">
                          <a:solidFill>
                            <a:schemeClr val="tx1"/>
                          </a:solidFill>
                          <a:sym typeface="Gill Sans"/>
                        </a:rPr>
                        <a:t>Opening on payloads</a:t>
                      </a:r>
                    </a:p>
                    <a:p>
                      <a:pPr marL="134938" marR="0" lvl="1" indent="-125413" algn="l" defTabSz="1088558" rtl="0" eaLnBrk="1" fontAlgn="auto" latinLnBrk="0" hangingPunct="1">
                        <a:lnSpc>
                          <a:spcPct val="100000"/>
                        </a:lnSpc>
                        <a:spcBef>
                          <a:spcPts val="0"/>
                        </a:spcBef>
                        <a:spcAft>
                          <a:spcPts val="0"/>
                        </a:spcAft>
                        <a:buClr>
                          <a:schemeClr val="accent1"/>
                        </a:buClr>
                        <a:buSzTx/>
                        <a:buFont typeface="Wingdings" pitchFamily="2" charset="2"/>
                        <a:buChar char="§"/>
                        <a:tabLst/>
                        <a:defRPr/>
                      </a:pPr>
                      <a:r>
                        <a:rPr lang="en-GB" sz="1050" b="0" kern="1200" dirty="0">
                          <a:solidFill>
                            <a:schemeClr val="tx1"/>
                          </a:solidFill>
                          <a:sym typeface="Gill Sans"/>
                        </a:rPr>
                        <a:t>Support of transactions</a:t>
                      </a:r>
                      <a:endParaRPr lang="en-SG" sz="1050" b="0" kern="1200" noProof="0" dirty="0">
                        <a:solidFill>
                          <a:schemeClr val="tx1"/>
                        </a:solidFill>
                        <a:sym typeface="Gill Sans"/>
                      </a:endParaRPr>
                    </a:p>
                    <a:p>
                      <a:pPr marL="134938" marR="0" lvl="1" indent="-125413" algn="l" defTabSz="1088558" rtl="0" eaLnBrk="1" fontAlgn="auto" latinLnBrk="0" hangingPunct="1">
                        <a:lnSpc>
                          <a:spcPct val="100000"/>
                        </a:lnSpc>
                        <a:spcBef>
                          <a:spcPts val="0"/>
                        </a:spcBef>
                        <a:spcAft>
                          <a:spcPts val="0"/>
                        </a:spcAft>
                        <a:buClr>
                          <a:schemeClr val="accent1"/>
                        </a:buClr>
                        <a:buSzTx/>
                        <a:buFont typeface="Wingdings" pitchFamily="2" charset="2"/>
                        <a:buChar char="§"/>
                        <a:tabLst/>
                        <a:defRPr/>
                      </a:pPr>
                      <a:r>
                        <a:rPr lang="en-GB" sz="1050" b="0" kern="1200" dirty="0">
                          <a:solidFill>
                            <a:schemeClr val="tx1"/>
                          </a:solidFill>
                          <a:sym typeface="Gill Sans"/>
                        </a:rPr>
                        <a:t>Support of replay of events</a:t>
                      </a:r>
                    </a:p>
                    <a:p>
                      <a:pPr marL="134938" marR="0" lvl="1" indent="-125413" algn="l" defTabSz="1088558" rtl="0" eaLnBrk="1" fontAlgn="auto" latinLnBrk="0" hangingPunct="1">
                        <a:lnSpc>
                          <a:spcPct val="100000"/>
                        </a:lnSpc>
                        <a:spcBef>
                          <a:spcPts val="0"/>
                        </a:spcBef>
                        <a:spcAft>
                          <a:spcPts val="0"/>
                        </a:spcAft>
                        <a:buClr>
                          <a:schemeClr val="accent1"/>
                        </a:buClr>
                        <a:buSzTx/>
                        <a:buFont typeface="Wingdings" pitchFamily="2" charset="2"/>
                        <a:buChar char="§"/>
                        <a:tabLst/>
                        <a:defRPr/>
                      </a:pPr>
                      <a:r>
                        <a:rPr lang="en-GB" sz="1050" b="0" kern="1200" dirty="0">
                          <a:solidFill>
                            <a:schemeClr val="tx1"/>
                          </a:solidFill>
                          <a:sym typeface="Gill Sans"/>
                        </a:rPr>
                        <a:t>Distributed tracing </a:t>
                      </a:r>
                      <a:r>
                        <a:rPr lang="en-GB" sz="1050" b="0" kern="1200">
                          <a:solidFill>
                            <a:schemeClr val="tx1"/>
                          </a:solidFill>
                          <a:sym typeface="Gill Sans"/>
                        </a:rPr>
                        <a:t>support </a:t>
                      </a:r>
                      <a:endParaRPr lang="en-SG" sz="1050" b="0" kern="1200" noProof="0" dirty="0">
                        <a:solidFill>
                          <a:schemeClr val="tx1"/>
                        </a:solidFill>
                        <a:latin typeface="Arial" panose="020B0604020202020204" pitchFamily="34" charset="0"/>
                        <a:ea typeface="+mn-ea"/>
                        <a:cs typeface="Arial" panose="020B0604020202020204" pitchFamily="34" charset="0"/>
                        <a:sym typeface="Gill Sans"/>
                      </a:endParaRPr>
                    </a:p>
                  </a:txBody>
                  <a:tcPr marL="0" marR="0" marT="0" marB="0" anchor="ctr">
                    <a:lnT w="9525"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3648117123"/>
                  </a:ext>
                </a:extLst>
              </a:tr>
            </a:tbl>
          </a:graphicData>
        </a:graphic>
      </p:graphicFrame>
      <p:sp>
        <p:nvSpPr>
          <p:cNvPr id="2" name="Titel 1">
            <a:extLst>
              <a:ext uri="{FF2B5EF4-FFF2-40B4-BE49-F238E27FC236}">
                <a16:creationId xmlns:a16="http://schemas.microsoft.com/office/drawing/2014/main" id="{4371D69D-74DF-9067-0B97-B6602987DAB4}"/>
              </a:ext>
            </a:extLst>
          </p:cNvPr>
          <p:cNvSpPr>
            <a:spLocks noGrp="1"/>
          </p:cNvSpPr>
          <p:nvPr>
            <p:ph type="title"/>
          </p:nvPr>
        </p:nvSpPr>
        <p:spPr/>
        <p:txBody>
          <a:bodyPr/>
          <a:lstStyle/>
          <a:p>
            <a:r>
              <a:rPr lang="en-US" kern="0" dirty="0">
                <a:latin typeface="Arial" panose="020B0604020202020204" pitchFamily="34" charset="0"/>
                <a:ea typeface="Arial Unicode MS"/>
                <a:cs typeface="Arial" panose="020B0604020202020204" pitchFamily="34" charset="0"/>
              </a:rPr>
              <a:t> High-level comparison – SAP Event Mesh and advanced event mesh</a:t>
            </a:r>
            <a:endParaRPr lang="en-US" dirty="0"/>
          </a:p>
        </p:txBody>
      </p:sp>
    </p:spTree>
    <p:extLst>
      <p:ext uri="{BB962C8B-B14F-4D97-AF65-F5344CB8AC3E}">
        <p14:creationId xmlns:p14="http://schemas.microsoft.com/office/powerpoint/2010/main" val="671942490"/>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48AF15A-3E30-07C4-5216-03FEA8D6CA4B}"/>
              </a:ext>
            </a:extLst>
          </p:cNvPr>
          <p:cNvSpPr>
            <a:spLocks noGrp="1"/>
          </p:cNvSpPr>
          <p:nvPr>
            <p:ph type="body" sz="quarter" idx="10"/>
          </p:nvPr>
        </p:nvSpPr>
        <p:spPr>
          <a:xfrm>
            <a:off x="504000" y="6162675"/>
            <a:ext cx="11186477" cy="173224"/>
          </a:xfrm>
        </p:spPr>
        <p:txBody>
          <a:bodyPr/>
          <a:lstStyle/>
          <a:p>
            <a:r>
              <a:rPr lang="en-US" sz="1000" dirty="0">
                <a:latin typeface="72" panose="020B0503030000000003" pitchFamily="34" charset="0"/>
                <a:cs typeface="72" panose="020B0503030000000003" pitchFamily="34" charset="0"/>
              </a:rPr>
              <a:t>Source: identify the login / cloud URL: https://help.pubsub.em.services.cloud.sap/Cloud/cloud-login-urls.htm</a:t>
            </a:r>
          </a:p>
        </p:txBody>
      </p:sp>
      <p:sp>
        <p:nvSpPr>
          <p:cNvPr id="3" name="Title 2">
            <a:extLst>
              <a:ext uri="{FF2B5EF4-FFF2-40B4-BE49-F238E27FC236}">
                <a16:creationId xmlns:a16="http://schemas.microsoft.com/office/drawing/2014/main" id="{72B06C18-9FE0-3F78-0D62-DF3430C695BD}"/>
              </a:ext>
            </a:extLst>
          </p:cNvPr>
          <p:cNvSpPr>
            <a:spLocks noGrp="1"/>
          </p:cNvSpPr>
          <p:nvPr>
            <p:ph type="title"/>
          </p:nvPr>
        </p:nvSpPr>
        <p:spPr>
          <a:xfrm>
            <a:off x="504001" y="504000"/>
            <a:ext cx="11186476" cy="281744"/>
          </a:xfrm>
        </p:spPr>
        <p:txBody>
          <a:bodyPr/>
          <a:lstStyle/>
          <a:p>
            <a:pPr>
              <a:lnSpc>
                <a:spcPct val="107000"/>
              </a:lnSpc>
              <a:spcAft>
                <a:spcPts val="800"/>
              </a:spcAft>
            </a:pPr>
            <a:r>
              <a:rPr lang="en-US" sz="1800" u="sng" kern="0" dirty="0">
                <a:effectLst/>
                <a:latin typeface="72" panose="020B0503030000000003" pitchFamily="34" charset="0"/>
                <a:ea typeface="Times New Roman" panose="02020603050405020304" pitchFamily="18" charset="0"/>
                <a:cs typeface="72" panose="020B0503030000000003" pitchFamily="34" charset="0"/>
              </a:rPr>
              <a:t>Manage AEM API Access </a:t>
            </a:r>
            <a:endParaRPr lang="en-DE" sz="1800" kern="100" dirty="0">
              <a:effectLst/>
              <a:latin typeface="72" panose="020B0503030000000003" pitchFamily="34" charset="0"/>
              <a:ea typeface="Calibri" panose="020F0502020204030204" pitchFamily="34" charset="0"/>
              <a:cs typeface="72" panose="020B0503030000000003" pitchFamily="34" charset="0"/>
            </a:endParaRPr>
          </a:p>
        </p:txBody>
      </p:sp>
      <p:sp>
        <p:nvSpPr>
          <p:cNvPr id="5" name="TextBox 4">
            <a:extLst>
              <a:ext uri="{FF2B5EF4-FFF2-40B4-BE49-F238E27FC236}">
                <a16:creationId xmlns:a16="http://schemas.microsoft.com/office/drawing/2014/main" id="{60B05948-698D-6EF0-2FBF-7D4F8785A189}"/>
              </a:ext>
            </a:extLst>
          </p:cNvPr>
          <p:cNvSpPr txBox="1"/>
          <p:nvPr/>
        </p:nvSpPr>
        <p:spPr>
          <a:xfrm>
            <a:off x="1272049" y="1029768"/>
            <a:ext cx="2364526" cy="468077"/>
          </a:xfrm>
          <a:prstGeom prst="rect">
            <a:avLst/>
          </a:prstGeom>
          <a:noFill/>
        </p:spPr>
        <p:txBody>
          <a:bodyPr wrap="square">
            <a:spAutoFit/>
          </a:bodyPr>
          <a:lstStyle/>
          <a:p>
            <a:pPr>
              <a:lnSpc>
                <a:spcPct val="107000"/>
              </a:lnSpc>
              <a:spcAft>
                <a:spcPts val="800"/>
              </a:spcAft>
            </a:pPr>
            <a:r>
              <a:rPr lang="en-US" sz="2400" kern="0" dirty="0">
                <a:effectLst/>
                <a:latin typeface="72" panose="020B0503030000000003" pitchFamily="34" charset="0"/>
                <a:ea typeface="Times New Roman" panose="02020603050405020304" pitchFamily="18" charset="0"/>
                <a:cs typeface="72" panose="020B0503030000000003" pitchFamily="34" charset="0"/>
              </a:rPr>
              <a:t>REST – API(v2)</a:t>
            </a:r>
            <a:endParaRPr lang="en-DE" sz="2000" kern="100" dirty="0">
              <a:effectLst/>
              <a:latin typeface="72" panose="020B0503030000000003" pitchFamily="34" charset="0"/>
              <a:ea typeface="Calibri" panose="020F0502020204030204" pitchFamily="34" charset="0"/>
              <a:cs typeface="72" panose="020B0503030000000003" pitchFamily="34" charset="0"/>
            </a:endParaRPr>
          </a:p>
        </p:txBody>
      </p:sp>
      <p:sp>
        <p:nvSpPr>
          <p:cNvPr id="9" name="TextBox 8">
            <a:extLst>
              <a:ext uri="{FF2B5EF4-FFF2-40B4-BE49-F238E27FC236}">
                <a16:creationId xmlns:a16="http://schemas.microsoft.com/office/drawing/2014/main" id="{D8FBF749-5587-D24D-D433-B02A033D332E}"/>
              </a:ext>
            </a:extLst>
          </p:cNvPr>
          <p:cNvSpPr txBox="1"/>
          <p:nvPr/>
        </p:nvSpPr>
        <p:spPr>
          <a:xfrm>
            <a:off x="5320480" y="976006"/>
            <a:ext cx="1347131" cy="468077"/>
          </a:xfrm>
          <a:prstGeom prst="rect">
            <a:avLst/>
          </a:prstGeom>
          <a:noFill/>
        </p:spPr>
        <p:txBody>
          <a:bodyPr wrap="square">
            <a:spAutoFit/>
          </a:bodyPr>
          <a:lstStyle/>
          <a:p>
            <a:pPr>
              <a:lnSpc>
                <a:spcPct val="107000"/>
              </a:lnSpc>
              <a:spcAft>
                <a:spcPts val="800"/>
              </a:spcAft>
            </a:pPr>
            <a:r>
              <a:rPr lang="en-DE" sz="2400" kern="0" dirty="0">
                <a:effectLst/>
                <a:latin typeface="72" panose="020B0503030000000003" pitchFamily="34" charset="0"/>
                <a:ea typeface="Times New Roman" panose="02020603050405020304" pitchFamily="18" charset="0"/>
                <a:cs typeface="72" panose="020B0503030000000003" pitchFamily="34" charset="0"/>
              </a:rPr>
              <a:t>SEMPv2</a:t>
            </a:r>
            <a:endParaRPr lang="en-DE" sz="2000" kern="100" dirty="0">
              <a:effectLst/>
              <a:latin typeface="72" panose="020B0503030000000003" pitchFamily="34" charset="0"/>
              <a:ea typeface="Calibri" panose="020F0502020204030204" pitchFamily="34" charset="0"/>
              <a:cs typeface="72" panose="020B0503030000000003" pitchFamily="34" charset="0"/>
            </a:endParaRPr>
          </a:p>
        </p:txBody>
      </p:sp>
      <p:pic>
        <p:nvPicPr>
          <p:cNvPr id="10" name="Picture 9">
            <a:extLst>
              <a:ext uri="{FF2B5EF4-FFF2-40B4-BE49-F238E27FC236}">
                <a16:creationId xmlns:a16="http://schemas.microsoft.com/office/drawing/2014/main" id="{B59F7BAA-D79D-38B3-F7DD-67EBE221519E}"/>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504000" y="1511711"/>
            <a:ext cx="1816575" cy="1608733"/>
          </a:xfrm>
          <a:prstGeom prst="rect">
            <a:avLst/>
          </a:prstGeom>
          <a:noFill/>
          <a:ln>
            <a:noFill/>
          </a:ln>
        </p:spPr>
      </p:pic>
      <p:pic>
        <p:nvPicPr>
          <p:cNvPr id="11" name="Picture 10">
            <a:extLst>
              <a:ext uri="{FF2B5EF4-FFF2-40B4-BE49-F238E27FC236}">
                <a16:creationId xmlns:a16="http://schemas.microsoft.com/office/drawing/2014/main" id="{12E3E3CA-5C3D-CB92-6D40-72CDAD11DCE7}"/>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781859" y="2636495"/>
            <a:ext cx="3077431" cy="1109342"/>
          </a:xfrm>
          <a:prstGeom prst="rect">
            <a:avLst/>
          </a:prstGeom>
          <a:noFill/>
          <a:ln>
            <a:noFill/>
          </a:ln>
        </p:spPr>
      </p:pic>
      <p:pic>
        <p:nvPicPr>
          <p:cNvPr id="12" name="Picture 11">
            <a:extLst>
              <a:ext uri="{FF2B5EF4-FFF2-40B4-BE49-F238E27FC236}">
                <a16:creationId xmlns:a16="http://schemas.microsoft.com/office/drawing/2014/main" id="{170BE89F-0477-308D-824D-E70C8A4EC9AF}"/>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04000" y="3381582"/>
            <a:ext cx="2556890" cy="1165690"/>
          </a:xfrm>
          <a:prstGeom prst="rect">
            <a:avLst/>
          </a:prstGeom>
          <a:noFill/>
          <a:ln>
            <a:noFill/>
          </a:ln>
        </p:spPr>
      </p:pic>
      <p:sp>
        <p:nvSpPr>
          <p:cNvPr id="14" name="TextBox 13">
            <a:extLst>
              <a:ext uri="{FF2B5EF4-FFF2-40B4-BE49-F238E27FC236}">
                <a16:creationId xmlns:a16="http://schemas.microsoft.com/office/drawing/2014/main" id="{0FF1648E-194D-8057-0482-FE892711A052}"/>
              </a:ext>
            </a:extLst>
          </p:cNvPr>
          <p:cNvSpPr txBox="1"/>
          <p:nvPr/>
        </p:nvSpPr>
        <p:spPr>
          <a:xfrm>
            <a:off x="313403" y="4571535"/>
            <a:ext cx="3661287" cy="1666546"/>
          </a:xfrm>
          <a:prstGeom prst="rect">
            <a:avLst/>
          </a:prstGeom>
          <a:noFill/>
        </p:spPr>
        <p:txBody>
          <a:bodyPr wrap="square">
            <a:spAutoFit/>
          </a:bodyPr>
          <a:lstStyle/>
          <a:p>
            <a:pPr marL="342900" lvl="0" indent="-342900">
              <a:lnSpc>
                <a:spcPct val="107000"/>
              </a:lnSpc>
              <a:spcAft>
                <a:spcPts val="800"/>
              </a:spcAft>
              <a:buFont typeface="Arial" panose="020B0604020202020204" pitchFamily="34" charset="0"/>
              <a:buChar char="•"/>
            </a:pPr>
            <a:r>
              <a:rPr lang="en-DE" sz="1200" kern="100" dirty="0">
                <a:effectLst/>
                <a:latin typeface="72" panose="020B0503030000000003" pitchFamily="34" charset="0"/>
                <a:ea typeface="Times New Roman" panose="02020603050405020304" pitchFamily="18" charset="0"/>
                <a:cs typeface="72" panose="020B0503030000000003" pitchFamily="34" charset="0"/>
              </a:rPr>
              <a:t>create up to 50 API tokens (per user) in an account</a:t>
            </a:r>
            <a:endParaRPr lang="de-DE" sz="1200" kern="100" dirty="0">
              <a:effectLst/>
              <a:latin typeface="72" panose="020B0503030000000003" pitchFamily="34" charset="0"/>
              <a:ea typeface="Times New Roman" panose="02020603050405020304" pitchFamily="18" charset="0"/>
              <a:cs typeface="72" panose="020B0503030000000003" pitchFamily="34" charset="0"/>
            </a:endParaRPr>
          </a:p>
          <a:p>
            <a:pPr marL="342900" lvl="0" indent="-342900">
              <a:lnSpc>
                <a:spcPct val="107000"/>
              </a:lnSpc>
              <a:spcAft>
                <a:spcPts val="800"/>
              </a:spcAft>
              <a:buFont typeface="Arial" panose="020B0604020202020204" pitchFamily="34" charset="0"/>
              <a:buChar char="•"/>
            </a:pPr>
            <a:r>
              <a:rPr lang="en-US" sz="1200" kern="100" dirty="0">
                <a:effectLst/>
                <a:latin typeface="72" panose="020B0503030000000003" pitchFamily="34" charset="0"/>
                <a:ea typeface="Times New Roman" panose="02020603050405020304" pitchFamily="18" charset="0"/>
                <a:cs typeface="72" panose="020B0503030000000003" pitchFamily="34" charset="0"/>
              </a:rPr>
              <a:t>setup a proper authorization management, assign granular specific scopes and permissions for specific topics (Mission Control, Event Portal etc.) </a:t>
            </a:r>
            <a:endParaRPr lang="de-DE" sz="1200" kern="100" dirty="0">
              <a:effectLst/>
              <a:latin typeface="72" panose="020B0503030000000003" pitchFamily="34" charset="0"/>
              <a:ea typeface="Times New Roman" panose="02020603050405020304" pitchFamily="18" charset="0"/>
              <a:cs typeface="72" panose="020B0503030000000003" pitchFamily="34" charset="0"/>
            </a:endParaRPr>
          </a:p>
          <a:p>
            <a:pPr marL="342900" lvl="0" indent="-342900">
              <a:lnSpc>
                <a:spcPct val="107000"/>
              </a:lnSpc>
              <a:spcAft>
                <a:spcPts val="800"/>
              </a:spcAft>
              <a:buFont typeface="Arial" panose="020B0604020202020204" pitchFamily="34" charset="0"/>
              <a:buChar char="•"/>
            </a:pPr>
            <a:endParaRPr lang="en-DE" sz="1200" kern="100" dirty="0">
              <a:effectLst/>
              <a:latin typeface="72" panose="020B0503030000000003" pitchFamily="34" charset="0"/>
              <a:ea typeface="Times New Roman" panose="02020603050405020304" pitchFamily="18" charset="0"/>
              <a:cs typeface="72" panose="020B0503030000000003" pitchFamily="34" charset="0"/>
            </a:endParaRPr>
          </a:p>
        </p:txBody>
      </p:sp>
      <p:pic>
        <p:nvPicPr>
          <p:cNvPr id="15" name="Picture 14">
            <a:extLst>
              <a:ext uri="{FF2B5EF4-FFF2-40B4-BE49-F238E27FC236}">
                <a16:creationId xmlns:a16="http://schemas.microsoft.com/office/drawing/2014/main" id="{CAF70096-08A2-2EF5-5D05-5ECE50EB3978}"/>
              </a:ext>
            </a:extLst>
          </p:cNvPr>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4530878" y="1367517"/>
            <a:ext cx="2481980" cy="1185015"/>
          </a:xfrm>
          <a:prstGeom prst="rect">
            <a:avLst/>
          </a:prstGeom>
          <a:noFill/>
          <a:ln>
            <a:noFill/>
          </a:ln>
        </p:spPr>
      </p:pic>
      <p:pic>
        <p:nvPicPr>
          <p:cNvPr id="16" name="Picture 15">
            <a:extLst>
              <a:ext uri="{FF2B5EF4-FFF2-40B4-BE49-F238E27FC236}">
                <a16:creationId xmlns:a16="http://schemas.microsoft.com/office/drawing/2014/main" id="{8D29A3FC-C3C9-8DBC-487E-D422C0E8FEBE}"/>
              </a:ext>
            </a:extLst>
          </p:cNvPr>
          <p:cNvPicPr>
            <a:picLocks noChangeAspect="1"/>
          </p:cNvPicPr>
          <p:nvPr/>
        </p:nvPicPr>
        <p:blipFill>
          <a:blip r:embed="rId7"/>
          <a:stretch>
            <a:fillRect/>
          </a:stretch>
        </p:blipFill>
        <p:spPr>
          <a:xfrm>
            <a:off x="4874882" y="2198087"/>
            <a:ext cx="2731751" cy="1872435"/>
          </a:xfrm>
          <a:prstGeom prst="rect">
            <a:avLst/>
          </a:prstGeom>
        </p:spPr>
      </p:pic>
      <p:pic>
        <p:nvPicPr>
          <p:cNvPr id="18" name="Picture 17">
            <a:extLst>
              <a:ext uri="{FF2B5EF4-FFF2-40B4-BE49-F238E27FC236}">
                <a16:creationId xmlns:a16="http://schemas.microsoft.com/office/drawing/2014/main" id="{7527FB56-C07D-E0B8-1C1E-A926970C1D91}"/>
              </a:ext>
            </a:extLst>
          </p:cNvPr>
          <p:cNvPicPr>
            <a:picLocks noChangeAspect="1"/>
          </p:cNvPicPr>
          <p:nvPr/>
        </p:nvPicPr>
        <p:blipFill>
          <a:blip r:embed="rId8"/>
          <a:stretch>
            <a:fillRect/>
          </a:stretch>
        </p:blipFill>
        <p:spPr>
          <a:xfrm>
            <a:off x="5432811" y="3004819"/>
            <a:ext cx="3160093" cy="2205160"/>
          </a:xfrm>
          <a:prstGeom prst="rect">
            <a:avLst/>
          </a:prstGeom>
        </p:spPr>
      </p:pic>
      <p:pic>
        <p:nvPicPr>
          <p:cNvPr id="20" name="Picture 19">
            <a:extLst>
              <a:ext uri="{FF2B5EF4-FFF2-40B4-BE49-F238E27FC236}">
                <a16:creationId xmlns:a16="http://schemas.microsoft.com/office/drawing/2014/main" id="{6FC039E4-C46E-B3B5-5922-C638509986B1}"/>
              </a:ext>
            </a:extLst>
          </p:cNvPr>
          <p:cNvPicPr>
            <a:picLocks noChangeAspect="1"/>
          </p:cNvPicPr>
          <p:nvPr/>
        </p:nvPicPr>
        <p:blipFill>
          <a:blip r:embed="rId9"/>
          <a:stretch>
            <a:fillRect/>
          </a:stretch>
        </p:blipFill>
        <p:spPr>
          <a:xfrm>
            <a:off x="4530878" y="3806061"/>
            <a:ext cx="2595639" cy="1884642"/>
          </a:xfrm>
          <a:prstGeom prst="rect">
            <a:avLst/>
          </a:prstGeom>
        </p:spPr>
      </p:pic>
      <p:sp>
        <p:nvSpPr>
          <p:cNvPr id="23" name="TextBox 22">
            <a:extLst>
              <a:ext uri="{FF2B5EF4-FFF2-40B4-BE49-F238E27FC236}">
                <a16:creationId xmlns:a16="http://schemas.microsoft.com/office/drawing/2014/main" id="{E5D79345-BE9E-B39F-D20D-BF91063126CB}"/>
              </a:ext>
            </a:extLst>
          </p:cNvPr>
          <p:cNvSpPr txBox="1"/>
          <p:nvPr/>
        </p:nvSpPr>
        <p:spPr>
          <a:xfrm>
            <a:off x="8351516" y="1006486"/>
            <a:ext cx="3457268" cy="461665"/>
          </a:xfrm>
          <a:prstGeom prst="rect">
            <a:avLst/>
          </a:prstGeom>
          <a:noFill/>
        </p:spPr>
        <p:txBody>
          <a:bodyPr wrap="square">
            <a:spAutoFit/>
          </a:bodyPr>
          <a:lstStyle/>
          <a:p>
            <a:pPr fontAlgn="ctr">
              <a:spcBef>
                <a:spcPts val="0"/>
              </a:spcBef>
              <a:buNone/>
            </a:pPr>
            <a:r>
              <a:rPr lang="de-DE" sz="2400" dirty="0">
                <a:effectLst/>
                <a:latin typeface="72" panose="020B0503030000000003" pitchFamily="34" charset="0"/>
                <a:cs typeface="72" panose="020B0503030000000003" pitchFamily="34" charset="0"/>
              </a:rPr>
              <a:t>Open APIs – e.g. REST</a:t>
            </a:r>
          </a:p>
        </p:txBody>
      </p:sp>
      <p:pic>
        <p:nvPicPr>
          <p:cNvPr id="24" name="Picture 23">
            <a:extLst>
              <a:ext uri="{FF2B5EF4-FFF2-40B4-BE49-F238E27FC236}">
                <a16:creationId xmlns:a16="http://schemas.microsoft.com/office/drawing/2014/main" id="{9633982F-A491-77EA-BB86-A3328441478D}"/>
              </a:ext>
            </a:extLst>
          </p:cNvPr>
          <p:cNvPicPr>
            <a:picLocks noChangeAspect="1"/>
          </p:cNvPicPr>
          <p:nvPr/>
        </p:nvPicPr>
        <p:blipFill>
          <a:blip r:embed="rId10">
            <a:extLst>
              <a:ext uri="{28A0092B-C50C-407E-A947-70E740481C1C}">
                <a14:useLocalDpi xmlns:a14="http://schemas.microsoft.com/office/drawing/2010/main" val="0"/>
              </a:ext>
            </a:extLst>
          </a:blip>
          <a:srcRect/>
          <a:stretch>
            <a:fillRect/>
          </a:stretch>
        </p:blipFill>
        <p:spPr bwMode="auto">
          <a:xfrm>
            <a:off x="8354464" y="1815359"/>
            <a:ext cx="3336013" cy="1642271"/>
          </a:xfrm>
          <a:prstGeom prst="rect">
            <a:avLst/>
          </a:prstGeom>
          <a:noFill/>
          <a:ln>
            <a:noFill/>
          </a:ln>
        </p:spPr>
      </p:pic>
    </p:spTree>
    <p:extLst>
      <p:ext uri="{BB962C8B-B14F-4D97-AF65-F5344CB8AC3E}">
        <p14:creationId xmlns:p14="http://schemas.microsoft.com/office/powerpoint/2010/main" val="4064174192"/>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48AF15A-3E30-07C4-5216-03FEA8D6CA4B}"/>
              </a:ext>
            </a:extLst>
          </p:cNvPr>
          <p:cNvSpPr>
            <a:spLocks noGrp="1"/>
          </p:cNvSpPr>
          <p:nvPr>
            <p:ph type="body" sz="quarter" idx="10"/>
          </p:nvPr>
        </p:nvSpPr>
        <p:spPr>
          <a:xfrm>
            <a:off x="504000" y="6360939"/>
            <a:ext cx="11186477" cy="173224"/>
          </a:xfrm>
        </p:spPr>
        <p:txBody>
          <a:bodyPr/>
          <a:lstStyle/>
          <a:p>
            <a:r>
              <a:rPr lang="en-US" sz="1000" dirty="0"/>
              <a:t>Source: identify the login / Cloud URL: https://help.pubsub.em.services.cloud.sap/Cloud/cloud-login-urls.htm</a:t>
            </a:r>
          </a:p>
        </p:txBody>
      </p:sp>
      <p:sp>
        <p:nvSpPr>
          <p:cNvPr id="3" name="Title 2">
            <a:extLst>
              <a:ext uri="{FF2B5EF4-FFF2-40B4-BE49-F238E27FC236}">
                <a16:creationId xmlns:a16="http://schemas.microsoft.com/office/drawing/2014/main" id="{72B06C18-9FE0-3F78-0D62-DF3430C695BD}"/>
              </a:ext>
            </a:extLst>
          </p:cNvPr>
          <p:cNvSpPr>
            <a:spLocks noGrp="1"/>
          </p:cNvSpPr>
          <p:nvPr>
            <p:ph type="title"/>
          </p:nvPr>
        </p:nvSpPr>
        <p:spPr>
          <a:xfrm>
            <a:off x="504001" y="504000"/>
            <a:ext cx="11186476" cy="369332"/>
          </a:xfrm>
        </p:spPr>
        <p:txBody>
          <a:bodyPr/>
          <a:lstStyle/>
          <a:p>
            <a:r>
              <a:rPr lang="de-DE" sz="2400" u="sng" dirty="0">
                <a:effectLst/>
              </a:rPr>
              <a:t>SAP </a:t>
            </a:r>
            <a:r>
              <a:rPr lang="de-DE" sz="2400" u="sng" dirty="0" err="1">
                <a:effectLst/>
              </a:rPr>
              <a:t>Advanced</a:t>
            </a:r>
            <a:r>
              <a:rPr lang="de-DE" sz="2400" u="sng" dirty="0">
                <a:effectLst/>
              </a:rPr>
              <a:t> Event Mesh REST – API</a:t>
            </a:r>
            <a:endParaRPr lang="en-DE" dirty="0"/>
          </a:p>
        </p:txBody>
      </p:sp>
      <p:sp>
        <p:nvSpPr>
          <p:cNvPr id="6" name="TextBox 5">
            <a:extLst>
              <a:ext uri="{FF2B5EF4-FFF2-40B4-BE49-F238E27FC236}">
                <a16:creationId xmlns:a16="http://schemas.microsoft.com/office/drawing/2014/main" id="{8EE6FE3A-2F4E-4D62-D3EE-DF22743E2FBC}"/>
              </a:ext>
            </a:extLst>
          </p:cNvPr>
          <p:cNvSpPr txBox="1"/>
          <p:nvPr/>
        </p:nvSpPr>
        <p:spPr>
          <a:xfrm>
            <a:off x="6366484" y="504000"/>
            <a:ext cx="6098458" cy="400110"/>
          </a:xfrm>
          <a:prstGeom prst="rect">
            <a:avLst/>
          </a:prstGeom>
          <a:noFill/>
        </p:spPr>
        <p:txBody>
          <a:bodyPr wrap="square">
            <a:spAutoFit/>
          </a:bodyPr>
          <a:lstStyle/>
          <a:p>
            <a:pPr marL="342900" indent="-342900">
              <a:buFont typeface="Arial" panose="020B0604020202020204" pitchFamily="34" charset="0"/>
              <a:buChar char="•"/>
            </a:pPr>
            <a:r>
              <a:rPr lang="en-US" sz="1000" dirty="0"/>
              <a:t>v1/v0 — Legacy versions of the REST APIs</a:t>
            </a:r>
          </a:p>
          <a:p>
            <a:pPr marL="342900" indent="-342900">
              <a:buFont typeface="Arial" panose="020B0604020202020204" pitchFamily="34" charset="0"/>
              <a:buChar char="•"/>
            </a:pPr>
            <a:r>
              <a:rPr lang="en-US" sz="1000" dirty="0"/>
              <a:t>v2— the current (and more modern) v2 REST APIs (focused on)</a:t>
            </a:r>
            <a:endParaRPr lang="en-DE" sz="1000" dirty="0"/>
          </a:p>
        </p:txBody>
      </p:sp>
      <p:sp>
        <p:nvSpPr>
          <p:cNvPr id="4" name="TextBox 3">
            <a:extLst>
              <a:ext uri="{FF2B5EF4-FFF2-40B4-BE49-F238E27FC236}">
                <a16:creationId xmlns:a16="http://schemas.microsoft.com/office/drawing/2014/main" id="{CBB8D78C-5F99-A84B-1F89-F1F38A93A97A}"/>
              </a:ext>
            </a:extLst>
          </p:cNvPr>
          <p:cNvSpPr txBox="1"/>
          <p:nvPr/>
        </p:nvSpPr>
        <p:spPr>
          <a:xfrm>
            <a:off x="504000" y="958311"/>
            <a:ext cx="11020732" cy="830997"/>
          </a:xfrm>
          <a:prstGeom prst="rect">
            <a:avLst/>
          </a:prstGeom>
          <a:noFill/>
        </p:spPr>
        <p:txBody>
          <a:bodyPr wrap="square">
            <a:spAutoFit/>
          </a:bodyPr>
          <a:lstStyle/>
          <a:p>
            <a:r>
              <a:rPr lang="en-US" sz="1200" u="sng" dirty="0">
                <a:latin typeface="+mn-lt"/>
              </a:rPr>
              <a:t>GET BASE URL</a:t>
            </a:r>
          </a:p>
          <a:p>
            <a:pPr marL="171450" indent="-171450">
              <a:buFont typeface="Arial" panose="020B0604020202020204" pitchFamily="34" charset="0"/>
              <a:buChar char="•"/>
            </a:pPr>
            <a:r>
              <a:rPr lang="en-US" sz="1200" dirty="0">
                <a:latin typeface="+mn-lt"/>
              </a:rPr>
              <a:t>Set up on a per-region basis using the following format: https://</a:t>
            </a:r>
            <a:r>
              <a:rPr lang="en-US" sz="1200" dirty="0">
                <a:solidFill>
                  <a:schemeClr val="tx2"/>
                </a:solidFill>
                <a:latin typeface="+mn-lt"/>
              </a:rPr>
              <a:t>&lt;region&gt;</a:t>
            </a:r>
            <a:r>
              <a:rPr lang="en-US" sz="1200" dirty="0">
                <a:latin typeface="+mn-lt"/>
              </a:rPr>
              <a:t>.console.pubsub.em.services.cloud.sap?xyz </a:t>
            </a:r>
            <a:r>
              <a:rPr lang="en-US" sz="1200" dirty="0">
                <a:latin typeface="+mn-lt"/>
                <a:sym typeface="Wingdings" panose="05000000000000000000" pitchFamily="2" charset="2"/>
              </a:rPr>
              <a:t> </a:t>
            </a:r>
          </a:p>
          <a:p>
            <a:pPr marL="171450" indent="-171450">
              <a:buFont typeface="Arial" panose="020B0604020202020204" pitchFamily="34" charset="0"/>
              <a:buChar char="•"/>
            </a:pPr>
            <a:r>
              <a:rPr lang="en-US" sz="1200" dirty="0">
                <a:latin typeface="+mn-lt"/>
              </a:rPr>
              <a:t>Example: Region </a:t>
            </a:r>
            <a:r>
              <a:rPr lang="en-US" sz="1200" dirty="0">
                <a:solidFill>
                  <a:srgbClr val="1B90FF"/>
                </a:solidFill>
                <a:latin typeface="+mn-lt"/>
              </a:rPr>
              <a:t>eu10</a:t>
            </a:r>
            <a:r>
              <a:rPr lang="en-US" sz="1200" dirty="0">
                <a:latin typeface="+mn-lt"/>
              </a:rPr>
              <a:t> </a:t>
            </a:r>
            <a:r>
              <a:rPr lang="en-US" sz="1200" dirty="0">
                <a:latin typeface="+mn-lt"/>
                <a:sym typeface="Wingdings" panose="05000000000000000000" pitchFamily="2" charset="2"/>
              </a:rPr>
              <a:t> </a:t>
            </a:r>
            <a:r>
              <a:rPr lang="en-US" sz="1200" dirty="0">
                <a:latin typeface="+mn-lt"/>
                <a:hlinkClick r:id="rId3"/>
              </a:rPr>
              <a:t>https://</a:t>
            </a:r>
            <a:r>
              <a:rPr lang="en-US" sz="1200" dirty="0">
                <a:solidFill>
                  <a:srgbClr val="1B90FF"/>
                </a:solidFill>
                <a:latin typeface="+mn-lt"/>
                <a:hlinkClick r:id="rId3"/>
              </a:rPr>
              <a:t>eu10</a:t>
            </a:r>
            <a:r>
              <a:rPr lang="en-US" sz="1200" dirty="0">
                <a:latin typeface="+mn-lt"/>
                <a:hlinkClick r:id="rId3"/>
              </a:rPr>
              <a:t>.console.sap.pubsub.em.services.cloud.sap</a:t>
            </a:r>
            <a:endParaRPr lang="en-US" sz="1200" dirty="0">
              <a:latin typeface="+mn-lt"/>
            </a:endParaRPr>
          </a:p>
          <a:p>
            <a:endParaRPr lang="en-US" sz="1200" dirty="0"/>
          </a:p>
        </p:txBody>
      </p:sp>
      <p:graphicFrame>
        <p:nvGraphicFramePr>
          <p:cNvPr id="11" name="Table 10">
            <a:extLst>
              <a:ext uri="{FF2B5EF4-FFF2-40B4-BE49-F238E27FC236}">
                <a16:creationId xmlns:a16="http://schemas.microsoft.com/office/drawing/2014/main" id="{638B97E1-E191-820F-9F37-107756E904D0}"/>
              </a:ext>
            </a:extLst>
          </p:cNvPr>
          <p:cNvGraphicFramePr>
            <a:graphicFrameLocks noGrp="1"/>
          </p:cNvGraphicFramePr>
          <p:nvPr>
            <p:extLst>
              <p:ext uri="{D42A27DB-BD31-4B8C-83A1-F6EECF244321}">
                <p14:modId xmlns:p14="http://schemas.microsoft.com/office/powerpoint/2010/main" val="4071134407"/>
              </p:ext>
            </p:extLst>
          </p:nvPr>
        </p:nvGraphicFramePr>
        <p:xfrm>
          <a:off x="693174" y="2378687"/>
          <a:ext cx="10831558" cy="3921730"/>
        </p:xfrm>
        <a:graphic>
          <a:graphicData uri="http://schemas.openxmlformats.org/drawingml/2006/table">
            <a:tbl>
              <a:tblPr firstRow="1" bandRow="1">
                <a:tableStyleId>{9D7B26C5-4107-4FEC-AEDC-1716B250A1EF}</a:tableStyleId>
              </a:tblPr>
              <a:tblGrid>
                <a:gridCol w="5415779">
                  <a:extLst>
                    <a:ext uri="{9D8B030D-6E8A-4147-A177-3AD203B41FA5}">
                      <a16:colId xmlns:a16="http://schemas.microsoft.com/office/drawing/2014/main" val="3849697281"/>
                    </a:ext>
                  </a:extLst>
                </a:gridCol>
                <a:gridCol w="5415779">
                  <a:extLst>
                    <a:ext uri="{9D8B030D-6E8A-4147-A177-3AD203B41FA5}">
                      <a16:colId xmlns:a16="http://schemas.microsoft.com/office/drawing/2014/main" val="2275509310"/>
                    </a:ext>
                  </a:extLst>
                </a:gridCol>
              </a:tblGrid>
              <a:tr h="784346">
                <a:tc>
                  <a:txBody>
                    <a:bodyPr/>
                    <a:lstStyle/>
                    <a:p>
                      <a:r>
                        <a:rPr lang="de-DE" sz="1400" dirty="0" err="1"/>
                        <a:t>Function</a:t>
                      </a:r>
                      <a:endParaRPr lang="en-DE" sz="1400" dirty="0"/>
                    </a:p>
                  </a:txBody>
                  <a:tcPr anchor="ctr"/>
                </a:tc>
                <a:tc>
                  <a:txBody>
                    <a:bodyPr/>
                    <a:lstStyle/>
                    <a:p>
                      <a:r>
                        <a:rPr lang="de-DE" sz="1400" dirty="0" err="1"/>
                        <a:t>Example</a:t>
                      </a:r>
                      <a:endParaRPr lang="en-DE" sz="1400" dirty="0"/>
                    </a:p>
                  </a:txBody>
                  <a:tcPr anchor="ctr"/>
                </a:tc>
                <a:extLst>
                  <a:ext uri="{0D108BD9-81ED-4DB2-BD59-A6C34878D82A}">
                    <a16:rowId xmlns:a16="http://schemas.microsoft.com/office/drawing/2014/main" val="3470345357"/>
                  </a:ext>
                </a:extLst>
              </a:tr>
              <a:tr h="784346">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lang="en-US" sz="1400" dirty="0"/>
                        <a:t>Get list of all datacenters</a:t>
                      </a:r>
                    </a:p>
                  </a:txBody>
                  <a:tcPr anchor="ctr"/>
                </a:tc>
                <a:tc>
                  <a:txBody>
                    <a:bodyPr/>
                    <a:lstStyle/>
                    <a:p>
                      <a:endParaRPr lang="en-DE" sz="1400" dirty="0"/>
                    </a:p>
                  </a:txBody>
                  <a:tcPr anchor="ctr"/>
                </a:tc>
                <a:extLst>
                  <a:ext uri="{0D108BD9-81ED-4DB2-BD59-A6C34878D82A}">
                    <a16:rowId xmlns:a16="http://schemas.microsoft.com/office/drawing/2014/main" val="2298479671"/>
                  </a:ext>
                </a:extLst>
              </a:tr>
              <a:tr h="784346">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lang="de-DE" sz="1400" dirty="0" err="1"/>
                        <a:t>Get</a:t>
                      </a:r>
                      <a:r>
                        <a:rPr lang="de-DE" sz="1400" dirty="0"/>
                        <a:t> </a:t>
                      </a:r>
                      <a:r>
                        <a:rPr lang="de-DE" sz="1400" dirty="0" err="1"/>
                        <a:t>datacenters</a:t>
                      </a:r>
                      <a:r>
                        <a:rPr lang="de-DE" sz="1400" dirty="0"/>
                        <a:t> </a:t>
                      </a:r>
                      <a:r>
                        <a:rPr lang="de-DE" sz="1400" dirty="0" err="1"/>
                        <a:t>by</a:t>
                      </a:r>
                      <a:r>
                        <a:rPr lang="de-DE" sz="1400" dirty="0"/>
                        <a:t> ID</a:t>
                      </a:r>
                    </a:p>
                    <a:p>
                      <a:endParaRPr lang="en-DE" sz="1400" dirty="0"/>
                    </a:p>
                  </a:txBody>
                  <a:tcPr anchor="ctr"/>
                </a:tc>
                <a:tc>
                  <a:txBody>
                    <a:bodyPr/>
                    <a:lstStyle/>
                    <a:p>
                      <a:endParaRPr lang="en-DE" sz="1400" dirty="0"/>
                    </a:p>
                  </a:txBody>
                  <a:tcPr anchor="ctr"/>
                </a:tc>
                <a:extLst>
                  <a:ext uri="{0D108BD9-81ED-4DB2-BD59-A6C34878D82A}">
                    <a16:rowId xmlns:a16="http://schemas.microsoft.com/office/drawing/2014/main" val="2088787202"/>
                  </a:ext>
                </a:extLst>
              </a:tr>
              <a:tr h="784346">
                <a:tc>
                  <a:txBody>
                    <a:bodyPr/>
                    <a:lstStyle/>
                    <a:p>
                      <a:r>
                        <a:rPr lang="de-DE" sz="1400" dirty="0" err="1"/>
                        <a:t>Get</a:t>
                      </a:r>
                      <a:r>
                        <a:rPr lang="de-DE" sz="1400" dirty="0"/>
                        <a:t> Event Broker Services</a:t>
                      </a:r>
                      <a:endParaRPr lang="en-DE" sz="1400" dirty="0"/>
                    </a:p>
                  </a:txBody>
                  <a:tcPr anchor="ctr"/>
                </a:tc>
                <a:tc>
                  <a:txBody>
                    <a:bodyPr/>
                    <a:lstStyle/>
                    <a:p>
                      <a:endParaRPr lang="en-DE" sz="1400" dirty="0"/>
                    </a:p>
                  </a:txBody>
                  <a:tcPr anchor="ctr"/>
                </a:tc>
                <a:extLst>
                  <a:ext uri="{0D108BD9-81ED-4DB2-BD59-A6C34878D82A}">
                    <a16:rowId xmlns:a16="http://schemas.microsoft.com/office/drawing/2014/main" val="1693899606"/>
                  </a:ext>
                </a:extLst>
              </a:tr>
              <a:tr h="784346">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lang="de-DE" sz="1400" dirty="0"/>
                        <a:t>Create Event Broker Service</a:t>
                      </a:r>
                    </a:p>
                  </a:txBody>
                  <a:tcPr anchor="ctr"/>
                </a:tc>
                <a:tc>
                  <a:txBody>
                    <a:bodyPr/>
                    <a:lstStyle/>
                    <a:p>
                      <a:endParaRPr lang="en-DE" sz="1400" dirty="0"/>
                    </a:p>
                  </a:txBody>
                  <a:tcPr anchor="ctr"/>
                </a:tc>
                <a:extLst>
                  <a:ext uri="{0D108BD9-81ED-4DB2-BD59-A6C34878D82A}">
                    <a16:rowId xmlns:a16="http://schemas.microsoft.com/office/drawing/2014/main" val="2210541165"/>
                  </a:ext>
                </a:extLst>
              </a:tr>
            </a:tbl>
          </a:graphicData>
        </a:graphic>
      </p:graphicFrame>
      <p:pic>
        <p:nvPicPr>
          <p:cNvPr id="17" name="Picture 16">
            <a:extLst>
              <a:ext uri="{FF2B5EF4-FFF2-40B4-BE49-F238E27FC236}">
                <a16:creationId xmlns:a16="http://schemas.microsoft.com/office/drawing/2014/main" id="{68167202-A205-A79A-3BA0-AA8082E337B4}"/>
              </a:ext>
            </a:extLst>
          </p:cNvPr>
          <p:cNvPicPr>
            <a:picLocks noChangeAspect="1"/>
          </p:cNvPicPr>
          <p:nvPr/>
        </p:nvPicPr>
        <p:blipFill>
          <a:blip r:embed="rId4"/>
          <a:stretch>
            <a:fillRect/>
          </a:stretch>
        </p:blipFill>
        <p:spPr>
          <a:xfrm>
            <a:off x="6201804" y="3990211"/>
            <a:ext cx="911469" cy="720000"/>
          </a:xfrm>
          <a:prstGeom prst="rect">
            <a:avLst/>
          </a:prstGeom>
        </p:spPr>
      </p:pic>
      <p:pic>
        <p:nvPicPr>
          <p:cNvPr id="19" name="Picture 18">
            <a:extLst>
              <a:ext uri="{FF2B5EF4-FFF2-40B4-BE49-F238E27FC236}">
                <a16:creationId xmlns:a16="http://schemas.microsoft.com/office/drawing/2014/main" id="{352EAAAE-F846-EF82-942D-5E5A0C4E3CA7}"/>
              </a:ext>
            </a:extLst>
          </p:cNvPr>
          <p:cNvPicPr>
            <a:picLocks noChangeAspect="1"/>
          </p:cNvPicPr>
          <p:nvPr/>
        </p:nvPicPr>
        <p:blipFill>
          <a:blip r:embed="rId5"/>
          <a:stretch>
            <a:fillRect/>
          </a:stretch>
        </p:blipFill>
        <p:spPr>
          <a:xfrm>
            <a:off x="6201804" y="4775724"/>
            <a:ext cx="801308" cy="711884"/>
          </a:xfrm>
          <a:prstGeom prst="rect">
            <a:avLst/>
          </a:prstGeom>
        </p:spPr>
      </p:pic>
      <p:pic>
        <p:nvPicPr>
          <p:cNvPr id="21" name="Picture 20">
            <a:extLst>
              <a:ext uri="{FF2B5EF4-FFF2-40B4-BE49-F238E27FC236}">
                <a16:creationId xmlns:a16="http://schemas.microsoft.com/office/drawing/2014/main" id="{3363FB4E-EC86-8EDC-BC48-7CC51267AE15}"/>
              </a:ext>
            </a:extLst>
          </p:cNvPr>
          <p:cNvPicPr>
            <a:picLocks noChangeAspect="1"/>
          </p:cNvPicPr>
          <p:nvPr/>
        </p:nvPicPr>
        <p:blipFill>
          <a:blip r:embed="rId6"/>
          <a:stretch>
            <a:fillRect/>
          </a:stretch>
        </p:blipFill>
        <p:spPr>
          <a:xfrm>
            <a:off x="6228471" y="5599990"/>
            <a:ext cx="1549281" cy="603549"/>
          </a:xfrm>
          <a:prstGeom prst="rect">
            <a:avLst/>
          </a:prstGeom>
        </p:spPr>
      </p:pic>
      <p:sp>
        <p:nvSpPr>
          <p:cNvPr id="23" name="TextBox 22">
            <a:extLst>
              <a:ext uri="{FF2B5EF4-FFF2-40B4-BE49-F238E27FC236}">
                <a16:creationId xmlns:a16="http://schemas.microsoft.com/office/drawing/2014/main" id="{F1280E9C-B8FD-C8F1-3CBE-099795122888}"/>
              </a:ext>
            </a:extLst>
          </p:cNvPr>
          <p:cNvSpPr txBox="1"/>
          <p:nvPr/>
        </p:nvSpPr>
        <p:spPr>
          <a:xfrm>
            <a:off x="504000" y="1848090"/>
            <a:ext cx="8395519" cy="276999"/>
          </a:xfrm>
          <a:prstGeom prst="rect">
            <a:avLst/>
          </a:prstGeom>
          <a:noFill/>
        </p:spPr>
        <p:txBody>
          <a:bodyPr wrap="square">
            <a:spAutoFit/>
          </a:bodyPr>
          <a:lstStyle/>
          <a:p>
            <a:pPr marL="171450" indent="-171450">
              <a:buFont typeface="Arial" panose="020B0604020202020204" pitchFamily="34" charset="0"/>
              <a:buChar char="•"/>
            </a:pPr>
            <a:r>
              <a:rPr lang="en-US" sz="1200" dirty="0">
                <a:latin typeface="+mn-lt"/>
              </a:rPr>
              <a:t>Full API Reference: </a:t>
            </a:r>
            <a:r>
              <a:rPr lang="de-DE" sz="1200" b="0" i="0" u="sng" dirty="0">
                <a:effectLst/>
                <a:latin typeface="+mn-lt"/>
                <a:hlinkClick r:id="rId7">
                  <a:extLst>
                    <a:ext uri="{A12FA001-AC4F-418D-AE19-62706E023703}">
                      <ahyp:hlinkClr xmlns:ahyp="http://schemas.microsoft.com/office/drawing/2018/hyperlinkcolor" val="tx"/>
                    </a:ext>
                  </a:extLst>
                </a:hlinkClick>
              </a:rPr>
              <a:t>REST API(v2) Reference</a:t>
            </a:r>
            <a:endParaRPr lang="de-DE" sz="1200" b="0" i="0" u="sng" dirty="0">
              <a:effectLst/>
              <a:latin typeface="+mn-lt"/>
            </a:endParaRPr>
          </a:p>
        </p:txBody>
      </p:sp>
      <p:pic>
        <p:nvPicPr>
          <p:cNvPr id="7" name="Picture 6">
            <a:extLst>
              <a:ext uri="{FF2B5EF4-FFF2-40B4-BE49-F238E27FC236}">
                <a16:creationId xmlns:a16="http://schemas.microsoft.com/office/drawing/2014/main" id="{E20D4F1C-86D3-AB64-7B43-86468CE74709}"/>
              </a:ext>
            </a:extLst>
          </p:cNvPr>
          <p:cNvPicPr>
            <a:picLocks noChangeAspect="1"/>
          </p:cNvPicPr>
          <p:nvPr/>
        </p:nvPicPr>
        <p:blipFill>
          <a:blip r:embed="rId8"/>
          <a:stretch>
            <a:fillRect/>
          </a:stretch>
        </p:blipFill>
        <p:spPr>
          <a:xfrm>
            <a:off x="6228473" y="3191709"/>
            <a:ext cx="817978" cy="720000"/>
          </a:xfrm>
          <a:prstGeom prst="rect">
            <a:avLst/>
          </a:prstGeom>
        </p:spPr>
      </p:pic>
    </p:spTree>
    <p:extLst>
      <p:ext uri="{BB962C8B-B14F-4D97-AF65-F5344CB8AC3E}">
        <p14:creationId xmlns:p14="http://schemas.microsoft.com/office/powerpoint/2010/main" val="4185357207"/>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2B06C18-9FE0-3F78-0D62-DF3430C695BD}"/>
              </a:ext>
            </a:extLst>
          </p:cNvPr>
          <p:cNvSpPr>
            <a:spLocks noGrp="1"/>
          </p:cNvSpPr>
          <p:nvPr>
            <p:ph type="title"/>
          </p:nvPr>
        </p:nvSpPr>
        <p:spPr>
          <a:xfrm>
            <a:off x="504001" y="504000"/>
            <a:ext cx="11186476" cy="369332"/>
          </a:xfrm>
        </p:spPr>
        <p:txBody>
          <a:bodyPr/>
          <a:lstStyle/>
          <a:p>
            <a:r>
              <a:rPr lang="de-DE" sz="2400" u="sng" dirty="0">
                <a:effectLst/>
                <a:latin typeface="72" panose="020B0503030000000003" pitchFamily="34" charset="0"/>
                <a:cs typeface="72" panose="020B0503030000000003" pitchFamily="34" charset="0"/>
              </a:rPr>
              <a:t>SEMP(v2)</a:t>
            </a:r>
            <a:endParaRPr lang="en-DE" dirty="0">
              <a:latin typeface="72" panose="020B0503030000000003" pitchFamily="34" charset="0"/>
              <a:cs typeface="72" panose="020B0503030000000003" pitchFamily="34" charset="0"/>
            </a:endParaRPr>
          </a:p>
        </p:txBody>
      </p:sp>
      <p:graphicFrame>
        <p:nvGraphicFramePr>
          <p:cNvPr id="11" name="Table 10">
            <a:extLst>
              <a:ext uri="{FF2B5EF4-FFF2-40B4-BE49-F238E27FC236}">
                <a16:creationId xmlns:a16="http://schemas.microsoft.com/office/drawing/2014/main" id="{638B97E1-E191-820F-9F37-107756E904D0}"/>
              </a:ext>
            </a:extLst>
          </p:cNvPr>
          <p:cNvGraphicFramePr>
            <a:graphicFrameLocks noGrp="1"/>
          </p:cNvGraphicFramePr>
          <p:nvPr>
            <p:extLst>
              <p:ext uri="{D42A27DB-BD31-4B8C-83A1-F6EECF244321}">
                <p14:modId xmlns:p14="http://schemas.microsoft.com/office/powerpoint/2010/main" val="4135374946"/>
              </p:ext>
            </p:extLst>
          </p:nvPr>
        </p:nvGraphicFramePr>
        <p:xfrm>
          <a:off x="693174" y="2378687"/>
          <a:ext cx="10831558" cy="3137384"/>
        </p:xfrm>
        <a:graphic>
          <a:graphicData uri="http://schemas.openxmlformats.org/drawingml/2006/table">
            <a:tbl>
              <a:tblPr firstRow="1" bandRow="1">
                <a:tableStyleId>{9D7B26C5-4107-4FEC-AEDC-1716B250A1EF}</a:tableStyleId>
              </a:tblPr>
              <a:tblGrid>
                <a:gridCol w="5415779">
                  <a:extLst>
                    <a:ext uri="{9D8B030D-6E8A-4147-A177-3AD203B41FA5}">
                      <a16:colId xmlns:a16="http://schemas.microsoft.com/office/drawing/2014/main" val="3849697281"/>
                    </a:ext>
                  </a:extLst>
                </a:gridCol>
                <a:gridCol w="5415779">
                  <a:extLst>
                    <a:ext uri="{9D8B030D-6E8A-4147-A177-3AD203B41FA5}">
                      <a16:colId xmlns:a16="http://schemas.microsoft.com/office/drawing/2014/main" val="2275509310"/>
                    </a:ext>
                  </a:extLst>
                </a:gridCol>
              </a:tblGrid>
              <a:tr h="784346">
                <a:tc>
                  <a:txBody>
                    <a:bodyPr/>
                    <a:lstStyle/>
                    <a:p>
                      <a:r>
                        <a:rPr lang="de-DE" sz="1400" dirty="0" err="1"/>
                        <a:t>Function</a:t>
                      </a:r>
                      <a:endParaRPr lang="en-DE" sz="1400" dirty="0"/>
                    </a:p>
                  </a:txBody>
                  <a:tcPr anchor="ctr"/>
                </a:tc>
                <a:tc>
                  <a:txBody>
                    <a:bodyPr/>
                    <a:lstStyle/>
                    <a:p>
                      <a:r>
                        <a:rPr lang="de-DE" sz="1400" dirty="0" err="1"/>
                        <a:t>Example</a:t>
                      </a:r>
                      <a:endParaRPr lang="en-DE" sz="1400" dirty="0"/>
                    </a:p>
                  </a:txBody>
                  <a:tcPr anchor="ctr"/>
                </a:tc>
                <a:extLst>
                  <a:ext uri="{0D108BD9-81ED-4DB2-BD59-A6C34878D82A}">
                    <a16:rowId xmlns:a16="http://schemas.microsoft.com/office/drawing/2014/main" val="3470345357"/>
                  </a:ext>
                </a:extLst>
              </a:tr>
              <a:tr h="784346">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lang="en-US" sz="1400" dirty="0"/>
                        <a:t>Get a list of Message VPN objects</a:t>
                      </a:r>
                    </a:p>
                  </a:txBody>
                  <a:tcPr anchor="ctr"/>
                </a:tc>
                <a:tc>
                  <a:txBody>
                    <a:bodyPr/>
                    <a:lstStyle/>
                    <a:p>
                      <a:endParaRPr lang="en-DE" sz="1400" dirty="0"/>
                    </a:p>
                  </a:txBody>
                  <a:tcPr anchor="ctr"/>
                </a:tc>
                <a:extLst>
                  <a:ext uri="{0D108BD9-81ED-4DB2-BD59-A6C34878D82A}">
                    <a16:rowId xmlns:a16="http://schemas.microsoft.com/office/drawing/2014/main" val="2298479671"/>
                  </a:ext>
                </a:extLst>
              </a:tr>
              <a:tr h="784346">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lang="en-US" sz="1400" dirty="0"/>
                        <a:t>Get a list of Queue objects</a:t>
                      </a:r>
                      <a:endParaRPr lang="de-DE" sz="1400" dirty="0"/>
                    </a:p>
                    <a:p>
                      <a:endParaRPr lang="en-DE" sz="1400" dirty="0"/>
                    </a:p>
                  </a:txBody>
                  <a:tcPr anchor="ctr"/>
                </a:tc>
                <a:tc>
                  <a:txBody>
                    <a:bodyPr/>
                    <a:lstStyle/>
                    <a:p>
                      <a:endParaRPr lang="en-DE" sz="1400" dirty="0"/>
                    </a:p>
                  </a:txBody>
                  <a:tcPr anchor="ctr"/>
                </a:tc>
                <a:extLst>
                  <a:ext uri="{0D108BD9-81ED-4DB2-BD59-A6C34878D82A}">
                    <a16:rowId xmlns:a16="http://schemas.microsoft.com/office/drawing/2014/main" val="2088787202"/>
                  </a:ext>
                </a:extLst>
              </a:tr>
              <a:tr h="784346">
                <a:tc>
                  <a:txBody>
                    <a:bodyPr/>
                    <a:lstStyle/>
                    <a:p>
                      <a:r>
                        <a:rPr lang="en-US" sz="1400" dirty="0"/>
                        <a:t>Get a list of Queue Message objects</a:t>
                      </a:r>
                      <a:endParaRPr lang="en-DE" sz="1400" dirty="0"/>
                    </a:p>
                  </a:txBody>
                  <a:tcPr anchor="ctr"/>
                </a:tc>
                <a:tc>
                  <a:txBody>
                    <a:bodyPr/>
                    <a:lstStyle/>
                    <a:p>
                      <a:endParaRPr lang="en-DE" sz="1400" dirty="0"/>
                    </a:p>
                  </a:txBody>
                  <a:tcPr anchor="ctr"/>
                </a:tc>
                <a:extLst>
                  <a:ext uri="{0D108BD9-81ED-4DB2-BD59-A6C34878D82A}">
                    <a16:rowId xmlns:a16="http://schemas.microsoft.com/office/drawing/2014/main" val="1693899606"/>
                  </a:ext>
                </a:extLst>
              </a:tr>
            </a:tbl>
          </a:graphicData>
        </a:graphic>
      </p:graphicFrame>
      <p:pic>
        <p:nvPicPr>
          <p:cNvPr id="17" name="Picture 16">
            <a:extLst>
              <a:ext uri="{FF2B5EF4-FFF2-40B4-BE49-F238E27FC236}">
                <a16:creationId xmlns:a16="http://schemas.microsoft.com/office/drawing/2014/main" id="{68167202-A205-A79A-3BA0-AA8082E337B4}"/>
              </a:ext>
            </a:extLst>
          </p:cNvPr>
          <p:cNvPicPr>
            <a:picLocks noChangeAspect="1"/>
          </p:cNvPicPr>
          <p:nvPr/>
        </p:nvPicPr>
        <p:blipFill>
          <a:blip r:embed="rId3"/>
          <a:srcRect/>
          <a:stretch/>
        </p:blipFill>
        <p:spPr>
          <a:xfrm>
            <a:off x="6201804" y="4003685"/>
            <a:ext cx="911469" cy="693052"/>
          </a:xfrm>
          <a:prstGeom prst="rect">
            <a:avLst/>
          </a:prstGeom>
        </p:spPr>
      </p:pic>
      <p:pic>
        <p:nvPicPr>
          <p:cNvPr id="19" name="Picture 18">
            <a:extLst>
              <a:ext uri="{FF2B5EF4-FFF2-40B4-BE49-F238E27FC236}">
                <a16:creationId xmlns:a16="http://schemas.microsoft.com/office/drawing/2014/main" id="{352EAAAE-F846-EF82-942D-5E5A0C4E3CA7}"/>
              </a:ext>
            </a:extLst>
          </p:cNvPr>
          <p:cNvPicPr>
            <a:picLocks noChangeAspect="1"/>
          </p:cNvPicPr>
          <p:nvPr/>
        </p:nvPicPr>
        <p:blipFill>
          <a:blip r:embed="rId4"/>
          <a:srcRect/>
          <a:stretch/>
        </p:blipFill>
        <p:spPr>
          <a:xfrm>
            <a:off x="6201804" y="4831545"/>
            <a:ext cx="801308" cy="600241"/>
          </a:xfrm>
          <a:prstGeom prst="rect">
            <a:avLst/>
          </a:prstGeom>
        </p:spPr>
      </p:pic>
      <p:pic>
        <p:nvPicPr>
          <p:cNvPr id="7" name="Picture 6">
            <a:extLst>
              <a:ext uri="{FF2B5EF4-FFF2-40B4-BE49-F238E27FC236}">
                <a16:creationId xmlns:a16="http://schemas.microsoft.com/office/drawing/2014/main" id="{E20D4F1C-86D3-AB64-7B43-86468CE74709}"/>
              </a:ext>
            </a:extLst>
          </p:cNvPr>
          <p:cNvPicPr>
            <a:picLocks noChangeAspect="1"/>
          </p:cNvPicPr>
          <p:nvPr/>
        </p:nvPicPr>
        <p:blipFill>
          <a:blip r:embed="rId5"/>
          <a:srcRect/>
          <a:stretch/>
        </p:blipFill>
        <p:spPr>
          <a:xfrm>
            <a:off x="6228473" y="3246099"/>
            <a:ext cx="817978" cy="611219"/>
          </a:xfrm>
          <a:prstGeom prst="rect">
            <a:avLst/>
          </a:prstGeom>
        </p:spPr>
      </p:pic>
      <p:sp>
        <p:nvSpPr>
          <p:cNvPr id="13" name="TextBox 12">
            <a:extLst>
              <a:ext uri="{FF2B5EF4-FFF2-40B4-BE49-F238E27FC236}">
                <a16:creationId xmlns:a16="http://schemas.microsoft.com/office/drawing/2014/main" id="{A99C30EC-C1C2-847F-9D53-3387BCDD9E4F}"/>
              </a:ext>
            </a:extLst>
          </p:cNvPr>
          <p:cNvSpPr txBox="1"/>
          <p:nvPr/>
        </p:nvSpPr>
        <p:spPr>
          <a:xfrm>
            <a:off x="561538" y="1401323"/>
            <a:ext cx="6096000" cy="830997"/>
          </a:xfrm>
          <a:prstGeom prst="rect">
            <a:avLst/>
          </a:prstGeom>
          <a:noFill/>
        </p:spPr>
        <p:txBody>
          <a:bodyPr wrap="square">
            <a:spAutoFit/>
          </a:bodyPr>
          <a:lstStyle/>
          <a:p>
            <a:pPr algn="l"/>
            <a:r>
              <a:rPr lang="en-US" sz="1200" b="0" i="0" u="sng" dirty="0">
                <a:solidFill>
                  <a:srgbClr val="475E75"/>
                </a:solidFill>
                <a:effectLst/>
                <a:latin typeface="72" panose="020B0503030000000003" pitchFamily="34" charset="0"/>
                <a:cs typeface="72" panose="020B0503030000000003" pitchFamily="34" charset="0"/>
              </a:rPr>
              <a:t>Full API Reference:</a:t>
            </a:r>
            <a:endParaRPr lang="en-US" sz="1200" b="0" i="0" dirty="0">
              <a:solidFill>
                <a:srgbClr val="475E75"/>
              </a:solidFill>
              <a:effectLst/>
              <a:latin typeface="72" panose="020B0503030000000003" pitchFamily="34" charset="0"/>
              <a:cs typeface="72" panose="020B0503030000000003" pitchFamily="34" charset="0"/>
            </a:endParaRPr>
          </a:p>
          <a:p>
            <a:pPr marL="171450" indent="-171450" algn="l">
              <a:buFont typeface="Arial" panose="020B0604020202020204" pitchFamily="34" charset="0"/>
              <a:buChar char="•"/>
            </a:pPr>
            <a:r>
              <a:rPr lang="en-US" sz="1200" b="0" i="0" u="sng" dirty="0">
                <a:solidFill>
                  <a:srgbClr val="0070F2"/>
                </a:solidFill>
                <a:effectLst/>
                <a:latin typeface="72" panose="020B0503030000000003" pitchFamily="34" charset="0"/>
                <a:cs typeface="72" panose="020B0503030000000003" pitchFamily="34" charset="0"/>
                <a:hlinkClick r:id="rId6"/>
              </a:rPr>
              <a:t>Configuration Reference</a:t>
            </a:r>
            <a:r>
              <a:rPr lang="en-US" sz="1200" b="0" i="0" dirty="0">
                <a:solidFill>
                  <a:srgbClr val="475E75"/>
                </a:solidFill>
                <a:effectLst/>
                <a:latin typeface="72" panose="020B0503030000000003" pitchFamily="34" charset="0"/>
                <a:cs typeface="72" panose="020B0503030000000003" pitchFamily="34" charset="0"/>
              </a:rPr>
              <a:t> </a:t>
            </a:r>
          </a:p>
          <a:p>
            <a:pPr marL="171450" indent="-171450" algn="l">
              <a:buFont typeface="Arial" panose="020B0604020202020204" pitchFamily="34" charset="0"/>
              <a:buChar char="•"/>
            </a:pPr>
            <a:r>
              <a:rPr lang="en-US" sz="1200" b="0" i="0" u="sng" dirty="0">
                <a:solidFill>
                  <a:srgbClr val="223548"/>
                </a:solidFill>
                <a:effectLst/>
                <a:latin typeface="72" panose="020B0503030000000003" pitchFamily="34" charset="0"/>
                <a:cs typeface="72" panose="020B0503030000000003" pitchFamily="34" charset="0"/>
                <a:hlinkClick r:id="rId7"/>
              </a:rPr>
              <a:t>Action Reference</a:t>
            </a:r>
            <a:r>
              <a:rPr lang="en-US" sz="1200" b="0" i="0" dirty="0">
                <a:solidFill>
                  <a:srgbClr val="475E75"/>
                </a:solidFill>
                <a:effectLst/>
                <a:latin typeface="72" panose="020B0503030000000003" pitchFamily="34" charset="0"/>
                <a:cs typeface="72" panose="020B0503030000000003" pitchFamily="34" charset="0"/>
              </a:rPr>
              <a:t> </a:t>
            </a:r>
          </a:p>
          <a:p>
            <a:pPr marL="171450" indent="-171450" algn="l">
              <a:buFont typeface="Arial" panose="020B0604020202020204" pitchFamily="34" charset="0"/>
              <a:buChar char="•"/>
            </a:pPr>
            <a:r>
              <a:rPr lang="en-US" sz="1200" b="0" i="0" u="sng" dirty="0">
                <a:solidFill>
                  <a:srgbClr val="0070F2"/>
                </a:solidFill>
                <a:effectLst/>
                <a:latin typeface="72" panose="020B0503030000000003" pitchFamily="34" charset="0"/>
                <a:cs typeface="72" panose="020B0503030000000003" pitchFamily="34" charset="0"/>
                <a:hlinkClick r:id="rId8"/>
              </a:rPr>
              <a:t>Monitor Reference</a:t>
            </a:r>
            <a:r>
              <a:rPr lang="en-US" sz="1200" b="0" i="0" dirty="0">
                <a:solidFill>
                  <a:srgbClr val="475E75"/>
                </a:solidFill>
                <a:effectLst/>
                <a:latin typeface="72" panose="020B0503030000000003" pitchFamily="34" charset="0"/>
                <a:cs typeface="72" panose="020B0503030000000003" pitchFamily="34" charset="0"/>
              </a:rPr>
              <a:t> </a:t>
            </a:r>
          </a:p>
        </p:txBody>
      </p:sp>
      <p:sp>
        <p:nvSpPr>
          <p:cNvPr id="18" name="TextBox 17">
            <a:extLst>
              <a:ext uri="{FF2B5EF4-FFF2-40B4-BE49-F238E27FC236}">
                <a16:creationId xmlns:a16="http://schemas.microsoft.com/office/drawing/2014/main" id="{C392282B-FCE0-C986-F028-62AA3A3716A8}"/>
              </a:ext>
            </a:extLst>
          </p:cNvPr>
          <p:cNvSpPr txBox="1"/>
          <p:nvPr/>
        </p:nvSpPr>
        <p:spPr>
          <a:xfrm>
            <a:off x="561537" y="906495"/>
            <a:ext cx="6783159" cy="276999"/>
          </a:xfrm>
          <a:prstGeom prst="rect">
            <a:avLst/>
          </a:prstGeom>
          <a:noFill/>
        </p:spPr>
        <p:txBody>
          <a:bodyPr wrap="square">
            <a:spAutoFit/>
          </a:bodyPr>
          <a:lstStyle/>
          <a:p>
            <a:pPr marL="171450" indent="-171450" rtl="0" fontAlgn="ctr">
              <a:spcBef>
                <a:spcPts val="0"/>
              </a:spcBef>
              <a:spcAft>
                <a:spcPts val="0"/>
              </a:spcAft>
              <a:buFont typeface="Arial" panose="020B0604020202020204" pitchFamily="34" charset="0"/>
              <a:buChar char="•"/>
            </a:pPr>
            <a:r>
              <a:rPr lang="en-US" sz="1200" dirty="0">
                <a:latin typeface="72" panose="020B0503030000000003" pitchFamily="34" charset="0"/>
                <a:cs typeface="72" panose="020B0503030000000003" pitchFamily="34" charset="0"/>
              </a:rPr>
              <a:t>This Rest based API can be used for provision, operate, and maintain a single SAP Event Broker</a:t>
            </a:r>
          </a:p>
        </p:txBody>
      </p:sp>
    </p:spTree>
    <p:extLst>
      <p:ext uri="{BB962C8B-B14F-4D97-AF65-F5344CB8AC3E}">
        <p14:creationId xmlns:p14="http://schemas.microsoft.com/office/powerpoint/2010/main" val="2359179321"/>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2B06C18-9FE0-3F78-0D62-DF3430C695BD}"/>
              </a:ext>
            </a:extLst>
          </p:cNvPr>
          <p:cNvSpPr>
            <a:spLocks noGrp="1"/>
          </p:cNvSpPr>
          <p:nvPr>
            <p:ph type="title"/>
          </p:nvPr>
        </p:nvSpPr>
        <p:spPr>
          <a:xfrm>
            <a:off x="504001" y="504000"/>
            <a:ext cx="11186476" cy="1477328"/>
          </a:xfrm>
        </p:spPr>
        <p:txBody>
          <a:bodyPr/>
          <a:lstStyle/>
          <a:p>
            <a:r>
              <a:rPr lang="de-DE" sz="2400" u="sng" dirty="0">
                <a:effectLst/>
                <a:latin typeface="72" panose="020B0503030000000003" pitchFamily="34" charset="0"/>
                <a:cs typeface="72" panose="020B0503030000000003" pitchFamily="34" charset="0"/>
              </a:rPr>
              <a:t>Open APIs - </a:t>
            </a:r>
            <a:r>
              <a:rPr lang="en-US" sz="2400" u="sng" dirty="0">
                <a:effectLst/>
                <a:latin typeface="72" panose="020B0503030000000003" pitchFamily="34" charset="0"/>
                <a:cs typeface="72" panose="020B0503030000000003" pitchFamily="34" charset="0"/>
              </a:rPr>
              <a:t>REST</a:t>
            </a:r>
            <a:br>
              <a:rPr lang="en-US" sz="2400" u="sng" dirty="0">
                <a:effectLst/>
                <a:latin typeface="72" panose="020B0503030000000003" pitchFamily="34" charset="0"/>
                <a:cs typeface="72" panose="020B0503030000000003" pitchFamily="34" charset="0"/>
              </a:rPr>
            </a:br>
            <a:br>
              <a:rPr lang="en-US" sz="2400" u="sng" dirty="0">
                <a:effectLst/>
                <a:latin typeface="72" panose="020B0503030000000003" pitchFamily="34" charset="0"/>
                <a:cs typeface="72" panose="020B0503030000000003" pitchFamily="34" charset="0"/>
              </a:rPr>
            </a:br>
            <a:br>
              <a:rPr lang="de-DE" sz="2400" u="sng" dirty="0">
                <a:effectLst/>
                <a:latin typeface="72" panose="020B0503030000000003" pitchFamily="34" charset="0"/>
                <a:cs typeface="72" panose="020B0503030000000003" pitchFamily="34" charset="0"/>
              </a:rPr>
            </a:br>
            <a:endParaRPr lang="en-DE" dirty="0">
              <a:latin typeface="72" panose="020B0503030000000003" pitchFamily="34" charset="0"/>
              <a:cs typeface="72" panose="020B0503030000000003" pitchFamily="34" charset="0"/>
            </a:endParaRPr>
          </a:p>
        </p:txBody>
      </p:sp>
      <p:sp>
        <p:nvSpPr>
          <p:cNvPr id="13" name="TextBox 12">
            <a:extLst>
              <a:ext uri="{FF2B5EF4-FFF2-40B4-BE49-F238E27FC236}">
                <a16:creationId xmlns:a16="http://schemas.microsoft.com/office/drawing/2014/main" id="{A99C30EC-C1C2-847F-9D53-3387BCDD9E4F}"/>
              </a:ext>
            </a:extLst>
          </p:cNvPr>
          <p:cNvSpPr txBox="1"/>
          <p:nvPr/>
        </p:nvSpPr>
        <p:spPr>
          <a:xfrm>
            <a:off x="561537" y="1401323"/>
            <a:ext cx="7392759" cy="461665"/>
          </a:xfrm>
          <a:prstGeom prst="rect">
            <a:avLst/>
          </a:prstGeom>
          <a:noFill/>
        </p:spPr>
        <p:txBody>
          <a:bodyPr wrap="square">
            <a:spAutoFit/>
          </a:bodyPr>
          <a:lstStyle/>
          <a:p>
            <a:r>
              <a:rPr lang="en-US" sz="1200" dirty="0">
                <a:latin typeface="72" panose="020B0503030000000003" pitchFamily="34" charset="0"/>
                <a:cs typeface="72" panose="020B0503030000000003" pitchFamily="34" charset="0"/>
              </a:rPr>
              <a:t>No explicit example - Referring to the demo and configuration steps: </a:t>
            </a:r>
            <a:r>
              <a:rPr lang="en-US" sz="1200" dirty="0">
                <a:latin typeface="72" panose="020B0503030000000003" pitchFamily="34" charset="0"/>
                <a:cs typeface="72" panose="020B0503030000000003" pitchFamily="34" charset="0"/>
                <a:hlinkClick r:id="rId3">
                  <a:extLst>
                    <a:ext uri="{A12FA001-AC4F-418D-AE19-62706E023703}">
                      <ahyp:hlinkClr xmlns:ahyp="http://schemas.microsoft.com/office/drawing/2018/hyperlinkcolor" val="tx"/>
                    </a:ext>
                  </a:extLst>
                </a:hlinkClick>
              </a:rPr>
              <a:t>Publish / Subscribe with REST</a:t>
            </a:r>
            <a:r>
              <a:rPr lang="en-US" sz="1200" dirty="0">
                <a:latin typeface="72" panose="020B0503030000000003" pitchFamily="34" charset="0"/>
                <a:cs typeface="72" panose="020B0503030000000003" pitchFamily="34" charset="0"/>
              </a:rPr>
              <a:t> </a:t>
            </a:r>
          </a:p>
          <a:p>
            <a:pPr algn="l"/>
            <a:endParaRPr lang="en-US" sz="1200" b="0" i="0" dirty="0">
              <a:solidFill>
                <a:srgbClr val="475E75"/>
              </a:solidFill>
              <a:effectLst/>
              <a:latin typeface="72" panose="020B0503030000000003" pitchFamily="34" charset="0"/>
              <a:cs typeface="72" panose="020B0503030000000003" pitchFamily="34" charset="0"/>
            </a:endParaRPr>
          </a:p>
        </p:txBody>
      </p:sp>
      <p:sp>
        <p:nvSpPr>
          <p:cNvPr id="18" name="TextBox 17">
            <a:extLst>
              <a:ext uri="{FF2B5EF4-FFF2-40B4-BE49-F238E27FC236}">
                <a16:creationId xmlns:a16="http://schemas.microsoft.com/office/drawing/2014/main" id="{C392282B-FCE0-C986-F028-62AA3A3716A8}"/>
              </a:ext>
            </a:extLst>
          </p:cNvPr>
          <p:cNvSpPr txBox="1"/>
          <p:nvPr/>
        </p:nvSpPr>
        <p:spPr>
          <a:xfrm>
            <a:off x="561537" y="906495"/>
            <a:ext cx="6783159" cy="276999"/>
          </a:xfrm>
          <a:prstGeom prst="rect">
            <a:avLst/>
          </a:prstGeom>
          <a:noFill/>
        </p:spPr>
        <p:txBody>
          <a:bodyPr wrap="square">
            <a:spAutoFit/>
          </a:bodyPr>
          <a:lstStyle/>
          <a:p>
            <a:pPr marL="171450" indent="-171450" rtl="0" fontAlgn="ctr">
              <a:spcBef>
                <a:spcPts val="0"/>
              </a:spcBef>
              <a:spcAft>
                <a:spcPts val="0"/>
              </a:spcAft>
              <a:buFont typeface="Arial" panose="020B0604020202020204" pitchFamily="34" charset="0"/>
              <a:buChar char="•"/>
            </a:pPr>
            <a:r>
              <a:rPr lang="en-US" sz="1200" dirty="0">
                <a:latin typeface="72" panose="020B0503030000000003" pitchFamily="34" charset="0"/>
                <a:cs typeface="72" panose="020B0503030000000003" pitchFamily="34" charset="0"/>
              </a:rPr>
              <a:t>REST Messaging API enables HTTP clients to send and receive messages with an event broker</a:t>
            </a:r>
          </a:p>
        </p:txBody>
      </p:sp>
      <p:pic>
        <p:nvPicPr>
          <p:cNvPr id="8" name="Picture 7">
            <a:extLst>
              <a:ext uri="{FF2B5EF4-FFF2-40B4-BE49-F238E27FC236}">
                <a16:creationId xmlns:a16="http://schemas.microsoft.com/office/drawing/2014/main" id="{AD0E6E91-D543-7938-FD47-C997799F8EC1}"/>
              </a:ext>
            </a:extLst>
          </p:cNvPr>
          <p:cNvPicPr>
            <a:picLocks noChangeAspect="1"/>
          </p:cNvPicPr>
          <p:nvPr/>
        </p:nvPicPr>
        <p:blipFill>
          <a:blip r:embed="rId4"/>
          <a:stretch>
            <a:fillRect/>
          </a:stretch>
        </p:blipFill>
        <p:spPr>
          <a:xfrm>
            <a:off x="577498" y="2164245"/>
            <a:ext cx="6472232" cy="1805271"/>
          </a:xfrm>
          <a:prstGeom prst="rect">
            <a:avLst/>
          </a:prstGeom>
        </p:spPr>
      </p:pic>
      <p:pic>
        <p:nvPicPr>
          <p:cNvPr id="10" name="Picture 9">
            <a:extLst>
              <a:ext uri="{FF2B5EF4-FFF2-40B4-BE49-F238E27FC236}">
                <a16:creationId xmlns:a16="http://schemas.microsoft.com/office/drawing/2014/main" id="{69E5B9D9-D3A5-49BA-62AD-3BB4F251DC81}"/>
              </a:ext>
            </a:extLst>
          </p:cNvPr>
          <p:cNvPicPr>
            <a:picLocks noChangeAspect="1"/>
          </p:cNvPicPr>
          <p:nvPr/>
        </p:nvPicPr>
        <p:blipFill>
          <a:blip r:embed="rId5"/>
          <a:stretch>
            <a:fillRect/>
          </a:stretch>
        </p:blipFill>
        <p:spPr>
          <a:xfrm>
            <a:off x="7344697" y="3672124"/>
            <a:ext cx="4345780" cy="2755128"/>
          </a:xfrm>
          <a:prstGeom prst="rect">
            <a:avLst/>
          </a:prstGeom>
        </p:spPr>
      </p:pic>
      <p:pic>
        <p:nvPicPr>
          <p:cNvPr id="14" name="Picture 13">
            <a:extLst>
              <a:ext uri="{FF2B5EF4-FFF2-40B4-BE49-F238E27FC236}">
                <a16:creationId xmlns:a16="http://schemas.microsoft.com/office/drawing/2014/main" id="{8AA56B8F-5A51-9993-3A72-6BB1A0508F63}"/>
              </a:ext>
            </a:extLst>
          </p:cNvPr>
          <p:cNvPicPr>
            <a:picLocks noChangeAspect="1"/>
          </p:cNvPicPr>
          <p:nvPr/>
        </p:nvPicPr>
        <p:blipFill>
          <a:blip r:embed="rId6"/>
          <a:stretch>
            <a:fillRect/>
          </a:stretch>
        </p:blipFill>
        <p:spPr>
          <a:xfrm>
            <a:off x="674046" y="3969516"/>
            <a:ext cx="6279136" cy="1657174"/>
          </a:xfrm>
          <a:prstGeom prst="rect">
            <a:avLst/>
          </a:prstGeom>
        </p:spPr>
      </p:pic>
      <p:pic>
        <p:nvPicPr>
          <p:cNvPr id="16" name="Picture 15">
            <a:extLst>
              <a:ext uri="{FF2B5EF4-FFF2-40B4-BE49-F238E27FC236}">
                <a16:creationId xmlns:a16="http://schemas.microsoft.com/office/drawing/2014/main" id="{2FDAB921-9FC8-5974-8739-D0DCB2884780}"/>
              </a:ext>
            </a:extLst>
          </p:cNvPr>
          <p:cNvPicPr>
            <a:picLocks noChangeAspect="1"/>
          </p:cNvPicPr>
          <p:nvPr/>
        </p:nvPicPr>
        <p:blipFill>
          <a:blip r:embed="rId7"/>
          <a:stretch>
            <a:fillRect/>
          </a:stretch>
        </p:blipFill>
        <p:spPr>
          <a:xfrm>
            <a:off x="7344695" y="906495"/>
            <a:ext cx="4345781" cy="2713208"/>
          </a:xfrm>
          <a:prstGeom prst="rect">
            <a:avLst/>
          </a:prstGeom>
        </p:spPr>
      </p:pic>
    </p:spTree>
    <p:extLst>
      <p:ext uri="{BB962C8B-B14F-4D97-AF65-F5344CB8AC3E}">
        <p14:creationId xmlns:p14="http://schemas.microsoft.com/office/powerpoint/2010/main" val="3032859160"/>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022CA2D-9541-8B38-C6C0-58718718E9CC}"/>
            </a:ext>
          </a:extLst>
        </p:cNvPr>
        <p:cNvGrpSpPr/>
        <p:nvPr/>
      </p:nvGrpSpPr>
      <p:grpSpPr>
        <a:xfrm>
          <a:off x="0" y="0"/>
          <a:ext cx="0" cy="0"/>
          <a:chOff x="0" y="0"/>
          <a:chExt cx="0" cy="0"/>
        </a:xfrm>
      </p:grpSpPr>
      <p:sp>
        <p:nvSpPr>
          <p:cNvPr id="3" name="Text Placeholder 2">
            <a:extLst>
              <a:ext uri="{FF2B5EF4-FFF2-40B4-BE49-F238E27FC236}">
                <a16:creationId xmlns:a16="http://schemas.microsoft.com/office/drawing/2014/main" id="{E50C0BA3-84FC-3DD2-7AB7-31464D5AB782}"/>
              </a:ext>
            </a:extLst>
          </p:cNvPr>
          <p:cNvSpPr>
            <a:spLocks noGrp="1"/>
          </p:cNvSpPr>
          <p:nvPr>
            <p:ph type="body" sz="quarter" idx="10"/>
          </p:nvPr>
        </p:nvSpPr>
        <p:spPr>
          <a:xfrm>
            <a:off x="503999" y="1413069"/>
            <a:ext cx="11186477" cy="4716000"/>
          </a:xfrm>
        </p:spPr>
        <p:txBody>
          <a:bodyPr/>
          <a:lstStyle/>
          <a:p>
            <a:pPr marL="342900" indent="-342900">
              <a:buFont typeface="Wingdings" panose="05000000000000000000" pitchFamily="2" charset="2"/>
              <a:buChar char="q"/>
            </a:pPr>
            <a:r>
              <a:rPr lang="en-DE" dirty="0"/>
              <a:t>Application Interface Framework (AIF)</a:t>
            </a:r>
          </a:p>
          <a:p>
            <a:pPr marL="522864" lvl="1" indent="-342900">
              <a:buFont typeface="Wingdings" panose="05000000000000000000" pitchFamily="2" charset="2"/>
              <a:buChar char="q"/>
            </a:pPr>
            <a:r>
              <a:rPr lang="en-DE" dirty="0"/>
              <a:t>Introduction</a:t>
            </a:r>
          </a:p>
          <a:p>
            <a:pPr marL="522864" lvl="1" indent="-342900">
              <a:buFont typeface="Wingdings" panose="05000000000000000000" pitchFamily="2" charset="2"/>
              <a:buChar char="q"/>
            </a:pPr>
            <a:r>
              <a:rPr lang="en-DE" dirty="0"/>
              <a:t>Demo</a:t>
            </a:r>
          </a:p>
          <a:p>
            <a:pPr marL="522864" lvl="1" indent="-342900">
              <a:buFont typeface="Wingdings" panose="05000000000000000000" pitchFamily="2" charset="2"/>
              <a:buChar char="q"/>
            </a:pPr>
            <a:r>
              <a:rPr lang="en-DE" dirty="0"/>
              <a:t>Exercise</a:t>
            </a:r>
          </a:p>
        </p:txBody>
      </p:sp>
      <p:sp>
        <p:nvSpPr>
          <p:cNvPr id="2" name="Title 1">
            <a:extLst>
              <a:ext uri="{FF2B5EF4-FFF2-40B4-BE49-F238E27FC236}">
                <a16:creationId xmlns:a16="http://schemas.microsoft.com/office/drawing/2014/main" id="{21CCDA1C-73E8-3FE8-7FD4-03D9DB676A1C}"/>
              </a:ext>
            </a:extLst>
          </p:cNvPr>
          <p:cNvSpPr>
            <a:spLocks noGrp="1"/>
          </p:cNvSpPr>
          <p:nvPr>
            <p:ph type="title"/>
          </p:nvPr>
        </p:nvSpPr>
        <p:spPr/>
        <p:txBody>
          <a:bodyPr/>
          <a:lstStyle/>
          <a:p>
            <a:r>
              <a:rPr lang="en-US" dirty="0"/>
              <a:t>Topic</a:t>
            </a:r>
            <a:r>
              <a:rPr lang="en-DE" dirty="0"/>
              <a:t> 5 – AIF</a:t>
            </a:r>
          </a:p>
        </p:txBody>
      </p:sp>
    </p:spTree>
    <p:extLst>
      <p:ext uri="{BB962C8B-B14F-4D97-AF65-F5344CB8AC3E}">
        <p14:creationId xmlns:p14="http://schemas.microsoft.com/office/powerpoint/2010/main" val="141603108"/>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ivider"/>
          <p:cNvSpPr>
            <a:spLocks noGrp="1"/>
          </p:cNvSpPr>
          <p:nvPr>
            <p:ph type="ctrTitle"/>
          </p:nvPr>
        </p:nvSpPr>
        <p:spPr bwMode="gray">
          <a:xfrm>
            <a:off x="329802" y="1275448"/>
            <a:ext cx="11535570" cy="677108"/>
          </a:xfrm>
        </p:spPr>
        <p:txBody>
          <a:bodyPr/>
          <a:lstStyle/>
          <a:p>
            <a:r>
              <a:rPr lang="en-US" dirty="0"/>
              <a:t>Application Interface Framework (AIF)</a:t>
            </a:r>
          </a:p>
        </p:txBody>
      </p:sp>
      <p:pic>
        <p:nvPicPr>
          <p:cNvPr id="7" name="Picture Placeholder 6">
            <a:extLst>
              <a:ext uri="{FF2B5EF4-FFF2-40B4-BE49-F238E27FC236}">
                <a16:creationId xmlns:a16="http://schemas.microsoft.com/office/drawing/2014/main" id="{94D619AB-C426-9F06-B228-D93034BE8F32}"/>
              </a:ext>
            </a:extLst>
          </p:cNvPr>
          <p:cNvPicPr>
            <a:picLocks noGrp="1" noChangeAspect="1"/>
          </p:cNvPicPr>
          <p:nvPr>
            <p:ph type="pic" sz="quarter" idx="12"/>
          </p:nvPr>
        </p:nvPicPr>
        <p:blipFill rotWithShape="1">
          <a:blip r:embed="rId2" cstate="screen">
            <a:extLst>
              <a:ext uri="{28A0092B-C50C-407E-A947-70E740481C1C}">
                <a14:useLocalDpi xmlns:a14="http://schemas.microsoft.com/office/drawing/2010/main"/>
              </a:ext>
            </a:extLst>
          </a:blip>
          <a:srcRect/>
          <a:stretch/>
        </p:blipFill>
        <p:spPr>
          <a:xfrm>
            <a:off x="1" y="3427200"/>
            <a:ext cx="12195175" cy="3430800"/>
          </a:xfrm>
        </p:spPr>
      </p:pic>
    </p:spTree>
    <p:extLst>
      <p:ext uri="{BB962C8B-B14F-4D97-AF65-F5344CB8AC3E}">
        <p14:creationId xmlns:p14="http://schemas.microsoft.com/office/powerpoint/2010/main" val="2030712410"/>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a:extLst>
              <a:ext uri="{FF2B5EF4-FFF2-40B4-BE49-F238E27FC236}">
                <a16:creationId xmlns:a16="http://schemas.microsoft.com/office/drawing/2014/main" id="{1A69672F-642F-A922-6196-796A5EBD943C}"/>
              </a:ext>
            </a:extLst>
          </p:cNvPr>
          <p:cNvPicPr>
            <a:picLocks noGrp="1" noChangeAspect="1"/>
          </p:cNvPicPr>
          <p:nvPr>
            <p:ph type="pic" sz="quarter" idx="13"/>
          </p:nvPr>
        </p:nvPicPr>
        <p:blipFill>
          <a:blip r:embed="rId3" cstate="screen">
            <a:extLst>
              <a:ext uri="{28A0092B-C50C-407E-A947-70E740481C1C}">
                <a14:useLocalDpi xmlns:a14="http://schemas.microsoft.com/office/drawing/2010/main"/>
              </a:ext>
            </a:extLst>
          </a:blip>
          <a:srcRect/>
          <a:stretch>
            <a:fillRect/>
          </a:stretch>
        </p:blipFill>
        <p:spPr>
          <a:xfrm>
            <a:off x="6363176" y="1252538"/>
            <a:ext cx="5328000" cy="4778662"/>
          </a:xfrm>
        </p:spPr>
      </p:pic>
      <p:sp>
        <p:nvSpPr>
          <p:cNvPr id="3" name="Text Placeholder 2">
            <a:extLst>
              <a:ext uri="{FF2B5EF4-FFF2-40B4-BE49-F238E27FC236}">
                <a16:creationId xmlns:a16="http://schemas.microsoft.com/office/drawing/2014/main" id="{218F95E8-9D79-30C9-01A2-CDF506BF39EF}"/>
              </a:ext>
            </a:extLst>
          </p:cNvPr>
          <p:cNvSpPr>
            <a:spLocks noGrp="1"/>
          </p:cNvSpPr>
          <p:nvPr>
            <p:ph type="body" sz="quarter" idx="10"/>
          </p:nvPr>
        </p:nvSpPr>
        <p:spPr>
          <a:xfrm>
            <a:off x="512699" y="1252538"/>
            <a:ext cx="5328000" cy="4778662"/>
          </a:xfrm>
        </p:spPr>
        <p:txBody>
          <a:bodyPr>
            <a:normAutofit fontScale="85000" lnSpcReduction="10000"/>
          </a:bodyPr>
          <a:lstStyle/>
          <a:p>
            <a:r>
              <a:rPr lang="en-GB" sz="1800" b="0" i="0" dirty="0">
                <a:solidFill>
                  <a:srgbClr val="333333"/>
                </a:solidFill>
                <a:effectLst/>
                <a:latin typeface="72" panose="020B0503030000000003" pitchFamily="34" charset="0"/>
              </a:rPr>
              <a:t>SAP Application Interface Framework enables you to develop and monitor interfaces as well as execute error handling in a single framework residing in your SAP back end system.</a:t>
            </a:r>
          </a:p>
          <a:p>
            <a:r>
              <a:rPr lang="en-GB" sz="1800" dirty="0">
                <a:solidFill>
                  <a:srgbClr val="333333"/>
                </a:solidFill>
                <a:latin typeface="72" panose="020B0503030000000003" pitchFamily="34" charset="0"/>
              </a:rPr>
              <a:t>It</a:t>
            </a:r>
            <a:r>
              <a:rPr lang="en-GB" sz="1800" b="0" i="0" dirty="0">
                <a:solidFill>
                  <a:srgbClr val="333333"/>
                </a:solidFill>
                <a:effectLst/>
                <a:latin typeface="72" panose="020B0503030000000003" pitchFamily="34" charset="0"/>
              </a:rPr>
              <a:t> is based on SAP NetWeaver technology and can therefore work for legacy systems as well.</a:t>
            </a:r>
            <a:r>
              <a:rPr lang="en-DE" sz="1800" b="0" i="0" dirty="0">
                <a:solidFill>
                  <a:srgbClr val="333333"/>
                </a:solidFill>
                <a:effectLst/>
                <a:latin typeface="72" panose="020B0503030000000003" pitchFamily="34" charset="0"/>
              </a:rPr>
              <a:t> On S/4HANA it is preinstalled, on ECC Systems it can be installed as </a:t>
            </a:r>
            <a:r>
              <a:rPr lang="en-DE" sz="1800" b="0" i="0" dirty="0" err="1">
                <a:solidFill>
                  <a:srgbClr val="333333"/>
                </a:solidFill>
                <a:effectLst/>
                <a:latin typeface="72" panose="020B0503030000000003" pitchFamily="34" charset="0"/>
              </a:rPr>
              <a:t>AddOn</a:t>
            </a:r>
            <a:endParaRPr lang="en-GB" sz="1800" b="0" i="0" dirty="0">
              <a:solidFill>
                <a:srgbClr val="333333"/>
              </a:solidFill>
              <a:effectLst/>
              <a:latin typeface="72" panose="020B0503030000000003" pitchFamily="34" charset="0"/>
            </a:endParaRPr>
          </a:p>
          <a:p>
            <a:r>
              <a:rPr lang="en-GB" sz="1800" dirty="0">
                <a:solidFill>
                  <a:srgbClr val="333333"/>
                </a:solidFill>
                <a:latin typeface="72" panose="020B0503030000000003" pitchFamily="34" charset="0"/>
              </a:rPr>
              <a:t>AIF allows specifically:</a:t>
            </a:r>
          </a:p>
          <a:p>
            <a:pPr marL="285750" indent="-285750">
              <a:buFont typeface="Arial" panose="020B0604020202020204" pitchFamily="34" charset="0"/>
              <a:buChar char="•"/>
            </a:pPr>
            <a:r>
              <a:rPr lang="en-GB" sz="1800" dirty="0">
                <a:solidFill>
                  <a:srgbClr val="333333"/>
                </a:solidFill>
                <a:latin typeface="72" panose="020B0503030000000003" pitchFamily="34" charset="0"/>
              </a:rPr>
              <a:t>To use a powerful framework for the implementation of interfaces and the logic behind</a:t>
            </a:r>
          </a:p>
          <a:p>
            <a:pPr marL="285750" indent="-285750">
              <a:buFont typeface="Arial" panose="020B0604020202020204" pitchFamily="34" charset="0"/>
              <a:buChar char="•"/>
            </a:pPr>
            <a:r>
              <a:rPr lang="en-GB" sz="1800" dirty="0">
                <a:solidFill>
                  <a:srgbClr val="333333"/>
                </a:solidFill>
                <a:latin typeface="72" panose="020B0503030000000003" pitchFamily="34" charset="0"/>
              </a:rPr>
              <a:t>To monitor interfaces with different interface technologies (e.g. </a:t>
            </a:r>
            <a:r>
              <a:rPr lang="en-GB" sz="1800" dirty="0" err="1">
                <a:solidFill>
                  <a:srgbClr val="333333"/>
                </a:solidFill>
                <a:latin typeface="72" panose="020B0503030000000003" pitchFamily="34" charset="0"/>
              </a:rPr>
              <a:t>Idocs</a:t>
            </a:r>
            <a:r>
              <a:rPr lang="en-GB" sz="1800" dirty="0">
                <a:solidFill>
                  <a:srgbClr val="333333"/>
                </a:solidFill>
                <a:latin typeface="72" panose="020B0503030000000003" pitchFamily="34" charset="0"/>
              </a:rPr>
              <a:t>, ABAP Proxies)</a:t>
            </a:r>
          </a:p>
          <a:p>
            <a:pPr marL="285750" indent="-285750">
              <a:buFont typeface="Arial" panose="020B0604020202020204" pitchFamily="34" charset="0"/>
              <a:buChar char="•"/>
            </a:pPr>
            <a:r>
              <a:rPr lang="en-GB" sz="1800" dirty="0">
                <a:solidFill>
                  <a:srgbClr val="333333"/>
                </a:solidFill>
                <a:latin typeface="72" panose="020B0503030000000003" pitchFamily="34" charset="0"/>
              </a:rPr>
              <a:t>This works for both SAP ECC and SAP S/4HANA backends</a:t>
            </a:r>
          </a:p>
          <a:p>
            <a:pPr>
              <a:buNone/>
            </a:pPr>
            <a:r>
              <a:rPr lang="en-GB" sz="1800" dirty="0">
                <a:solidFill>
                  <a:srgbClr val="333333"/>
                </a:solidFill>
                <a:latin typeface="72" panose="020B0503030000000003" pitchFamily="34" charset="0"/>
              </a:rPr>
              <a:t>SAP is delivering standard interfaces on AIF </a:t>
            </a:r>
          </a:p>
          <a:p>
            <a:pPr>
              <a:buNone/>
            </a:pPr>
            <a:r>
              <a:rPr lang="en-GB" sz="1800" dirty="0">
                <a:solidFill>
                  <a:srgbClr val="333333"/>
                </a:solidFill>
                <a:latin typeface="72" panose="020B0503030000000003" pitchFamily="34" charset="0"/>
              </a:rPr>
              <a:t>Customers can build their own interfaces*</a:t>
            </a:r>
          </a:p>
          <a:p>
            <a:pPr>
              <a:buNone/>
            </a:pPr>
            <a:endParaRPr lang="en-DE" sz="1800" dirty="0"/>
          </a:p>
        </p:txBody>
      </p:sp>
      <p:sp>
        <p:nvSpPr>
          <p:cNvPr id="4" name="Title 3">
            <a:extLst>
              <a:ext uri="{FF2B5EF4-FFF2-40B4-BE49-F238E27FC236}">
                <a16:creationId xmlns:a16="http://schemas.microsoft.com/office/drawing/2014/main" id="{7560FD1E-C0C6-BE40-0A5E-9739FEE48199}"/>
              </a:ext>
            </a:extLst>
          </p:cNvPr>
          <p:cNvSpPr>
            <a:spLocks noGrp="1"/>
          </p:cNvSpPr>
          <p:nvPr>
            <p:ph type="title"/>
          </p:nvPr>
        </p:nvSpPr>
        <p:spPr/>
        <p:txBody>
          <a:bodyPr/>
          <a:lstStyle/>
          <a:p>
            <a:r>
              <a:rPr lang="en-DE" dirty="0"/>
              <a:t>Application Interface Framework (AIF)</a:t>
            </a:r>
          </a:p>
        </p:txBody>
      </p:sp>
      <p:sp>
        <p:nvSpPr>
          <p:cNvPr id="2" name="Textfeld 1">
            <a:extLst>
              <a:ext uri="{FF2B5EF4-FFF2-40B4-BE49-F238E27FC236}">
                <a16:creationId xmlns:a16="http://schemas.microsoft.com/office/drawing/2014/main" id="{9ABBE11F-F0F7-9611-E0F0-B3FB8B73A6ED}"/>
              </a:ext>
            </a:extLst>
          </p:cNvPr>
          <p:cNvSpPr txBox="1"/>
          <p:nvPr/>
        </p:nvSpPr>
        <p:spPr>
          <a:xfrm>
            <a:off x="1714500" y="6241129"/>
            <a:ext cx="2457404" cy="169277"/>
          </a:xfrm>
          <a:prstGeom prst="rect">
            <a:avLst/>
          </a:prstGeom>
          <a:noFill/>
        </p:spPr>
        <p:txBody>
          <a:bodyPr wrap="none" lIns="0" tIns="0" rIns="0" bIns="0" rtlCol="0">
            <a:spAutoFit/>
          </a:bodyPr>
          <a:lstStyle/>
          <a:p>
            <a:pPr algn="l" fontAlgn="base">
              <a:spcBef>
                <a:spcPct val="50000"/>
              </a:spcBef>
              <a:spcAft>
                <a:spcPct val="0"/>
              </a:spcAft>
              <a:buClr>
                <a:schemeClr val="tx1"/>
              </a:buClr>
              <a:buSzPct val="100000"/>
            </a:pPr>
            <a:r>
              <a:rPr lang="de-DE" sz="1100" kern="0" dirty="0">
                <a:latin typeface="72 Brand" panose="020B0504030603020204" pitchFamily="34" charset="0"/>
                <a:ea typeface="Arial Unicode MS" pitchFamily="34" charset="-128"/>
                <a:cs typeface="Arial Unicode MS" pitchFamily="34" charset="-128"/>
              </a:rPr>
              <a:t>*</a:t>
            </a:r>
            <a:r>
              <a:rPr lang="en-GB" sz="1100" dirty="0">
                <a:solidFill>
                  <a:srgbClr val="333333"/>
                </a:solidFill>
                <a:latin typeface="72" panose="020B0503030000000003" pitchFamily="34" charset="0"/>
              </a:rPr>
              <a:t> requires AIF_GEN module and license</a:t>
            </a:r>
            <a:endParaRPr lang="de-DE" sz="1100" kern="0" dirty="0" err="1">
              <a:latin typeface="72 Brand" panose="020B0504030603020204" pitchFamily="34" charset="0"/>
              <a:ea typeface="Arial Unicode MS" pitchFamily="34" charset="-128"/>
              <a:cs typeface="Arial Unicode MS" pitchFamily="34" charset="-128"/>
            </a:endParaRPr>
          </a:p>
        </p:txBody>
      </p:sp>
    </p:spTree>
    <p:extLst>
      <p:ext uri="{BB962C8B-B14F-4D97-AF65-F5344CB8AC3E}">
        <p14:creationId xmlns:p14="http://schemas.microsoft.com/office/powerpoint/2010/main" val="415360469"/>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18F95E8-9D79-30C9-01A2-CDF506BF39EF}"/>
              </a:ext>
            </a:extLst>
          </p:cNvPr>
          <p:cNvSpPr>
            <a:spLocks noGrp="1"/>
          </p:cNvSpPr>
          <p:nvPr>
            <p:ph type="body" sz="quarter" idx="10"/>
          </p:nvPr>
        </p:nvSpPr>
        <p:spPr>
          <a:xfrm>
            <a:off x="512699" y="2946428"/>
            <a:ext cx="5328000" cy="3084772"/>
          </a:xfrm>
        </p:spPr>
        <p:txBody>
          <a:bodyPr>
            <a:normAutofit fontScale="92500" lnSpcReduction="20000"/>
          </a:bodyPr>
          <a:lstStyle/>
          <a:p>
            <a:pPr algn="l"/>
            <a:r>
              <a:rPr lang="en-GB" sz="1500" b="0" i="0" dirty="0">
                <a:solidFill>
                  <a:srgbClr val="333333"/>
                </a:solidFill>
                <a:effectLst/>
                <a:latin typeface="72" panose="020B0503030000000003" pitchFamily="34" charset="0"/>
              </a:rPr>
              <a:t>For </a:t>
            </a:r>
            <a:r>
              <a:rPr lang="en-GB" sz="1500" b="1" i="0" dirty="0">
                <a:solidFill>
                  <a:srgbClr val="333333"/>
                </a:solidFill>
                <a:effectLst/>
                <a:latin typeface="72" panose="020B0503030000000003" pitchFamily="34" charset="0"/>
              </a:rPr>
              <a:t>business users</a:t>
            </a:r>
            <a:r>
              <a:rPr lang="en-GB" sz="1500" b="0" i="0" dirty="0">
                <a:solidFill>
                  <a:srgbClr val="333333"/>
                </a:solidFill>
                <a:effectLst/>
                <a:latin typeface="72" panose="020B0503030000000003" pitchFamily="34" charset="0"/>
              </a:rPr>
              <a:t>:</a:t>
            </a:r>
          </a:p>
          <a:p>
            <a:pPr algn="l">
              <a:buFont typeface="Arial" panose="020B0604020202020204" pitchFamily="34" charset="0"/>
              <a:buChar char="•"/>
            </a:pPr>
            <a:r>
              <a:rPr lang="en-GB" sz="1500" b="0" i="0" dirty="0">
                <a:solidFill>
                  <a:srgbClr val="333333"/>
                </a:solidFill>
                <a:effectLst/>
                <a:latin typeface="72" panose="020B0503030000000003" pitchFamily="34" charset="0"/>
              </a:rPr>
              <a:t> Automatic alerts that notify business users to errors</a:t>
            </a:r>
          </a:p>
          <a:p>
            <a:pPr algn="l">
              <a:buFont typeface="Arial" panose="020B0604020202020204" pitchFamily="34" charset="0"/>
              <a:buChar char="•"/>
            </a:pPr>
            <a:r>
              <a:rPr lang="en-GB" sz="1500" b="0" i="0" dirty="0">
                <a:solidFill>
                  <a:srgbClr val="333333"/>
                </a:solidFill>
                <a:effectLst/>
                <a:latin typeface="72" panose="020B0503030000000003" pitchFamily="34" charset="0"/>
              </a:rPr>
              <a:t> User-friendly transactions for interface monitoring, error handling, and the correction of errors directly from within the application system</a:t>
            </a:r>
          </a:p>
          <a:p>
            <a:pPr algn="l">
              <a:buFont typeface="Arial" panose="020B0604020202020204" pitchFamily="34" charset="0"/>
              <a:buChar char="•"/>
            </a:pPr>
            <a:r>
              <a:rPr lang="en-GB" sz="1500" b="0" i="0" dirty="0">
                <a:solidFill>
                  <a:srgbClr val="333333"/>
                </a:solidFill>
                <a:effectLst/>
                <a:latin typeface="72" panose="020B0503030000000003" pitchFamily="34" charset="0"/>
              </a:rPr>
              <a:t> Both SAP GUI and Web-based user interfaces</a:t>
            </a:r>
          </a:p>
          <a:p>
            <a:pPr algn="l">
              <a:buFont typeface="Arial" panose="020B0604020202020204" pitchFamily="34" charset="0"/>
              <a:buChar char="•"/>
            </a:pPr>
            <a:r>
              <a:rPr lang="en-GB" sz="1500" b="0" i="0" dirty="0">
                <a:solidFill>
                  <a:srgbClr val="333333"/>
                </a:solidFill>
                <a:effectLst/>
                <a:latin typeface="72" panose="020B0503030000000003" pitchFamily="34" charset="0"/>
              </a:rPr>
              <a:t> Use of a single tool for monitoring and handling of messages regardless of the interface technology involved</a:t>
            </a:r>
          </a:p>
          <a:p>
            <a:br>
              <a:rPr lang="en-GB" sz="1600" dirty="0"/>
            </a:br>
            <a:endParaRPr lang="en-DE" sz="1800" dirty="0"/>
          </a:p>
        </p:txBody>
      </p:sp>
      <p:sp>
        <p:nvSpPr>
          <p:cNvPr id="4" name="Title 3">
            <a:extLst>
              <a:ext uri="{FF2B5EF4-FFF2-40B4-BE49-F238E27FC236}">
                <a16:creationId xmlns:a16="http://schemas.microsoft.com/office/drawing/2014/main" id="{7560FD1E-C0C6-BE40-0A5E-9739FEE48199}"/>
              </a:ext>
            </a:extLst>
          </p:cNvPr>
          <p:cNvSpPr>
            <a:spLocks noGrp="1"/>
          </p:cNvSpPr>
          <p:nvPr>
            <p:ph type="title"/>
          </p:nvPr>
        </p:nvSpPr>
        <p:spPr/>
        <p:txBody>
          <a:bodyPr/>
          <a:lstStyle/>
          <a:p>
            <a:r>
              <a:rPr lang="en-DE" dirty="0"/>
              <a:t>AIF Features</a:t>
            </a:r>
          </a:p>
        </p:txBody>
      </p:sp>
      <p:sp>
        <p:nvSpPr>
          <p:cNvPr id="2" name="Textfeld 1">
            <a:extLst>
              <a:ext uri="{FF2B5EF4-FFF2-40B4-BE49-F238E27FC236}">
                <a16:creationId xmlns:a16="http://schemas.microsoft.com/office/drawing/2014/main" id="{9ABBE11F-F0F7-9611-E0F0-B3FB8B73A6ED}"/>
              </a:ext>
            </a:extLst>
          </p:cNvPr>
          <p:cNvSpPr txBox="1"/>
          <p:nvPr/>
        </p:nvSpPr>
        <p:spPr>
          <a:xfrm>
            <a:off x="1714500" y="6241129"/>
            <a:ext cx="2457404" cy="169277"/>
          </a:xfrm>
          <a:prstGeom prst="rect">
            <a:avLst/>
          </a:prstGeom>
          <a:noFill/>
        </p:spPr>
        <p:txBody>
          <a:bodyPr wrap="none" lIns="0" tIns="0" rIns="0" bIns="0" rtlCol="0">
            <a:spAutoFit/>
          </a:bodyPr>
          <a:lstStyle/>
          <a:p>
            <a:pPr algn="l" fontAlgn="base">
              <a:spcBef>
                <a:spcPct val="50000"/>
              </a:spcBef>
              <a:spcAft>
                <a:spcPct val="0"/>
              </a:spcAft>
              <a:buClr>
                <a:schemeClr val="tx1"/>
              </a:buClr>
              <a:buSzPct val="100000"/>
            </a:pPr>
            <a:r>
              <a:rPr lang="de-DE" sz="1100" kern="0" dirty="0">
                <a:latin typeface="72 Brand" panose="020B0504030603020204" pitchFamily="34" charset="0"/>
                <a:ea typeface="Arial Unicode MS" pitchFamily="34" charset="-128"/>
                <a:cs typeface="Arial Unicode MS" pitchFamily="34" charset="-128"/>
              </a:rPr>
              <a:t>*</a:t>
            </a:r>
            <a:r>
              <a:rPr lang="en-GB" sz="1100" dirty="0">
                <a:solidFill>
                  <a:srgbClr val="333333"/>
                </a:solidFill>
                <a:latin typeface="72" panose="020B0503030000000003" pitchFamily="34" charset="0"/>
              </a:rPr>
              <a:t> requires AIF_GEN module and license</a:t>
            </a:r>
            <a:endParaRPr lang="de-DE" sz="1100" kern="0" dirty="0" err="1">
              <a:latin typeface="72 Brand" panose="020B0504030603020204" pitchFamily="34" charset="0"/>
              <a:ea typeface="Arial Unicode MS" pitchFamily="34" charset="-128"/>
              <a:cs typeface="Arial Unicode MS" pitchFamily="34" charset="-128"/>
            </a:endParaRPr>
          </a:p>
        </p:txBody>
      </p:sp>
      <p:sp>
        <p:nvSpPr>
          <p:cNvPr id="8" name="Text Placeholder 2">
            <a:extLst>
              <a:ext uri="{FF2B5EF4-FFF2-40B4-BE49-F238E27FC236}">
                <a16:creationId xmlns:a16="http://schemas.microsoft.com/office/drawing/2014/main" id="{B06B3766-7241-A01E-6270-AC96926575C4}"/>
              </a:ext>
            </a:extLst>
          </p:cNvPr>
          <p:cNvSpPr txBox="1">
            <a:spLocks/>
          </p:cNvSpPr>
          <p:nvPr/>
        </p:nvSpPr>
        <p:spPr bwMode="black">
          <a:xfrm>
            <a:off x="6481699" y="2946428"/>
            <a:ext cx="5328000" cy="3186372"/>
          </a:xfrm>
          <a:prstGeom prst="rect">
            <a:avLst/>
          </a:prstGeom>
        </p:spPr>
        <p:txBody>
          <a:bodyPr vert="horz" lIns="0" tIns="0" rIns="0" bIns="0" rtlCol="0">
            <a:normAutofit fontScale="62500" lnSpcReduction="20000"/>
          </a:bodyPr>
          <a:lstStyle>
            <a:lvl1pPr marL="0" indent="0" algn="l" defTabSz="1088558" rtl="0" eaLnBrk="1" latinLnBrk="0" hangingPunct="1">
              <a:spcBef>
                <a:spcPts val="1800"/>
              </a:spcBef>
              <a:buClrTx/>
              <a:buSzPct val="80000"/>
              <a:buFont typeface="Roboto" panose="02000000000000000000" pitchFamily="2" charset="0"/>
              <a:buChar char="​"/>
              <a:defRPr sz="2000" b="0" i="0" kern="1200">
                <a:solidFill>
                  <a:schemeClr val="tx1"/>
                </a:solidFill>
                <a:latin typeface="72 Brand" panose="020B0504030603020204" pitchFamily="34" charset="0"/>
                <a:ea typeface="+mn-ea"/>
                <a:cs typeface="+mn-cs"/>
              </a:defRPr>
            </a:lvl1pPr>
            <a:lvl2pPr marL="179964" indent="-179964" algn="l" defTabSz="1088558" rtl="0" eaLnBrk="1" latinLnBrk="0" hangingPunct="1">
              <a:spcBef>
                <a:spcPts val="600"/>
              </a:spcBef>
              <a:buClr>
                <a:schemeClr val="tx1"/>
              </a:buClr>
              <a:buSzPct val="100000"/>
              <a:buFont typeface="Arial" panose="020B0604020202020204" pitchFamily="34" charset="0"/>
              <a:buChar char="•"/>
              <a:defRPr sz="1800" b="0" i="0" kern="1200">
                <a:solidFill>
                  <a:schemeClr val="tx1"/>
                </a:solidFill>
                <a:latin typeface="72 Brand" panose="020B0504030603020204" pitchFamily="34" charset="0"/>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b="0" i="0" kern="1200" noProof="0" dirty="0" smtClean="0">
                <a:solidFill>
                  <a:schemeClr val="tx1"/>
                </a:solidFill>
                <a:latin typeface="72 Brand" panose="020B0504030603020204" pitchFamily="34" charset="0"/>
                <a:ea typeface="+mn-ea"/>
                <a:cs typeface="+mn-cs"/>
              </a:defRPr>
            </a:lvl3pPr>
            <a:lvl4pPr marL="539892" indent="-179964" algn="l" defTabSz="1088558" rtl="0" eaLnBrk="1" latinLnBrk="0" hangingPunct="1">
              <a:spcBef>
                <a:spcPts val="300"/>
              </a:spcBef>
              <a:buClr>
                <a:schemeClr val="tx1"/>
              </a:buClr>
              <a:buSzPct val="80000"/>
              <a:buFont typeface="Courier New" panose="02070309020205020404" pitchFamily="49" charset="0"/>
              <a:buChar char="o"/>
              <a:defRPr sz="1600" b="0" i="0" kern="1200">
                <a:solidFill>
                  <a:schemeClr val="tx1"/>
                </a:solidFill>
                <a:latin typeface="72 Brand" panose="020B0504030603020204" pitchFamily="34" charset="0"/>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b="0" i="0" kern="1200" baseline="0">
                <a:solidFill>
                  <a:schemeClr val="tx1"/>
                </a:solidFill>
                <a:latin typeface="72 Brand" panose="020B0504030603020204" pitchFamily="34" charset="0"/>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algn="l"/>
            <a:r>
              <a:rPr lang="en-GB" sz="2300" b="0" i="0" dirty="0">
                <a:solidFill>
                  <a:srgbClr val="333333"/>
                </a:solidFill>
                <a:effectLst/>
                <a:latin typeface="72" panose="020B0503030000000003" pitchFamily="34" charset="0"/>
              </a:rPr>
              <a:t>For </a:t>
            </a:r>
            <a:r>
              <a:rPr lang="en-GB" sz="2300" b="1" i="0" dirty="0">
                <a:solidFill>
                  <a:srgbClr val="333333"/>
                </a:solidFill>
                <a:effectLst/>
                <a:latin typeface="72" panose="020B0503030000000003" pitchFamily="34" charset="0"/>
              </a:rPr>
              <a:t>IT personnel</a:t>
            </a:r>
            <a:r>
              <a:rPr lang="en-GB" sz="2300" b="0" i="0" dirty="0">
                <a:solidFill>
                  <a:srgbClr val="333333"/>
                </a:solidFill>
                <a:effectLst/>
                <a:latin typeface="72" panose="020B0503030000000003" pitchFamily="34" charset="0"/>
              </a:rPr>
              <a:t>:</a:t>
            </a:r>
          </a:p>
          <a:p>
            <a:pPr algn="l">
              <a:buFont typeface="Arial" panose="020B0604020202020204" pitchFamily="34" charset="0"/>
              <a:buChar char="•"/>
            </a:pPr>
            <a:r>
              <a:rPr lang="en-GB" sz="2300" b="0" i="0" dirty="0">
                <a:solidFill>
                  <a:srgbClr val="333333"/>
                </a:solidFill>
                <a:effectLst/>
                <a:latin typeface="72" panose="020B0503030000000003" pitchFamily="34" charset="0"/>
              </a:rPr>
              <a:t> A powerful framework for the implementation of interfaces</a:t>
            </a:r>
          </a:p>
          <a:p>
            <a:pPr algn="l">
              <a:buFont typeface="Arial" panose="020B0604020202020204" pitchFamily="34" charset="0"/>
              <a:buChar char="•"/>
            </a:pPr>
            <a:r>
              <a:rPr lang="en-GB" sz="2300" b="0" i="0" dirty="0">
                <a:solidFill>
                  <a:srgbClr val="333333"/>
                </a:solidFill>
                <a:effectLst/>
                <a:latin typeface="72" panose="020B0503030000000003" pitchFamily="34" charset="0"/>
              </a:rPr>
              <a:t> A customizable interface framework for the generation and reuse of interface building blocks over multiple interfaces</a:t>
            </a:r>
          </a:p>
          <a:p>
            <a:pPr algn="l">
              <a:buFont typeface="Arial" panose="020B0604020202020204" pitchFamily="34" charset="0"/>
              <a:buChar char="•"/>
            </a:pPr>
            <a:r>
              <a:rPr lang="en-GB" sz="2300" b="0" i="0" dirty="0">
                <a:solidFill>
                  <a:srgbClr val="333333"/>
                </a:solidFill>
                <a:effectLst/>
                <a:latin typeface="72" panose="020B0503030000000003" pitchFamily="34" charset="0"/>
              </a:rPr>
              <a:t> Flexible authorization rules to restrict access to data and to monitoring and error handling</a:t>
            </a:r>
          </a:p>
          <a:p>
            <a:pPr algn="l">
              <a:buFont typeface="Arial" panose="020B0604020202020204" pitchFamily="34" charset="0"/>
              <a:buChar char="•"/>
            </a:pPr>
            <a:r>
              <a:rPr lang="en-GB" sz="2300" b="0" i="0" dirty="0">
                <a:solidFill>
                  <a:srgbClr val="333333"/>
                </a:solidFill>
                <a:effectLst/>
                <a:latin typeface="72" panose="020B0503030000000003" pitchFamily="34" charset="0"/>
              </a:rPr>
              <a:t> Tools for system configuration and operation</a:t>
            </a:r>
          </a:p>
          <a:p>
            <a:pPr algn="l">
              <a:buFont typeface="Arial" panose="020B0604020202020204" pitchFamily="34" charset="0"/>
              <a:buChar char="•"/>
            </a:pPr>
            <a:r>
              <a:rPr lang="en-GB" sz="2300" b="0" i="0" dirty="0">
                <a:solidFill>
                  <a:srgbClr val="333333"/>
                </a:solidFill>
                <a:effectLst/>
                <a:latin typeface="72" panose="020B0503030000000003" pitchFamily="34" charset="0"/>
              </a:rPr>
              <a:t> Monitors interfaces with different interface technologies, for example, ABAP proxies and IDocs</a:t>
            </a:r>
          </a:p>
          <a:p>
            <a:br>
              <a:rPr lang="en-GB" sz="1600" dirty="0"/>
            </a:br>
            <a:endParaRPr lang="en-DE" sz="1800" dirty="0"/>
          </a:p>
        </p:txBody>
      </p:sp>
      <p:pic>
        <p:nvPicPr>
          <p:cNvPr id="10" name="Picture 9">
            <a:extLst>
              <a:ext uri="{FF2B5EF4-FFF2-40B4-BE49-F238E27FC236}">
                <a16:creationId xmlns:a16="http://schemas.microsoft.com/office/drawing/2014/main" id="{49D42DDF-3AD4-679A-6522-D59E103DDDD2}"/>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12698" y="1083261"/>
            <a:ext cx="5327999" cy="1653238"/>
          </a:xfrm>
          <a:prstGeom prst="rect">
            <a:avLst/>
          </a:prstGeom>
        </p:spPr>
      </p:pic>
      <p:pic>
        <p:nvPicPr>
          <p:cNvPr id="12" name="Picture 11">
            <a:extLst>
              <a:ext uri="{FF2B5EF4-FFF2-40B4-BE49-F238E27FC236}">
                <a16:creationId xmlns:a16="http://schemas.microsoft.com/office/drawing/2014/main" id="{99408B35-4A16-8F19-358C-28555A5648BC}"/>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354478" y="1083261"/>
            <a:ext cx="5327999" cy="1653238"/>
          </a:xfrm>
          <a:prstGeom prst="rect">
            <a:avLst/>
          </a:prstGeom>
        </p:spPr>
      </p:pic>
    </p:spTree>
    <p:extLst>
      <p:ext uri="{BB962C8B-B14F-4D97-AF65-F5344CB8AC3E}">
        <p14:creationId xmlns:p14="http://schemas.microsoft.com/office/powerpoint/2010/main" val="1105934018"/>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ivider"/>
          <p:cNvSpPr>
            <a:spLocks noGrp="1"/>
          </p:cNvSpPr>
          <p:nvPr>
            <p:ph type="ctrTitle"/>
          </p:nvPr>
        </p:nvSpPr>
        <p:spPr bwMode="gray">
          <a:xfrm>
            <a:off x="329802" y="1275448"/>
            <a:ext cx="11535570" cy="677108"/>
          </a:xfrm>
        </p:spPr>
        <p:txBody>
          <a:bodyPr/>
          <a:lstStyle/>
          <a:p>
            <a:r>
              <a:rPr lang="en-US" dirty="0"/>
              <a:t>AIFAEM</a:t>
            </a:r>
          </a:p>
        </p:txBody>
      </p:sp>
      <p:pic>
        <p:nvPicPr>
          <p:cNvPr id="11" name="Picture Placeholder 10">
            <a:extLst>
              <a:ext uri="{FF2B5EF4-FFF2-40B4-BE49-F238E27FC236}">
                <a16:creationId xmlns:a16="http://schemas.microsoft.com/office/drawing/2014/main" id="{F240D377-13AC-08D9-D32D-8EBD361F629E}"/>
              </a:ext>
            </a:extLst>
          </p:cNvPr>
          <p:cNvPicPr>
            <a:picLocks noGrp="1" noChangeAspect="1"/>
          </p:cNvPicPr>
          <p:nvPr>
            <p:ph type="pic" sz="quarter" idx="12"/>
          </p:nvPr>
        </p:nvPicPr>
        <p:blipFill>
          <a:blip r:embed="rId2" cstate="screen">
            <a:extLst>
              <a:ext uri="{28A0092B-C50C-407E-A947-70E740481C1C}">
                <a14:useLocalDpi xmlns:a14="http://schemas.microsoft.com/office/drawing/2010/main"/>
              </a:ext>
            </a:extLst>
          </a:blip>
          <a:srcRect/>
          <a:stretch>
            <a:fillRect/>
          </a:stretch>
        </p:blipFill>
        <p:spPr/>
      </p:pic>
    </p:spTree>
    <p:extLst>
      <p:ext uri="{BB962C8B-B14F-4D97-AF65-F5344CB8AC3E}">
        <p14:creationId xmlns:p14="http://schemas.microsoft.com/office/powerpoint/2010/main" val="501282199"/>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0D01C332-451C-3D47-FF27-530613F00F80}"/>
              </a:ext>
            </a:extLst>
          </p:cNvPr>
          <p:cNvSpPr>
            <a:spLocks noGrp="1"/>
          </p:cNvSpPr>
          <p:nvPr>
            <p:ph type="body" sz="quarter" idx="11"/>
          </p:nvPr>
        </p:nvSpPr>
        <p:spPr/>
        <p:txBody>
          <a:bodyPr>
            <a:normAutofit lnSpcReduction="10000"/>
          </a:bodyPr>
          <a:lstStyle/>
          <a:p>
            <a:r>
              <a:rPr lang="en-DE" dirty="0"/>
              <a:t>SAP Integration Suite, advanced event mesh is SAP’s main event broker/mesh offering.</a:t>
            </a:r>
          </a:p>
          <a:p>
            <a:r>
              <a:rPr lang="en-DE" dirty="0"/>
              <a:t>Newer SAP backends like SAP S/4HANA come with built in, standard event enablement approaches.</a:t>
            </a:r>
          </a:p>
          <a:p>
            <a:r>
              <a:rPr lang="en-DE" dirty="0"/>
              <a:t>Older backends like SAP ECC lack out of the box event enablement support.</a:t>
            </a:r>
          </a:p>
          <a:p>
            <a:r>
              <a:rPr lang="en-DE" dirty="0"/>
              <a:t>AIF is being used by thousands of SAP customers as of today</a:t>
            </a:r>
          </a:p>
          <a:p>
            <a:r>
              <a:rPr lang="en-DE" dirty="0"/>
              <a:t>To allow for older SAP backends to expose events, </a:t>
            </a:r>
            <a:r>
              <a:rPr lang="en-DE" b="1" dirty="0"/>
              <a:t>SAP AIF is a natural choice</a:t>
            </a:r>
            <a:r>
              <a:rPr lang="en-DE" dirty="0"/>
              <a:t>.</a:t>
            </a:r>
          </a:p>
          <a:p>
            <a:r>
              <a:rPr lang="en-DE" dirty="0"/>
              <a:t>Using the </a:t>
            </a:r>
            <a:r>
              <a:rPr lang="en-DE" b="1" dirty="0"/>
              <a:t>new AIFAEM software component of AIF</a:t>
            </a:r>
            <a:r>
              <a:rPr lang="en-DE" dirty="0"/>
              <a:t>, custom events can be created to be exposed via SAP Integration Suite, advanced event mesh from both SAP ECC and SAP S/4HANA systems.</a:t>
            </a:r>
          </a:p>
          <a:p>
            <a:endParaRPr lang="en-DE" dirty="0"/>
          </a:p>
        </p:txBody>
      </p:sp>
      <p:sp>
        <p:nvSpPr>
          <p:cNvPr id="4" name="Title 3">
            <a:extLst>
              <a:ext uri="{FF2B5EF4-FFF2-40B4-BE49-F238E27FC236}">
                <a16:creationId xmlns:a16="http://schemas.microsoft.com/office/drawing/2014/main" id="{377EEF95-3476-293E-45A5-4A0CFB9EFF96}"/>
              </a:ext>
            </a:extLst>
          </p:cNvPr>
          <p:cNvSpPr>
            <a:spLocks noGrp="1"/>
          </p:cNvSpPr>
          <p:nvPr>
            <p:ph type="title"/>
          </p:nvPr>
        </p:nvSpPr>
        <p:spPr/>
        <p:txBody>
          <a:bodyPr/>
          <a:lstStyle/>
          <a:p>
            <a:r>
              <a:rPr lang="en-DE" dirty="0"/>
              <a:t>AIFAEM</a:t>
            </a:r>
          </a:p>
        </p:txBody>
      </p:sp>
      <p:pic>
        <p:nvPicPr>
          <p:cNvPr id="7" name="Picture Placeholder 6">
            <a:extLst>
              <a:ext uri="{FF2B5EF4-FFF2-40B4-BE49-F238E27FC236}">
                <a16:creationId xmlns:a16="http://schemas.microsoft.com/office/drawing/2014/main" id="{EA804233-895B-9F26-9CBB-0F8680A10C32}"/>
              </a:ext>
            </a:extLst>
          </p:cNvPr>
          <p:cNvPicPr>
            <a:picLocks noGrp="1" noChangeAspect="1"/>
          </p:cNvPicPr>
          <p:nvPr>
            <p:ph type="pic" sz="quarter" idx="10"/>
          </p:nvPr>
        </p:nvPicPr>
        <p:blipFill>
          <a:blip r:embed="rId2" cstate="screen">
            <a:extLst>
              <a:ext uri="{28A0092B-C50C-407E-A947-70E740481C1C}">
                <a14:useLocalDpi xmlns:a14="http://schemas.microsoft.com/office/drawing/2010/main"/>
              </a:ext>
            </a:extLst>
          </a:blip>
          <a:srcRect/>
          <a:stretch>
            <a:fillRect/>
          </a:stretch>
        </p:blipFill>
        <p:spPr/>
      </p:pic>
    </p:spTree>
    <p:extLst>
      <p:ext uri="{BB962C8B-B14F-4D97-AF65-F5344CB8AC3E}">
        <p14:creationId xmlns:p14="http://schemas.microsoft.com/office/powerpoint/2010/main" val="385552141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3">
            <a:extLst>
              <a:ext uri="{FF2B5EF4-FFF2-40B4-BE49-F238E27FC236}">
                <a16:creationId xmlns:a16="http://schemas.microsoft.com/office/drawing/2014/main" id="{1CBC07A3-8B80-56B2-3CA3-7C3CEBF2255D}"/>
              </a:ext>
            </a:extLst>
          </p:cNvPr>
          <p:cNvGraphicFramePr>
            <a:graphicFrameLocks noGrp="1"/>
          </p:cNvGraphicFramePr>
          <p:nvPr>
            <p:ph idx="1"/>
            <p:extLst>
              <p:ext uri="{D42A27DB-BD31-4B8C-83A1-F6EECF244321}">
                <p14:modId xmlns:p14="http://schemas.microsoft.com/office/powerpoint/2010/main" val="4008261449"/>
              </p:ext>
            </p:extLst>
          </p:nvPr>
        </p:nvGraphicFramePr>
        <p:xfrm>
          <a:off x="504953" y="1229699"/>
          <a:ext cx="11185524" cy="5215814"/>
        </p:xfrm>
        <a:graphic>
          <a:graphicData uri="http://schemas.openxmlformats.org/drawingml/2006/table">
            <a:tbl>
              <a:tblPr firstRow="1" bandRow="1">
                <a:tableStyleId>{284E427A-3D55-4303-BF80-6455036E1DE7}</a:tableStyleId>
              </a:tblPr>
              <a:tblGrid>
                <a:gridCol w="2641406">
                  <a:extLst>
                    <a:ext uri="{9D8B030D-6E8A-4147-A177-3AD203B41FA5}">
                      <a16:colId xmlns:a16="http://schemas.microsoft.com/office/drawing/2014/main" val="2450428944"/>
                    </a:ext>
                  </a:extLst>
                </a:gridCol>
                <a:gridCol w="2631688">
                  <a:extLst>
                    <a:ext uri="{9D8B030D-6E8A-4147-A177-3AD203B41FA5}">
                      <a16:colId xmlns:a16="http://schemas.microsoft.com/office/drawing/2014/main" val="1534087977"/>
                    </a:ext>
                  </a:extLst>
                </a:gridCol>
                <a:gridCol w="2932770">
                  <a:extLst>
                    <a:ext uri="{9D8B030D-6E8A-4147-A177-3AD203B41FA5}">
                      <a16:colId xmlns:a16="http://schemas.microsoft.com/office/drawing/2014/main" val="3390592461"/>
                    </a:ext>
                  </a:extLst>
                </a:gridCol>
                <a:gridCol w="2979660">
                  <a:extLst>
                    <a:ext uri="{9D8B030D-6E8A-4147-A177-3AD203B41FA5}">
                      <a16:colId xmlns:a16="http://schemas.microsoft.com/office/drawing/2014/main" val="2223837541"/>
                    </a:ext>
                  </a:extLst>
                </a:gridCol>
              </a:tblGrid>
              <a:tr h="404632">
                <a:tc>
                  <a:txBody>
                    <a:bodyPr/>
                    <a:lstStyle/>
                    <a:p>
                      <a:pPr algn="ctr"/>
                      <a:r>
                        <a:rPr lang="en-DE" dirty="0">
                          <a:solidFill>
                            <a:schemeClr val="bg1"/>
                          </a:solidFill>
                        </a:rPr>
                        <a:t>Criteria</a:t>
                      </a:r>
                    </a:p>
                  </a:txBody>
                  <a:tcPr>
                    <a:solidFill>
                      <a:schemeClr val="tx2">
                        <a:lumMod val="75000"/>
                      </a:schemeClr>
                    </a:solidFill>
                  </a:tcPr>
                </a:tc>
                <a:tc>
                  <a:txBody>
                    <a:bodyPr/>
                    <a:lstStyle/>
                    <a:p>
                      <a:pPr algn="ctr"/>
                      <a:r>
                        <a:rPr lang="en-DE" dirty="0">
                          <a:solidFill>
                            <a:schemeClr val="bg1"/>
                          </a:solidFill>
                        </a:rPr>
                        <a:t>RAP based</a:t>
                      </a:r>
                    </a:p>
                  </a:txBody>
                  <a:tcPr>
                    <a:solidFill>
                      <a:schemeClr val="tx2">
                        <a:lumMod val="75000"/>
                      </a:schemeClr>
                    </a:solidFill>
                  </a:tcPr>
                </a:tc>
                <a:tc>
                  <a:txBody>
                    <a:bodyPr/>
                    <a:lstStyle/>
                    <a:p>
                      <a:pPr algn="ctr"/>
                      <a:r>
                        <a:rPr lang="en-DE" dirty="0">
                          <a:solidFill>
                            <a:schemeClr val="bg1"/>
                          </a:solidFill>
                        </a:rPr>
                        <a:t>AIF</a:t>
                      </a:r>
                    </a:p>
                  </a:txBody>
                  <a:tcPr>
                    <a:solidFill>
                      <a:schemeClr val="tx2">
                        <a:lumMod val="75000"/>
                      </a:schemeClr>
                    </a:solidFill>
                  </a:tcPr>
                </a:tc>
                <a:tc>
                  <a:txBody>
                    <a:bodyPr/>
                    <a:lstStyle/>
                    <a:p>
                      <a:pPr algn="ctr"/>
                      <a:r>
                        <a:rPr lang="en-DE">
                          <a:solidFill>
                            <a:schemeClr val="bg1"/>
                          </a:solidFill>
                        </a:rPr>
                        <a:t>EE Add-On</a:t>
                      </a:r>
                      <a:endParaRPr lang="en-DE" dirty="0">
                        <a:solidFill>
                          <a:schemeClr val="bg1"/>
                        </a:solidFill>
                      </a:endParaRPr>
                    </a:p>
                  </a:txBody>
                  <a:tcPr>
                    <a:solidFill>
                      <a:schemeClr val="tx2">
                        <a:lumMod val="75000"/>
                      </a:schemeClr>
                    </a:solidFill>
                  </a:tcPr>
                </a:tc>
                <a:extLst>
                  <a:ext uri="{0D108BD9-81ED-4DB2-BD59-A6C34878D82A}">
                    <a16:rowId xmlns:a16="http://schemas.microsoft.com/office/drawing/2014/main" val="3286270724"/>
                  </a:ext>
                </a:extLst>
              </a:tr>
              <a:tr h="517559">
                <a:tc>
                  <a:txBody>
                    <a:bodyPr/>
                    <a:lstStyle/>
                    <a:p>
                      <a:r>
                        <a:rPr lang="en-DE" sz="1100" dirty="0"/>
                        <a:t>Target Scenario</a:t>
                      </a:r>
                    </a:p>
                  </a:txBody>
                  <a:tcPr>
                    <a:solidFill>
                      <a:schemeClr val="bg1">
                        <a:lumMod val="85000"/>
                      </a:schemeClr>
                    </a:solidFill>
                  </a:tcPr>
                </a:tc>
                <a:tc>
                  <a:txBody>
                    <a:bodyPr/>
                    <a:lstStyle/>
                    <a:p>
                      <a:r>
                        <a:rPr lang="en-DE" sz="1100" dirty="0"/>
                        <a:t>Standard SAP / Go To Approach for SAP S/4HANA environments  2022+</a:t>
                      </a:r>
                    </a:p>
                  </a:txBody>
                  <a:tcPr>
                    <a:solidFill>
                      <a:schemeClr val="bg1"/>
                    </a:solidFill>
                  </a:tcPr>
                </a:tc>
                <a:tc>
                  <a:txBody>
                    <a:bodyPr/>
                    <a:lstStyle/>
                    <a:p>
                      <a:r>
                        <a:rPr lang="en-DE" sz="1100" dirty="0"/>
                        <a:t>Good choice for older backends specifically for existing AIF customers </a:t>
                      </a:r>
                    </a:p>
                  </a:txBody>
                  <a:tcPr>
                    <a:solidFill>
                      <a:schemeClr val="bg1"/>
                    </a:solidFill>
                  </a:tcPr>
                </a:tc>
                <a:tc>
                  <a:txBody>
                    <a:bodyPr/>
                    <a:lstStyle/>
                    <a:p>
                      <a:r>
                        <a:rPr lang="en-DE" sz="1100" dirty="0"/>
                        <a:t>Great choice for older backends, specifically with No Code / Low Code approach </a:t>
                      </a:r>
                    </a:p>
                  </a:txBody>
                  <a:tcPr>
                    <a:solidFill>
                      <a:schemeClr val="bg1"/>
                    </a:solidFill>
                  </a:tcPr>
                </a:tc>
                <a:extLst>
                  <a:ext uri="{0D108BD9-81ED-4DB2-BD59-A6C34878D82A}">
                    <a16:rowId xmlns:a16="http://schemas.microsoft.com/office/drawing/2014/main" val="1980444581"/>
                  </a:ext>
                </a:extLst>
              </a:tr>
              <a:tr h="327614">
                <a:tc>
                  <a:txBody>
                    <a:bodyPr/>
                    <a:lstStyle/>
                    <a:p>
                      <a:r>
                        <a:rPr lang="en-DE" sz="1100" dirty="0"/>
                        <a:t>Event Type</a:t>
                      </a:r>
                    </a:p>
                  </a:txBody>
                  <a:tcPr>
                    <a:solidFill>
                      <a:schemeClr val="bg1">
                        <a:lumMod val="85000"/>
                      </a:schemeClr>
                    </a:solidFill>
                  </a:tcPr>
                </a:tc>
                <a:tc>
                  <a:txBody>
                    <a:bodyPr/>
                    <a:lstStyle/>
                    <a:p>
                      <a:r>
                        <a:rPr lang="en-DE" sz="1100" dirty="0"/>
                        <a:t>Extensible Standard and Custom Events</a:t>
                      </a:r>
                    </a:p>
                  </a:txBody>
                  <a:tcPr>
                    <a:solidFill>
                      <a:schemeClr val="bg1"/>
                    </a:solidFill>
                  </a:tcPr>
                </a:tc>
                <a:tc>
                  <a:txBody>
                    <a:bodyPr/>
                    <a:lstStyle/>
                    <a:p>
                      <a:r>
                        <a:rPr lang="en-DE" sz="1100" dirty="0"/>
                        <a:t>Custom Events (data and notification) </a:t>
                      </a:r>
                    </a:p>
                  </a:txBody>
                  <a:tcPr>
                    <a:solidFill>
                      <a:schemeClr val="bg1"/>
                    </a:solidFill>
                  </a:tcPr>
                </a:tc>
                <a:tc>
                  <a:txBody>
                    <a:bodyPr/>
                    <a:lstStyle/>
                    <a:p>
                      <a:r>
                        <a:rPr lang="en-DE" sz="1100" dirty="0"/>
                        <a:t>Custom Events (data and notification)</a:t>
                      </a:r>
                    </a:p>
                  </a:txBody>
                  <a:tcPr>
                    <a:solidFill>
                      <a:schemeClr val="bg1"/>
                    </a:solidFill>
                  </a:tcPr>
                </a:tc>
                <a:extLst>
                  <a:ext uri="{0D108BD9-81ED-4DB2-BD59-A6C34878D82A}">
                    <a16:rowId xmlns:a16="http://schemas.microsoft.com/office/drawing/2014/main" val="1901241364"/>
                  </a:ext>
                </a:extLst>
              </a:tr>
              <a:tr h="567395">
                <a:tc>
                  <a:txBody>
                    <a:bodyPr/>
                    <a:lstStyle/>
                    <a:p>
                      <a:r>
                        <a:rPr lang="en-DE" sz="1100" dirty="0"/>
                        <a:t>Event Trigger</a:t>
                      </a:r>
                    </a:p>
                  </a:txBody>
                  <a:tcPr>
                    <a:solidFill>
                      <a:schemeClr val="bg1">
                        <a:lumMod val="85000"/>
                      </a:schemeClr>
                    </a:solidFill>
                  </a:tcPr>
                </a:tc>
                <a:tc>
                  <a:txBody>
                    <a:bodyPr/>
                    <a:lstStyle/>
                    <a:p>
                      <a:r>
                        <a:rPr lang="en-DE" sz="1100" dirty="0"/>
                        <a:t>RAP BOs</a:t>
                      </a:r>
                    </a:p>
                  </a:txBody>
                  <a:tcPr>
                    <a:solidFill>
                      <a:schemeClr val="bg1"/>
                    </a:solidFill>
                  </a:tcPr>
                </a:tc>
                <a:tc>
                  <a:txBody>
                    <a:bodyPr/>
                    <a:lstStyle/>
                    <a:p>
                      <a:r>
                        <a:rPr lang="en-DE" sz="1100" dirty="0"/>
                        <a:t>BOR Objects</a:t>
                      </a:r>
                    </a:p>
                    <a:p>
                      <a:r>
                        <a:rPr lang="en-DE" sz="1100" dirty="0"/>
                        <a:t>I</a:t>
                      </a:r>
                      <a:r>
                        <a:rPr lang="en-GB" sz="1100" dirty="0"/>
                        <a:t>d</a:t>
                      </a:r>
                      <a:r>
                        <a:rPr lang="en-DE" sz="1100" dirty="0"/>
                        <a:t>ocs</a:t>
                      </a:r>
                    </a:p>
                    <a:p>
                      <a:r>
                        <a:rPr lang="en-DE" sz="1100" dirty="0"/>
                        <a:t>BAPIs/RFC</a:t>
                      </a:r>
                    </a:p>
                  </a:txBody>
                  <a:tcPr>
                    <a:solidFill>
                      <a:schemeClr val="bg1"/>
                    </a:solidFill>
                  </a:tcPr>
                </a:tc>
                <a:tc>
                  <a:txBody>
                    <a:bodyPr/>
                    <a:lstStyle/>
                    <a:p>
                      <a:pPr algn="l"/>
                      <a:r>
                        <a:rPr lang="en-DE" sz="1100" dirty="0"/>
                        <a:t>BOR Objects</a:t>
                      </a:r>
                    </a:p>
                    <a:p>
                      <a:pPr algn="l"/>
                      <a:r>
                        <a:rPr lang="en-DE" sz="1100" dirty="0"/>
                        <a:t>I</a:t>
                      </a:r>
                      <a:r>
                        <a:rPr lang="en-US" sz="1100" dirty="0"/>
                        <a:t>D</a:t>
                      </a:r>
                      <a:r>
                        <a:rPr lang="en-DE" sz="1100" dirty="0"/>
                        <a:t>ocs</a:t>
                      </a:r>
                    </a:p>
                    <a:p>
                      <a:pPr algn="l"/>
                      <a:r>
                        <a:rPr lang="en-DE" sz="1100" dirty="0"/>
                        <a:t>BAPIs/RFC </a:t>
                      </a:r>
                    </a:p>
                  </a:txBody>
                  <a:tcPr>
                    <a:solidFill>
                      <a:schemeClr val="bg1"/>
                    </a:solidFill>
                  </a:tcPr>
                </a:tc>
                <a:extLst>
                  <a:ext uri="{0D108BD9-81ED-4DB2-BD59-A6C34878D82A}">
                    <a16:rowId xmlns:a16="http://schemas.microsoft.com/office/drawing/2014/main" val="3890307727"/>
                  </a:ext>
                </a:extLst>
              </a:tr>
              <a:tr h="471590">
                <a:tc>
                  <a:txBody>
                    <a:bodyPr/>
                    <a:lstStyle/>
                    <a:p>
                      <a:r>
                        <a:rPr lang="en-DE" sz="1100" dirty="0"/>
                        <a:t>Commercials</a:t>
                      </a:r>
                    </a:p>
                  </a:txBody>
                  <a:tcPr>
                    <a:solidFill>
                      <a:schemeClr val="bg1">
                        <a:lumMod val="85000"/>
                      </a:schemeClr>
                    </a:solidFill>
                  </a:tcPr>
                </a:tc>
                <a:tc>
                  <a:txBody>
                    <a:bodyPr/>
                    <a:lstStyle/>
                    <a:p>
                      <a:r>
                        <a:rPr lang="en-DE" sz="1100" dirty="0"/>
                        <a:t>Free usage with EM, EMIS and AEM</a:t>
                      </a:r>
                    </a:p>
                  </a:txBody>
                  <a:tcPr>
                    <a:solidFill>
                      <a:schemeClr val="bg1"/>
                    </a:solidFill>
                  </a:tcPr>
                </a:tc>
                <a:tc>
                  <a:txBody>
                    <a:bodyPr/>
                    <a:lstStyle/>
                    <a:p>
                      <a:r>
                        <a:rPr lang="en-DE" sz="1100" dirty="0"/>
                        <a:t>Free usage with AEM</a:t>
                      </a:r>
                    </a:p>
                  </a:txBody>
                  <a:tcPr>
                    <a:solidFill>
                      <a:schemeClr val="bg1"/>
                    </a:solidFill>
                  </a:tcPr>
                </a:tc>
                <a:tc>
                  <a:txBody>
                    <a:bodyPr/>
                    <a:lstStyle/>
                    <a:p>
                      <a:r>
                        <a:rPr lang="en-DE" sz="1100" dirty="0"/>
                        <a:t>Included with EM and EMIS</a:t>
                      </a:r>
                    </a:p>
                    <a:p>
                      <a:r>
                        <a:rPr lang="en-DE" sz="1100" dirty="0"/>
                        <a:t>Partner Add-On (ASAPIO) for AEM</a:t>
                      </a:r>
                    </a:p>
                  </a:txBody>
                  <a:tcPr>
                    <a:solidFill>
                      <a:schemeClr val="bg1"/>
                    </a:solidFill>
                  </a:tcPr>
                </a:tc>
                <a:extLst>
                  <a:ext uri="{0D108BD9-81ED-4DB2-BD59-A6C34878D82A}">
                    <a16:rowId xmlns:a16="http://schemas.microsoft.com/office/drawing/2014/main" val="3476668560"/>
                  </a:ext>
                </a:extLst>
              </a:tr>
              <a:tr h="622169">
                <a:tc>
                  <a:txBody>
                    <a:bodyPr/>
                    <a:lstStyle/>
                    <a:p>
                      <a:r>
                        <a:rPr lang="en-DE" sz="1100" dirty="0"/>
                        <a:t>Supported Backends</a:t>
                      </a:r>
                    </a:p>
                  </a:txBody>
                  <a:tcPr>
                    <a:solidFill>
                      <a:schemeClr val="bg1">
                        <a:lumMod val="85000"/>
                      </a:schemeClr>
                    </a:solidFill>
                  </a:tcPr>
                </a:tc>
                <a:tc>
                  <a:txBody>
                    <a:bodyPr/>
                    <a:lstStyle/>
                    <a:p>
                      <a:r>
                        <a:rPr lang="en-DE" sz="1100" b="1" dirty="0"/>
                        <a:t>SAP S/4HANA </a:t>
                      </a:r>
                      <a:r>
                        <a:rPr lang="en-DE" sz="1100" b="0" dirty="0"/>
                        <a:t>(2022 and 2023)</a:t>
                      </a:r>
                    </a:p>
                    <a:p>
                      <a:r>
                        <a:rPr lang="en-DE" sz="1100" b="1" dirty="0"/>
                        <a:t>SAP S/4HANA Cloud</a:t>
                      </a:r>
                    </a:p>
                  </a:txBody>
                  <a:tcPr>
                    <a:solidFill>
                      <a:schemeClr val="bg1"/>
                    </a:solidFill>
                  </a:tcPr>
                </a:tc>
                <a:tc>
                  <a:txBody>
                    <a:bodyPr/>
                    <a:lstStyle/>
                    <a:p>
                      <a:r>
                        <a:rPr lang="en-DE" sz="1100" b="1" dirty="0"/>
                        <a:t>SAP ECC</a:t>
                      </a:r>
                    </a:p>
                    <a:p>
                      <a:r>
                        <a:rPr lang="en-DE" sz="1100" dirty="0"/>
                        <a:t>SAP S/4HANA</a:t>
                      </a:r>
                    </a:p>
                    <a:p>
                      <a:r>
                        <a:rPr lang="en-DE" sz="1100" dirty="0"/>
                        <a:t>SAP S/4HANA Cloud</a:t>
                      </a:r>
                    </a:p>
                  </a:txBody>
                  <a:tcPr>
                    <a:solidFill>
                      <a:schemeClr val="bg1"/>
                    </a:solidFill>
                  </a:tcPr>
                </a:tc>
                <a:tc>
                  <a:txBody>
                    <a:bodyPr/>
                    <a:lstStyle/>
                    <a:p>
                      <a:r>
                        <a:rPr lang="en-DE" sz="1100" b="1" dirty="0"/>
                        <a:t>SAP ECC</a:t>
                      </a:r>
                    </a:p>
                    <a:p>
                      <a:r>
                        <a:rPr lang="en-DE" sz="1100" dirty="0"/>
                        <a:t>SAP S/4HANA</a:t>
                      </a:r>
                    </a:p>
                  </a:txBody>
                  <a:tcPr>
                    <a:solidFill>
                      <a:schemeClr val="bg1"/>
                    </a:solidFill>
                  </a:tcPr>
                </a:tc>
                <a:extLst>
                  <a:ext uri="{0D108BD9-81ED-4DB2-BD59-A6C34878D82A}">
                    <a16:rowId xmlns:a16="http://schemas.microsoft.com/office/drawing/2014/main" val="1202649488"/>
                  </a:ext>
                </a:extLst>
              </a:tr>
              <a:tr h="457748">
                <a:tc>
                  <a:txBody>
                    <a:bodyPr/>
                    <a:lstStyle/>
                    <a:p>
                      <a:r>
                        <a:rPr lang="en-DE" sz="1100" dirty="0"/>
                        <a:t>Delivery</a:t>
                      </a:r>
                    </a:p>
                  </a:txBody>
                  <a:tcPr>
                    <a:solidFill>
                      <a:schemeClr val="bg1">
                        <a:lumMod val="85000"/>
                      </a:schemeClr>
                    </a:solidFill>
                  </a:tcPr>
                </a:tc>
                <a:tc>
                  <a:txBody>
                    <a:bodyPr/>
                    <a:lstStyle/>
                    <a:p>
                      <a:r>
                        <a:rPr lang="en-DE" sz="1100" b="0" dirty="0"/>
                        <a:t>Included in SAP S/4HANA</a:t>
                      </a:r>
                    </a:p>
                  </a:txBody>
                  <a:tcPr>
                    <a:solidFill>
                      <a:schemeClr val="bg1"/>
                    </a:solidFill>
                  </a:tcPr>
                </a:tc>
                <a:tc>
                  <a:txBody>
                    <a:bodyPr/>
                    <a:lstStyle/>
                    <a:p>
                      <a:r>
                        <a:rPr lang="en-DE" sz="1100" dirty="0"/>
                        <a:t>Included in SAP S/4HANA</a:t>
                      </a:r>
                    </a:p>
                    <a:p>
                      <a:r>
                        <a:rPr lang="en-DE" sz="1100" dirty="0"/>
                        <a:t>Add-on for ECC</a:t>
                      </a:r>
                    </a:p>
                  </a:txBody>
                  <a:tcPr>
                    <a:solidFill>
                      <a:schemeClr val="bg1"/>
                    </a:solidFill>
                  </a:tcPr>
                </a:tc>
                <a:tc>
                  <a:txBody>
                    <a:bodyPr/>
                    <a:lstStyle/>
                    <a:p>
                      <a:r>
                        <a:rPr lang="en-DE" sz="1100" dirty="0"/>
                        <a:t>Add-On for SAP ECC and SAP S/4HANA</a:t>
                      </a:r>
                    </a:p>
                  </a:txBody>
                  <a:tcPr>
                    <a:solidFill>
                      <a:schemeClr val="bg1"/>
                    </a:solidFill>
                  </a:tcPr>
                </a:tc>
                <a:extLst>
                  <a:ext uri="{0D108BD9-81ED-4DB2-BD59-A6C34878D82A}">
                    <a16:rowId xmlns:a16="http://schemas.microsoft.com/office/drawing/2014/main" val="1161950460"/>
                  </a:ext>
                </a:extLst>
              </a:tr>
              <a:tr h="616908">
                <a:tc>
                  <a:txBody>
                    <a:bodyPr/>
                    <a:lstStyle/>
                    <a:p>
                      <a:r>
                        <a:rPr lang="en-DE" sz="1100" dirty="0"/>
                        <a:t>Supported Brokers</a:t>
                      </a:r>
                    </a:p>
                  </a:txBody>
                  <a:tcPr>
                    <a:solidFill>
                      <a:schemeClr val="bg1">
                        <a:lumMod val="85000"/>
                      </a:schemeClr>
                    </a:solidFill>
                  </a:tcPr>
                </a:tc>
                <a:tc>
                  <a:txBody>
                    <a:bodyPr/>
                    <a:lstStyle/>
                    <a:p>
                      <a:r>
                        <a:rPr lang="en-DE" sz="1100" dirty="0"/>
                        <a:t>SAP Event Mesh</a:t>
                      </a:r>
                    </a:p>
                    <a:p>
                      <a:r>
                        <a:rPr lang="en-DE" sz="1100" dirty="0"/>
                        <a:t>Event Mesh in Integration Suite</a:t>
                      </a:r>
                    </a:p>
                    <a:p>
                      <a:r>
                        <a:rPr lang="en-DE" sz="1100" dirty="0"/>
                        <a:t>Advanced Event Mesh</a:t>
                      </a:r>
                    </a:p>
                  </a:txBody>
                  <a:tcPr>
                    <a:solidFill>
                      <a:schemeClr val="bg1"/>
                    </a:solidFill>
                  </a:tcPr>
                </a:tc>
                <a:tc>
                  <a:txBody>
                    <a:bodyPr/>
                    <a:lstStyle/>
                    <a:p>
                      <a:r>
                        <a:rPr lang="en-DE" sz="1100" dirty="0"/>
                        <a:t>Advanced Event Mesh</a:t>
                      </a:r>
                    </a:p>
                  </a:txBody>
                  <a:tcPr>
                    <a:solidFill>
                      <a:schemeClr val="bg1"/>
                    </a:solidFill>
                  </a:tcPr>
                </a:tc>
                <a:tc>
                  <a:txBody>
                    <a:bodyPr/>
                    <a:lstStyle/>
                    <a:p>
                      <a:r>
                        <a:rPr lang="en-DE" sz="1100" dirty="0"/>
                        <a:t>SAP Event Mesh</a:t>
                      </a:r>
                    </a:p>
                    <a:p>
                      <a:r>
                        <a:rPr lang="en-DE" sz="1100" dirty="0"/>
                        <a:t>(Advanced Event Mesh – via paid partner version)</a:t>
                      </a:r>
                    </a:p>
                  </a:txBody>
                  <a:tcPr>
                    <a:solidFill>
                      <a:schemeClr val="bg1"/>
                    </a:solidFill>
                  </a:tcPr>
                </a:tc>
                <a:extLst>
                  <a:ext uri="{0D108BD9-81ED-4DB2-BD59-A6C34878D82A}">
                    <a16:rowId xmlns:a16="http://schemas.microsoft.com/office/drawing/2014/main" val="1726107075"/>
                  </a:ext>
                </a:extLst>
              </a:tr>
              <a:tr h="915809">
                <a:tc>
                  <a:txBody>
                    <a:bodyPr/>
                    <a:lstStyle/>
                    <a:p>
                      <a:r>
                        <a:rPr lang="en-DE" sz="1100" dirty="0"/>
                        <a:t>Highlights</a:t>
                      </a:r>
                    </a:p>
                  </a:txBody>
                  <a:tcPr>
                    <a:solidFill>
                      <a:schemeClr val="bg1">
                        <a:lumMod val="85000"/>
                      </a:schemeClr>
                    </a:solidFill>
                  </a:tcPr>
                </a:tc>
                <a:tc>
                  <a:txBody>
                    <a:bodyPr/>
                    <a:lstStyle/>
                    <a:p>
                      <a:pPr marL="285750" indent="-285750">
                        <a:buFont typeface="Arial" panose="020B0604020202020204" pitchFamily="34" charset="0"/>
                        <a:buChar char="•"/>
                      </a:pPr>
                      <a:r>
                        <a:rPr lang="en-DE" sz="1100" b="1" dirty="0"/>
                        <a:t>500+ ready to use standard events</a:t>
                      </a:r>
                    </a:p>
                    <a:p>
                      <a:pPr marL="285750" indent="-285750">
                        <a:buFont typeface="Arial" panose="020B0604020202020204" pitchFamily="34" charset="0"/>
                        <a:buChar char="•"/>
                      </a:pPr>
                      <a:r>
                        <a:rPr lang="en-DE" sz="1100" b="0" dirty="0"/>
                        <a:t>Very high scale out</a:t>
                      </a:r>
                    </a:p>
                    <a:p>
                      <a:pPr marL="285750" indent="-285750">
                        <a:buFont typeface="Arial" panose="020B0604020202020204" pitchFamily="34" charset="0"/>
                        <a:buChar char="•"/>
                      </a:pPr>
                      <a:r>
                        <a:rPr lang="en-DE" sz="1100" b="1" dirty="0"/>
                        <a:t>Standard RAP Framework approach</a:t>
                      </a:r>
                    </a:p>
                    <a:p>
                      <a:pPr marL="285750" indent="-285750">
                        <a:buFont typeface="Arial" panose="020B0604020202020204" pitchFamily="34" charset="0"/>
                        <a:buChar char="•"/>
                      </a:pPr>
                      <a:r>
                        <a:rPr lang="en-DE" sz="1100" b="0" dirty="0"/>
                        <a:t>A lof of sophisticated features</a:t>
                      </a:r>
                    </a:p>
                  </a:txBody>
                  <a:tcPr>
                    <a:solidFill>
                      <a:schemeClr val="bg1"/>
                    </a:solidFill>
                  </a:tcPr>
                </a:tc>
                <a:tc>
                  <a:txBody>
                    <a:bodyPr/>
                    <a:lstStyle/>
                    <a:p>
                      <a:pPr marL="285750" marR="0" lvl="0" indent="-285750" algn="l" defTabSz="1088558"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DE" sz="1100" b="1" dirty="0"/>
                        <a:t>Huge installed AIF base</a:t>
                      </a:r>
                    </a:p>
                    <a:p>
                      <a:pPr marL="285750" indent="-285750">
                        <a:buFont typeface="Arial" panose="020B0604020202020204" pitchFamily="34" charset="0"/>
                        <a:buChar char="•"/>
                      </a:pPr>
                      <a:r>
                        <a:rPr lang="en-DE" sz="1100" dirty="0"/>
                        <a:t>Great Monitoring Support</a:t>
                      </a:r>
                    </a:p>
                    <a:p>
                      <a:pPr marL="285750" indent="-285750">
                        <a:buFont typeface="Arial" panose="020B0604020202020204" pitchFamily="34" charset="0"/>
                        <a:buChar char="•"/>
                      </a:pPr>
                      <a:r>
                        <a:rPr lang="en-DE" sz="1100" b="1" dirty="0"/>
                        <a:t>Commercials</a:t>
                      </a:r>
                    </a:p>
                  </a:txBody>
                  <a:tcPr>
                    <a:solidFill>
                      <a:schemeClr val="bg1"/>
                    </a:solidFill>
                  </a:tcPr>
                </a:tc>
                <a:tc>
                  <a:txBody>
                    <a:bodyPr/>
                    <a:lstStyle/>
                    <a:p>
                      <a:pPr marL="285750" indent="-285750">
                        <a:buFont typeface="Arial" panose="020B0604020202020204" pitchFamily="34" charset="0"/>
                        <a:buChar char="•"/>
                      </a:pPr>
                      <a:r>
                        <a:rPr lang="en-DE" sz="1100" b="1" dirty="0"/>
                        <a:t>Great time to event</a:t>
                      </a:r>
                    </a:p>
                    <a:p>
                      <a:pPr marL="285750" indent="-285750">
                        <a:buFont typeface="Arial" panose="020B0604020202020204" pitchFamily="34" charset="0"/>
                        <a:buChar char="•"/>
                      </a:pPr>
                      <a:r>
                        <a:rPr lang="en-DE" sz="1100" dirty="0"/>
                        <a:t>Strong Low Code / No Code</a:t>
                      </a:r>
                    </a:p>
                    <a:p>
                      <a:pPr marL="285750" indent="-285750">
                        <a:buFont typeface="Arial" panose="020B0604020202020204" pitchFamily="34" charset="0"/>
                        <a:buChar char="•"/>
                      </a:pPr>
                      <a:r>
                        <a:rPr lang="en-DE" sz="1100" dirty="0"/>
                        <a:t>Different event creation technologies</a:t>
                      </a:r>
                    </a:p>
                    <a:p>
                      <a:pPr marL="285750" indent="-285750">
                        <a:buFont typeface="Arial" panose="020B0604020202020204" pitchFamily="34" charset="0"/>
                        <a:buChar char="•"/>
                      </a:pPr>
                      <a:r>
                        <a:rPr lang="en-DE" sz="1100" dirty="0"/>
                        <a:t>Goes back to very old backends</a:t>
                      </a:r>
                    </a:p>
                  </a:txBody>
                  <a:tcPr>
                    <a:solidFill>
                      <a:schemeClr val="bg1"/>
                    </a:solidFill>
                  </a:tcPr>
                </a:tc>
                <a:extLst>
                  <a:ext uri="{0D108BD9-81ED-4DB2-BD59-A6C34878D82A}">
                    <a16:rowId xmlns:a16="http://schemas.microsoft.com/office/drawing/2014/main" val="2668367139"/>
                  </a:ext>
                </a:extLst>
              </a:tr>
            </a:tbl>
          </a:graphicData>
        </a:graphic>
      </p:graphicFrame>
      <p:sp>
        <p:nvSpPr>
          <p:cNvPr id="3" name="Title 2">
            <a:extLst>
              <a:ext uri="{FF2B5EF4-FFF2-40B4-BE49-F238E27FC236}">
                <a16:creationId xmlns:a16="http://schemas.microsoft.com/office/drawing/2014/main" id="{6D37C55A-A0A7-6A8E-7E91-930A4EF522F5}"/>
              </a:ext>
            </a:extLst>
          </p:cNvPr>
          <p:cNvSpPr>
            <a:spLocks noGrp="1"/>
          </p:cNvSpPr>
          <p:nvPr>
            <p:ph type="title"/>
          </p:nvPr>
        </p:nvSpPr>
        <p:spPr>
          <a:xfrm>
            <a:off x="504001" y="504000"/>
            <a:ext cx="11186476" cy="677108"/>
          </a:xfrm>
        </p:spPr>
        <p:txBody>
          <a:bodyPr/>
          <a:lstStyle/>
          <a:p>
            <a:r>
              <a:rPr lang="en-DE" dirty="0"/>
              <a:t>Comparison RAP based, AIF, and Add-On based event enablement</a:t>
            </a:r>
            <a:br>
              <a:rPr lang="de-DE" dirty="0"/>
            </a:br>
            <a:r>
              <a:rPr lang="de-DE" sz="2000" dirty="0" err="1">
                <a:solidFill>
                  <a:srgbClr val="FFC000"/>
                </a:solidFill>
              </a:rPr>
              <a:t>When</a:t>
            </a:r>
            <a:r>
              <a:rPr lang="de-DE" sz="2000" dirty="0">
                <a:solidFill>
                  <a:srgbClr val="FFC000"/>
                </a:solidFill>
              </a:rPr>
              <a:t> </a:t>
            </a:r>
            <a:r>
              <a:rPr lang="de-DE" sz="2000" dirty="0" err="1">
                <a:solidFill>
                  <a:srgbClr val="FFC000"/>
                </a:solidFill>
              </a:rPr>
              <a:t>to</a:t>
            </a:r>
            <a:r>
              <a:rPr lang="de-DE" sz="2000" dirty="0">
                <a:solidFill>
                  <a:srgbClr val="FFC000"/>
                </a:solidFill>
              </a:rPr>
              <a:t> </a:t>
            </a:r>
            <a:r>
              <a:rPr lang="de-DE" sz="2000" dirty="0" err="1">
                <a:solidFill>
                  <a:srgbClr val="FFC000"/>
                </a:solidFill>
              </a:rPr>
              <a:t>use</a:t>
            </a:r>
            <a:r>
              <a:rPr lang="de-DE" sz="2000" dirty="0">
                <a:solidFill>
                  <a:srgbClr val="FFC000"/>
                </a:solidFill>
              </a:rPr>
              <a:t> </a:t>
            </a:r>
            <a:r>
              <a:rPr lang="de-DE" sz="2000" dirty="0" err="1">
                <a:solidFill>
                  <a:srgbClr val="FFC000"/>
                </a:solidFill>
              </a:rPr>
              <a:t>what</a:t>
            </a:r>
            <a:r>
              <a:rPr lang="de-DE" sz="2000" dirty="0">
                <a:solidFill>
                  <a:srgbClr val="FFC000"/>
                </a:solidFill>
              </a:rPr>
              <a:t>?</a:t>
            </a:r>
            <a:endParaRPr lang="en-DE" dirty="0">
              <a:solidFill>
                <a:srgbClr val="FFC000"/>
              </a:solidFill>
            </a:endParaRPr>
          </a:p>
        </p:txBody>
      </p:sp>
      <p:sp>
        <p:nvSpPr>
          <p:cNvPr id="2" name="Textfeld 1">
            <a:extLst>
              <a:ext uri="{FF2B5EF4-FFF2-40B4-BE49-F238E27FC236}">
                <a16:creationId xmlns:a16="http://schemas.microsoft.com/office/drawing/2014/main" id="{D0CCB027-5D90-A2AD-C46B-EDC81427A246}"/>
              </a:ext>
            </a:extLst>
          </p:cNvPr>
          <p:cNvSpPr txBox="1"/>
          <p:nvPr/>
        </p:nvSpPr>
        <p:spPr>
          <a:xfrm>
            <a:off x="7580822" y="1295959"/>
            <a:ext cx="753411" cy="276999"/>
          </a:xfrm>
          <a:prstGeom prst="rect">
            <a:avLst/>
          </a:prstGeom>
          <a:noFill/>
        </p:spPr>
        <p:txBody>
          <a:bodyPr wrap="none" lIns="0" tIns="0" rIns="0" bIns="0" rtlCol="0">
            <a:spAutoFit/>
          </a:bodyPr>
          <a:lstStyle/>
          <a:p>
            <a:pPr algn="l" fontAlgn="base">
              <a:spcBef>
                <a:spcPct val="50000"/>
              </a:spcBef>
              <a:spcAft>
                <a:spcPct val="0"/>
              </a:spcAft>
              <a:buClr>
                <a:schemeClr val="tx1"/>
              </a:buClr>
              <a:buSzPct val="100000"/>
            </a:pPr>
            <a:r>
              <a:rPr lang="en-US" sz="1800" kern="0" dirty="0">
                <a:solidFill>
                  <a:srgbClr val="FFC000"/>
                </a:solidFill>
                <a:latin typeface="72 Brand" panose="020B0504030603020204" pitchFamily="34" charset="0"/>
                <a:ea typeface="Arial Unicode MS" pitchFamily="34" charset="-128"/>
                <a:cs typeface="Arial Unicode MS" pitchFamily="34" charset="-128"/>
              </a:rPr>
              <a:t>Topic 5</a:t>
            </a:r>
          </a:p>
        </p:txBody>
      </p:sp>
      <p:sp>
        <p:nvSpPr>
          <p:cNvPr id="6" name="Textfeld 5">
            <a:extLst>
              <a:ext uri="{FF2B5EF4-FFF2-40B4-BE49-F238E27FC236}">
                <a16:creationId xmlns:a16="http://schemas.microsoft.com/office/drawing/2014/main" id="{3B57558F-423E-9F48-7B7C-ADF2F5E9C45A}"/>
              </a:ext>
            </a:extLst>
          </p:cNvPr>
          <p:cNvSpPr txBox="1"/>
          <p:nvPr/>
        </p:nvSpPr>
        <p:spPr>
          <a:xfrm>
            <a:off x="5273202" y="1295958"/>
            <a:ext cx="824385" cy="276999"/>
          </a:xfrm>
          <a:prstGeom prst="rect">
            <a:avLst/>
          </a:prstGeom>
          <a:noFill/>
        </p:spPr>
        <p:txBody>
          <a:bodyPr wrap="square" lIns="0" tIns="0" rIns="0" bIns="0" rtlCol="0">
            <a:spAutoFit/>
          </a:bodyPr>
          <a:lstStyle/>
          <a:p>
            <a:pPr algn="l" fontAlgn="base">
              <a:spcBef>
                <a:spcPct val="50000"/>
              </a:spcBef>
              <a:spcAft>
                <a:spcPct val="0"/>
              </a:spcAft>
              <a:buClr>
                <a:schemeClr val="tx1"/>
              </a:buClr>
              <a:buSzPct val="100000"/>
            </a:pPr>
            <a:r>
              <a:rPr lang="en-US" sz="1800" kern="0" dirty="0">
                <a:solidFill>
                  <a:srgbClr val="FFC000"/>
                </a:solidFill>
                <a:latin typeface="72 Brand" panose="020B0504030603020204" pitchFamily="34" charset="0"/>
                <a:ea typeface="Arial Unicode MS" pitchFamily="34" charset="-128"/>
                <a:cs typeface="Arial Unicode MS" pitchFamily="34" charset="-128"/>
              </a:rPr>
              <a:t>Topic 2</a:t>
            </a:r>
          </a:p>
        </p:txBody>
      </p:sp>
    </p:spTree>
    <p:extLst>
      <p:ext uri="{BB962C8B-B14F-4D97-AF65-F5344CB8AC3E}">
        <p14:creationId xmlns:p14="http://schemas.microsoft.com/office/powerpoint/2010/main" val="1446643629"/>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0D01C332-451C-3D47-FF27-530613F00F80}"/>
              </a:ext>
            </a:extLst>
          </p:cNvPr>
          <p:cNvSpPr>
            <a:spLocks noGrp="1"/>
          </p:cNvSpPr>
          <p:nvPr>
            <p:ph type="body" sz="quarter" idx="11"/>
          </p:nvPr>
        </p:nvSpPr>
        <p:spPr/>
        <p:txBody>
          <a:bodyPr>
            <a:normAutofit/>
          </a:bodyPr>
          <a:lstStyle/>
          <a:p>
            <a:pPr>
              <a:buNone/>
            </a:pPr>
            <a:r>
              <a:rPr lang="en-GB" dirty="0">
                <a:solidFill>
                  <a:srgbClr val="1F2328"/>
                </a:solidFill>
                <a:highlight>
                  <a:srgbClr val="FFFFFF"/>
                </a:highlight>
              </a:rPr>
              <a:t>AIFAEM allows to utilize AIF and its capabilities to </a:t>
            </a:r>
            <a:r>
              <a:rPr lang="en-GB" dirty="0">
                <a:solidFill>
                  <a:srgbClr val="1F2328"/>
                </a:solidFill>
              </a:rPr>
              <a:t>publish</a:t>
            </a:r>
            <a:r>
              <a:rPr lang="en-GB" dirty="0">
                <a:solidFill>
                  <a:srgbClr val="1F2328"/>
                </a:solidFill>
                <a:highlight>
                  <a:srgbClr val="FFFFFF"/>
                </a:highlight>
              </a:rPr>
              <a:t> custom events via AIF to SAP Integration Suite, advanced event mesh for processing and monitoring</a:t>
            </a:r>
            <a:endParaRPr lang="en-DE" dirty="0">
              <a:solidFill>
                <a:srgbClr val="1F2328"/>
              </a:solidFill>
              <a:highlight>
                <a:srgbClr val="FFFFFF"/>
              </a:highlight>
            </a:endParaRPr>
          </a:p>
          <a:p>
            <a:r>
              <a:rPr lang="en-DE" dirty="0"/>
              <a:t>AIFAEM is composed of two components:</a:t>
            </a:r>
          </a:p>
          <a:p>
            <a:pPr marL="342900" indent="-342900">
              <a:buFont typeface="Arial" panose="020B0604020202020204" pitchFamily="34" charset="0"/>
              <a:buChar char="•"/>
            </a:pPr>
            <a:r>
              <a:rPr lang="en-DE" dirty="0"/>
              <a:t>AIFAEM which mirrors the license within the ABAP system</a:t>
            </a:r>
          </a:p>
          <a:p>
            <a:pPr marL="342900" indent="-342900">
              <a:buFont typeface="Arial" panose="020B0604020202020204" pitchFamily="34" charset="0"/>
              <a:buChar char="•"/>
            </a:pPr>
            <a:r>
              <a:rPr lang="en-DE" dirty="0"/>
              <a:t>AEM Extension of AIF for the integration with SAP Integration Suite, advanced event mesh</a:t>
            </a:r>
            <a:endParaRPr lang="de-DE" dirty="0"/>
          </a:p>
          <a:p>
            <a:endParaRPr lang="en-DE" dirty="0"/>
          </a:p>
        </p:txBody>
      </p:sp>
      <p:sp>
        <p:nvSpPr>
          <p:cNvPr id="4" name="Title 3">
            <a:extLst>
              <a:ext uri="{FF2B5EF4-FFF2-40B4-BE49-F238E27FC236}">
                <a16:creationId xmlns:a16="http://schemas.microsoft.com/office/drawing/2014/main" id="{377EEF95-3476-293E-45A5-4A0CFB9EFF96}"/>
              </a:ext>
            </a:extLst>
          </p:cNvPr>
          <p:cNvSpPr>
            <a:spLocks noGrp="1"/>
          </p:cNvSpPr>
          <p:nvPr>
            <p:ph type="title"/>
          </p:nvPr>
        </p:nvSpPr>
        <p:spPr/>
        <p:txBody>
          <a:bodyPr/>
          <a:lstStyle/>
          <a:p>
            <a:r>
              <a:rPr lang="en-DE" dirty="0"/>
              <a:t>AIFAEM in Detail</a:t>
            </a:r>
          </a:p>
        </p:txBody>
      </p:sp>
      <p:pic>
        <p:nvPicPr>
          <p:cNvPr id="12" name="Picture Placeholder 11">
            <a:extLst>
              <a:ext uri="{FF2B5EF4-FFF2-40B4-BE49-F238E27FC236}">
                <a16:creationId xmlns:a16="http://schemas.microsoft.com/office/drawing/2014/main" id="{CE8ADB80-5598-ECDC-322C-2D4AB389DBC3}"/>
              </a:ext>
            </a:extLst>
          </p:cNvPr>
          <p:cNvPicPr>
            <a:picLocks noGrp="1" noChangeAspect="1"/>
          </p:cNvPicPr>
          <p:nvPr>
            <p:ph type="pic" sz="quarter" idx="10"/>
          </p:nvPr>
        </p:nvPicPr>
        <p:blipFill>
          <a:blip r:embed="rId2" cstate="screen">
            <a:extLst>
              <a:ext uri="{28A0092B-C50C-407E-A947-70E740481C1C}">
                <a14:useLocalDpi xmlns:a14="http://schemas.microsoft.com/office/drawing/2010/main"/>
              </a:ext>
            </a:extLst>
          </a:blip>
          <a:srcRect/>
          <a:stretch>
            <a:fillRect/>
          </a:stretch>
        </p:blipFill>
        <p:spPr/>
      </p:pic>
    </p:spTree>
    <p:extLst>
      <p:ext uri="{BB962C8B-B14F-4D97-AF65-F5344CB8AC3E}">
        <p14:creationId xmlns:p14="http://schemas.microsoft.com/office/powerpoint/2010/main" val="1747391950"/>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0D01C332-451C-3D47-FF27-530613F00F80}"/>
              </a:ext>
            </a:extLst>
          </p:cNvPr>
          <p:cNvSpPr>
            <a:spLocks noGrp="1"/>
          </p:cNvSpPr>
          <p:nvPr>
            <p:ph type="body" sz="quarter" idx="11"/>
          </p:nvPr>
        </p:nvSpPr>
        <p:spPr/>
        <p:txBody>
          <a:bodyPr>
            <a:normAutofit/>
          </a:bodyPr>
          <a:lstStyle/>
          <a:p>
            <a:pPr algn="l">
              <a:buNone/>
            </a:pPr>
            <a:r>
              <a:rPr lang="en-GB" dirty="0">
                <a:solidFill>
                  <a:srgbClr val="1F2328"/>
                </a:solidFill>
                <a:highlight>
                  <a:srgbClr val="FFFFFF"/>
                </a:highlight>
              </a:rPr>
              <a:t>Creation of custom events based on the BOR framework for SAP backends including SAP S/4HANA and SAP ECC</a:t>
            </a:r>
          </a:p>
          <a:p>
            <a:pPr algn="l">
              <a:buNone/>
            </a:pPr>
            <a:r>
              <a:rPr lang="en-GB" dirty="0">
                <a:solidFill>
                  <a:srgbClr val="1F2328"/>
                </a:solidFill>
                <a:highlight>
                  <a:srgbClr val="FFFFFF"/>
                </a:highlight>
              </a:rPr>
              <a:t>Support of </a:t>
            </a:r>
            <a:r>
              <a:rPr lang="en-GB" dirty="0" err="1">
                <a:solidFill>
                  <a:srgbClr val="1F2328"/>
                </a:solidFill>
                <a:highlight>
                  <a:srgbClr val="FFFFFF"/>
                </a:highlight>
              </a:rPr>
              <a:t>CloudEvents</a:t>
            </a:r>
            <a:r>
              <a:rPr lang="en-GB" dirty="0">
                <a:solidFill>
                  <a:srgbClr val="1F2328"/>
                </a:solidFill>
                <a:highlight>
                  <a:srgbClr val="FFFFFF"/>
                </a:highlight>
              </a:rPr>
              <a:t> format</a:t>
            </a:r>
          </a:p>
          <a:p>
            <a:pPr algn="l">
              <a:buNone/>
            </a:pPr>
            <a:r>
              <a:rPr lang="en-GB" dirty="0">
                <a:solidFill>
                  <a:srgbClr val="1F2328"/>
                </a:solidFill>
                <a:highlight>
                  <a:srgbClr val="FFFFFF"/>
                </a:highlight>
              </a:rPr>
              <a:t>Sophisticated structure mapping</a:t>
            </a:r>
          </a:p>
          <a:p>
            <a:pPr>
              <a:buNone/>
            </a:pPr>
            <a:r>
              <a:rPr lang="en-GB" dirty="0">
                <a:solidFill>
                  <a:srgbClr val="1F2328"/>
                </a:solidFill>
                <a:highlight>
                  <a:srgbClr val="FFFFFF"/>
                </a:highlight>
              </a:rPr>
              <a:t>Event connectivity to SAP Integration Suite, advanced event mesh</a:t>
            </a:r>
          </a:p>
          <a:p>
            <a:pPr algn="l">
              <a:buNone/>
            </a:pPr>
            <a:r>
              <a:rPr lang="en-GB" dirty="0">
                <a:solidFill>
                  <a:srgbClr val="1F2328"/>
                </a:solidFill>
                <a:highlight>
                  <a:srgbClr val="FFFFFF"/>
                </a:highlight>
              </a:rPr>
              <a:t>Monitoring and Error Handling Integration </a:t>
            </a:r>
          </a:p>
          <a:p>
            <a:pPr marL="342900" indent="-342900">
              <a:buFont typeface="Arial" panose="020B0604020202020204" pitchFamily="34" charset="0"/>
              <a:buChar char="•"/>
            </a:pPr>
            <a:r>
              <a:rPr lang="en-GB" dirty="0">
                <a:solidFill>
                  <a:srgbClr val="1F2328"/>
                </a:solidFill>
              </a:rPr>
              <a:t>Transaction /AIF/ERR</a:t>
            </a:r>
          </a:p>
          <a:p>
            <a:pPr marL="342900" indent="-342900">
              <a:buFont typeface="Arial" panose="020B0604020202020204" pitchFamily="34" charset="0"/>
              <a:buChar char="•"/>
            </a:pPr>
            <a:r>
              <a:rPr lang="en-GB" dirty="0">
                <a:solidFill>
                  <a:srgbClr val="1F2328"/>
                </a:solidFill>
              </a:rPr>
              <a:t>SAP Fiori Message Monitoring App</a:t>
            </a:r>
            <a:endParaRPr lang="en-DE" dirty="0">
              <a:solidFill>
                <a:srgbClr val="1F2328"/>
              </a:solidFill>
            </a:endParaRPr>
          </a:p>
        </p:txBody>
      </p:sp>
      <p:sp>
        <p:nvSpPr>
          <p:cNvPr id="4" name="Title 3">
            <a:extLst>
              <a:ext uri="{FF2B5EF4-FFF2-40B4-BE49-F238E27FC236}">
                <a16:creationId xmlns:a16="http://schemas.microsoft.com/office/drawing/2014/main" id="{377EEF95-3476-293E-45A5-4A0CFB9EFF96}"/>
              </a:ext>
            </a:extLst>
          </p:cNvPr>
          <p:cNvSpPr>
            <a:spLocks noGrp="1"/>
          </p:cNvSpPr>
          <p:nvPr>
            <p:ph type="title"/>
          </p:nvPr>
        </p:nvSpPr>
        <p:spPr/>
        <p:txBody>
          <a:bodyPr/>
          <a:lstStyle/>
          <a:p>
            <a:r>
              <a:rPr lang="en-DE" dirty="0"/>
              <a:t>AIFAEM Features</a:t>
            </a:r>
          </a:p>
        </p:txBody>
      </p:sp>
      <p:pic>
        <p:nvPicPr>
          <p:cNvPr id="6" name="Picture Placeholder 5">
            <a:extLst>
              <a:ext uri="{FF2B5EF4-FFF2-40B4-BE49-F238E27FC236}">
                <a16:creationId xmlns:a16="http://schemas.microsoft.com/office/drawing/2014/main" id="{EB04DC9D-9EA0-241A-4714-45A90A197E57}"/>
              </a:ext>
            </a:extLst>
          </p:cNvPr>
          <p:cNvPicPr>
            <a:picLocks noGrp="1" noChangeAspect="1"/>
          </p:cNvPicPr>
          <p:nvPr>
            <p:ph type="pic" sz="quarter" idx="10"/>
          </p:nvPr>
        </p:nvPicPr>
        <p:blipFill>
          <a:blip r:embed="rId2" cstate="screen">
            <a:extLst>
              <a:ext uri="{28A0092B-C50C-407E-A947-70E740481C1C}">
                <a14:useLocalDpi xmlns:a14="http://schemas.microsoft.com/office/drawing/2010/main"/>
              </a:ext>
            </a:extLst>
          </a:blip>
          <a:srcRect/>
          <a:stretch>
            <a:fillRect/>
          </a:stretch>
        </p:blipFill>
        <p:spPr/>
      </p:pic>
    </p:spTree>
    <p:extLst>
      <p:ext uri="{BB962C8B-B14F-4D97-AF65-F5344CB8AC3E}">
        <p14:creationId xmlns:p14="http://schemas.microsoft.com/office/powerpoint/2010/main" val="2621800400"/>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0D01C332-451C-3D47-FF27-530613F00F80}"/>
              </a:ext>
            </a:extLst>
          </p:cNvPr>
          <p:cNvSpPr>
            <a:spLocks noGrp="1"/>
          </p:cNvSpPr>
          <p:nvPr>
            <p:ph type="body" sz="quarter" idx="11"/>
          </p:nvPr>
        </p:nvSpPr>
        <p:spPr/>
        <p:txBody>
          <a:bodyPr>
            <a:normAutofit/>
          </a:bodyPr>
          <a:lstStyle/>
          <a:p>
            <a:pPr algn="l">
              <a:buNone/>
            </a:pPr>
            <a:r>
              <a:rPr lang="en-GB" i="0" dirty="0">
                <a:solidFill>
                  <a:srgbClr val="1F2328"/>
                </a:solidFill>
                <a:effectLst/>
                <a:highlight>
                  <a:srgbClr val="FFFFFF"/>
                </a:highlight>
              </a:rPr>
              <a:t>Supported releases for AIFAEM </a:t>
            </a:r>
            <a:r>
              <a:rPr lang="en-GB" b="0" i="0" dirty="0">
                <a:solidFill>
                  <a:srgbClr val="1F2328"/>
                </a:solidFill>
                <a:effectLst/>
                <a:highlight>
                  <a:srgbClr val="FFFFFF"/>
                </a:highlight>
              </a:rPr>
              <a:t>are:</a:t>
            </a:r>
          </a:p>
          <a:p>
            <a:pPr marL="742950" lvl="1" indent="-285750"/>
            <a:r>
              <a:rPr lang="en-GB" dirty="0">
                <a:solidFill>
                  <a:srgbClr val="1F2328"/>
                </a:solidFill>
                <a:highlight>
                  <a:srgbClr val="FFFFFF"/>
                </a:highlight>
              </a:rPr>
              <a:t>SAP NW 7.31 (ECC)</a:t>
            </a:r>
          </a:p>
          <a:p>
            <a:pPr marL="742950" lvl="1" indent="-285750"/>
            <a:r>
              <a:rPr lang="en-GB" dirty="0">
                <a:solidFill>
                  <a:srgbClr val="1F2328"/>
                </a:solidFill>
                <a:highlight>
                  <a:srgbClr val="FFFFFF"/>
                </a:highlight>
              </a:rPr>
              <a:t>SAP NW 7.55 (S/4 HANA 2020) and following</a:t>
            </a:r>
          </a:p>
          <a:p>
            <a:pPr algn="l">
              <a:buNone/>
            </a:pPr>
            <a:r>
              <a:rPr lang="en-GB" b="0" i="0" dirty="0">
                <a:solidFill>
                  <a:srgbClr val="1F2328"/>
                </a:solidFill>
                <a:effectLst/>
                <a:highlight>
                  <a:srgbClr val="FFFFFF"/>
                </a:highlight>
              </a:rPr>
              <a:t>AIFAEM is delivered as ABAP Add-On downloadable by customers</a:t>
            </a:r>
          </a:p>
          <a:p>
            <a:pPr marL="742950" lvl="1" indent="-285750" algn="l">
              <a:buFont typeface="Arial" panose="020B0604020202020204" pitchFamily="34" charset="0"/>
              <a:buChar char="•"/>
            </a:pPr>
            <a:r>
              <a:rPr lang="en-GB" b="0" i="0" dirty="0">
                <a:solidFill>
                  <a:srgbClr val="1F2328"/>
                </a:solidFill>
                <a:effectLst/>
                <a:highlight>
                  <a:srgbClr val="FFFFFF"/>
                </a:highlight>
              </a:rPr>
              <a:t>AIFAEM731: for SAP NW 7.31</a:t>
            </a:r>
          </a:p>
          <a:p>
            <a:pPr marL="742950" lvl="1" indent="-285750" algn="l">
              <a:buFont typeface="Arial" panose="020B0604020202020204" pitchFamily="34" charset="0"/>
              <a:buChar char="•"/>
            </a:pPr>
            <a:r>
              <a:rPr lang="en-GB" b="0" i="0" dirty="0">
                <a:solidFill>
                  <a:srgbClr val="1F2328"/>
                </a:solidFill>
                <a:effectLst/>
                <a:highlight>
                  <a:srgbClr val="FFFFFF"/>
                </a:highlight>
              </a:rPr>
              <a:t>AIFAEM800: for SAP NW 7.55, and subsequent releases</a:t>
            </a:r>
          </a:p>
          <a:p>
            <a:pPr>
              <a:buNone/>
            </a:pPr>
            <a:r>
              <a:rPr lang="de-DE" dirty="0">
                <a:solidFill>
                  <a:srgbClr val="1F2328"/>
                </a:solidFill>
                <a:highlight>
                  <a:srgbClr val="FFFFFF"/>
                </a:highlight>
              </a:rPr>
              <a:t>AIFAEM does not need AIFGEN as a prerequisite. Both modules work seamlessly in single installation.</a:t>
            </a:r>
            <a:endParaRPr lang="en-DE" dirty="0">
              <a:solidFill>
                <a:srgbClr val="1F2328"/>
              </a:solidFill>
              <a:highlight>
                <a:srgbClr val="FFFFFF"/>
              </a:highlight>
            </a:endParaRPr>
          </a:p>
          <a:p>
            <a:endParaRPr lang="en-DE" dirty="0"/>
          </a:p>
        </p:txBody>
      </p:sp>
      <p:sp>
        <p:nvSpPr>
          <p:cNvPr id="4" name="Title 3">
            <a:extLst>
              <a:ext uri="{FF2B5EF4-FFF2-40B4-BE49-F238E27FC236}">
                <a16:creationId xmlns:a16="http://schemas.microsoft.com/office/drawing/2014/main" id="{377EEF95-3476-293E-45A5-4A0CFB9EFF96}"/>
              </a:ext>
            </a:extLst>
          </p:cNvPr>
          <p:cNvSpPr>
            <a:spLocks noGrp="1"/>
          </p:cNvSpPr>
          <p:nvPr>
            <p:ph type="title"/>
          </p:nvPr>
        </p:nvSpPr>
        <p:spPr/>
        <p:txBody>
          <a:bodyPr/>
          <a:lstStyle/>
          <a:p>
            <a:r>
              <a:rPr lang="en-DE" dirty="0"/>
              <a:t>AIFAEM: Supported Releases</a:t>
            </a:r>
          </a:p>
        </p:txBody>
      </p:sp>
      <p:pic>
        <p:nvPicPr>
          <p:cNvPr id="16" name="Picture Placeholder 15">
            <a:extLst>
              <a:ext uri="{FF2B5EF4-FFF2-40B4-BE49-F238E27FC236}">
                <a16:creationId xmlns:a16="http://schemas.microsoft.com/office/drawing/2014/main" id="{6DA80A77-5342-9C7A-55CF-ED5359B2E534}"/>
              </a:ext>
            </a:extLst>
          </p:cNvPr>
          <p:cNvPicPr>
            <a:picLocks noGrp="1" noChangeAspect="1"/>
          </p:cNvPicPr>
          <p:nvPr>
            <p:ph type="pic" sz="quarter" idx="10"/>
          </p:nvPr>
        </p:nvPicPr>
        <p:blipFill rotWithShape="1">
          <a:blip r:embed="rId2" cstate="screen">
            <a:extLst>
              <a:ext uri="{28A0092B-C50C-407E-A947-70E740481C1C}">
                <a14:useLocalDpi xmlns:a14="http://schemas.microsoft.com/office/drawing/2010/main"/>
              </a:ext>
            </a:extLst>
          </a:blip>
          <a:srcRect/>
          <a:stretch/>
        </p:blipFill>
        <p:spPr>
          <a:xfrm>
            <a:off x="8127175" y="0"/>
            <a:ext cx="4068000" cy="6858000"/>
          </a:xfrm>
        </p:spPr>
      </p:pic>
    </p:spTree>
    <p:extLst>
      <p:ext uri="{BB962C8B-B14F-4D97-AF65-F5344CB8AC3E}">
        <p14:creationId xmlns:p14="http://schemas.microsoft.com/office/powerpoint/2010/main" val="4277530577"/>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0D01C332-451C-3D47-FF27-530613F00F80}"/>
              </a:ext>
            </a:extLst>
          </p:cNvPr>
          <p:cNvSpPr>
            <a:spLocks noGrp="1"/>
          </p:cNvSpPr>
          <p:nvPr>
            <p:ph type="body" sz="quarter" idx="11"/>
          </p:nvPr>
        </p:nvSpPr>
        <p:spPr/>
        <p:txBody>
          <a:bodyPr>
            <a:normAutofit/>
          </a:bodyPr>
          <a:lstStyle/>
          <a:p>
            <a:pPr>
              <a:buNone/>
            </a:pPr>
            <a:r>
              <a:rPr lang="de-DE" sz="2000" dirty="0"/>
              <a:t>AIFAEM usage right is included with your SAP Integration Suite, advanced event mesh entitlement</a:t>
            </a:r>
          </a:p>
          <a:p>
            <a:pPr>
              <a:buNone/>
            </a:pPr>
            <a:r>
              <a:rPr lang="de-DE" sz="2000" dirty="0"/>
              <a:t>There is no additional charge for AIFAEM usage (i.e. events do not count into AIF message quota)</a:t>
            </a:r>
            <a:endParaRPr lang="en-DE" sz="2000" dirty="0"/>
          </a:p>
          <a:p>
            <a:endParaRPr lang="en-DE" dirty="0"/>
          </a:p>
        </p:txBody>
      </p:sp>
      <p:sp>
        <p:nvSpPr>
          <p:cNvPr id="4" name="Title 3">
            <a:extLst>
              <a:ext uri="{FF2B5EF4-FFF2-40B4-BE49-F238E27FC236}">
                <a16:creationId xmlns:a16="http://schemas.microsoft.com/office/drawing/2014/main" id="{377EEF95-3476-293E-45A5-4A0CFB9EFF96}"/>
              </a:ext>
            </a:extLst>
          </p:cNvPr>
          <p:cNvSpPr>
            <a:spLocks noGrp="1"/>
          </p:cNvSpPr>
          <p:nvPr>
            <p:ph type="title"/>
          </p:nvPr>
        </p:nvSpPr>
        <p:spPr/>
        <p:txBody>
          <a:bodyPr/>
          <a:lstStyle/>
          <a:p>
            <a:r>
              <a:rPr lang="en-DE" dirty="0"/>
              <a:t>AIFAEM: Commercials</a:t>
            </a:r>
          </a:p>
        </p:txBody>
      </p:sp>
      <p:pic>
        <p:nvPicPr>
          <p:cNvPr id="12" name="Picture Placeholder 11">
            <a:extLst>
              <a:ext uri="{FF2B5EF4-FFF2-40B4-BE49-F238E27FC236}">
                <a16:creationId xmlns:a16="http://schemas.microsoft.com/office/drawing/2014/main" id="{80D48267-ABAB-8C6C-610C-A9A9BEE92C95}"/>
              </a:ext>
            </a:extLst>
          </p:cNvPr>
          <p:cNvPicPr>
            <a:picLocks noGrp="1" noChangeAspect="1"/>
          </p:cNvPicPr>
          <p:nvPr>
            <p:ph type="pic" sz="quarter" idx="10"/>
          </p:nvPr>
        </p:nvPicPr>
        <p:blipFill>
          <a:blip r:embed="rId2" cstate="screen">
            <a:extLst>
              <a:ext uri="{28A0092B-C50C-407E-A947-70E740481C1C}">
                <a14:useLocalDpi xmlns:a14="http://schemas.microsoft.com/office/drawing/2010/main"/>
              </a:ext>
            </a:extLst>
          </a:blip>
          <a:srcRect/>
          <a:stretch>
            <a:fillRect/>
          </a:stretch>
        </p:blipFill>
        <p:spPr/>
      </p:pic>
    </p:spTree>
    <p:extLst>
      <p:ext uri="{BB962C8B-B14F-4D97-AF65-F5344CB8AC3E}">
        <p14:creationId xmlns:p14="http://schemas.microsoft.com/office/powerpoint/2010/main" val="1985357591"/>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59EC54C-499D-D1FC-FEC2-9434B244F4E0}"/>
              </a:ext>
            </a:extLst>
          </p:cNvPr>
          <p:cNvSpPr>
            <a:spLocks noGrp="1"/>
          </p:cNvSpPr>
          <p:nvPr>
            <p:ph type="body" sz="quarter" idx="10"/>
          </p:nvPr>
        </p:nvSpPr>
        <p:spPr>
          <a:xfrm>
            <a:off x="504000" y="1620000"/>
            <a:ext cx="7395662" cy="4716000"/>
          </a:xfrm>
        </p:spPr>
        <p:txBody>
          <a:bodyPr>
            <a:normAutofit/>
          </a:bodyPr>
          <a:lstStyle/>
          <a:p>
            <a:pPr algn="l">
              <a:buNone/>
            </a:pPr>
            <a:r>
              <a:rPr lang="en-US" dirty="0">
                <a:latin typeface="Arial" panose="020B0604020202020204" pitchFamily="34" charset="0"/>
              </a:rPr>
              <a:t>Blog on AIFAEM: </a:t>
            </a:r>
            <a:r>
              <a:rPr lang="en-US" dirty="0">
                <a:solidFill>
                  <a:srgbClr val="0076CA"/>
                </a:solidFill>
                <a:latin typeface="Arial" panose="020B0604020202020204" pitchFamily="34" charset="0"/>
                <a:hlinkClick r:id="rId3"/>
              </a:rPr>
              <a:t>A Natural Choice: SAP AIF can now expose events</a:t>
            </a:r>
            <a:r>
              <a:rPr lang="en-US" dirty="0">
                <a:solidFill>
                  <a:srgbClr val="0076CA"/>
                </a:solidFill>
                <a:latin typeface="Arial" panose="020B0604020202020204" pitchFamily="34" charset="0"/>
              </a:rPr>
              <a:t> </a:t>
            </a:r>
            <a:endParaRPr lang="en-US" dirty="0">
              <a:latin typeface="Arial" panose="020B0604020202020204" pitchFamily="34" charset="0"/>
            </a:endParaRPr>
          </a:p>
          <a:p>
            <a:pPr algn="l">
              <a:buNone/>
            </a:pPr>
            <a:r>
              <a:rPr lang="en-US" dirty="0">
                <a:latin typeface="Arial" panose="020B0604020202020204" pitchFamily="34" charset="0"/>
              </a:rPr>
              <a:t>Blog on AIF: </a:t>
            </a:r>
            <a:r>
              <a:rPr lang="en-US" dirty="0">
                <a:solidFill>
                  <a:srgbClr val="0076CA"/>
                </a:solidFill>
                <a:latin typeface="Arial" panose="020B0604020202020204" pitchFamily="34" charset="0"/>
                <a:hlinkClick r:id="rId4"/>
              </a:rPr>
              <a:t>SAP Application Interface Framework: All you need to know</a:t>
            </a:r>
            <a:r>
              <a:rPr lang="en-US" dirty="0">
                <a:solidFill>
                  <a:srgbClr val="0076CA"/>
                </a:solidFill>
                <a:latin typeface="Arial" panose="020B0604020202020204" pitchFamily="34" charset="0"/>
              </a:rPr>
              <a:t> </a:t>
            </a:r>
          </a:p>
          <a:p>
            <a:pPr algn="l">
              <a:buNone/>
            </a:pPr>
            <a:r>
              <a:rPr lang="en-US" dirty="0">
                <a:latin typeface="Arial" panose="020B0604020202020204" pitchFamily="34" charset="0"/>
              </a:rPr>
              <a:t>Blog</a:t>
            </a:r>
            <a:r>
              <a:rPr lang="en-DE" dirty="0">
                <a:latin typeface="Arial" panose="020B0604020202020204" pitchFamily="34" charset="0"/>
              </a:rPr>
              <a:t>s</a:t>
            </a:r>
            <a:r>
              <a:rPr lang="en-US" dirty="0">
                <a:latin typeface="Arial" panose="020B0604020202020204" pitchFamily="34" charset="0"/>
              </a:rPr>
              <a:t> creating an AIF based event: </a:t>
            </a:r>
            <a:endParaRPr lang="en-DE" dirty="0">
              <a:latin typeface="Arial" panose="020B0604020202020204" pitchFamily="34" charset="0"/>
            </a:endParaRPr>
          </a:p>
          <a:p>
            <a:pPr algn="l">
              <a:buNone/>
            </a:pPr>
            <a:r>
              <a:rPr lang="en-US" dirty="0">
                <a:solidFill>
                  <a:srgbClr val="0076CA"/>
                </a:solidFill>
                <a:latin typeface="Arial" panose="020B0604020202020204" pitchFamily="34" charset="0"/>
                <a:hlinkClick r:id="rId5"/>
              </a:rPr>
              <a:t>How to integrate SAP S/4HANA BOR Framework with SAP Integration Suite, advanced event mesh using AIF</a:t>
            </a:r>
            <a:r>
              <a:rPr lang="en-DE" dirty="0">
                <a:solidFill>
                  <a:srgbClr val="0076CA"/>
                </a:solidFill>
                <a:latin typeface="Arial" panose="020B0604020202020204" pitchFamily="34" charset="0"/>
              </a:rPr>
              <a:t> </a:t>
            </a:r>
          </a:p>
          <a:p>
            <a:pPr algn="l">
              <a:buNone/>
            </a:pPr>
            <a:r>
              <a:rPr lang="en-US" dirty="0">
                <a:solidFill>
                  <a:srgbClr val="0076CA"/>
                </a:solidFill>
                <a:latin typeface="Arial" panose="020B0604020202020204" pitchFamily="34" charset="0"/>
                <a:hlinkClick r:id="rId6"/>
              </a:rPr>
              <a:t>How to set up enhanced SAP Events for Advanced Event Mesh with Application Interface Framework</a:t>
            </a:r>
            <a:endParaRPr lang="en-US" dirty="0">
              <a:latin typeface="Arial" panose="020B0604020202020204" pitchFamily="34" charset="0"/>
            </a:endParaRPr>
          </a:p>
          <a:p>
            <a:pPr>
              <a:buNone/>
            </a:pPr>
            <a:r>
              <a:rPr lang="en-US" dirty="0">
                <a:latin typeface="Arial" panose="020B0604020202020204" pitchFamily="34" charset="0"/>
              </a:rPr>
              <a:t>Note on AIFAEM: </a:t>
            </a:r>
            <a:r>
              <a:rPr lang="en-US" dirty="0">
                <a:solidFill>
                  <a:srgbClr val="0076CA"/>
                </a:solidFill>
                <a:latin typeface="Arial" panose="020B0604020202020204" pitchFamily="34" charset="0"/>
                <a:hlinkClick r:id="rId7"/>
              </a:rPr>
              <a:t>Note on AIFAEM</a:t>
            </a:r>
            <a:r>
              <a:rPr lang="en-US" dirty="0">
                <a:solidFill>
                  <a:srgbClr val="0076CA"/>
                </a:solidFill>
                <a:latin typeface="Arial" panose="020B0604020202020204" pitchFamily="34" charset="0"/>
              </a:rPr>
              <a:t> </a:t>
            </a:r>
          </a:p>
          <a:p>
            <a:pPr algn="l">
              <a:buNone/>
            </a:pPr>
            <a:endParaRPr lang="en-DE" dirty="0"/>
          </a:p>
        </p:txBody>
      </p:sp>
      <p:sp>
        <p:nvSpPr>
          <p:cNvPr id="3" name="Title 2">
            <a:extLst>
              <a:ext uri="{FF2B5EF4-FFF2-40B4-BE49-F238E27FC236}">
                <a16:creationId xmlns:a16="http://schemas.microsoft.com/office/drawing/2014/main" id="{C6A44A78-E6E8-8B98-D0AA-55284C30067B}"/>
              </a:ext>
            </a:extLst>
          </p:cNvPr>
          <p:cNvSpPr>
            <a:spLocks noGrp="1"/>
          </p:cNvSpPr>
          <p:nvPr>
            <p:ph type="title"/>
          </p:nvPr>
        </p:nvSpPr>
        <p:spPr/>
        <p:txBody>
          <a:bodyPr/>
          <a:lstStyle/>
          <a:p>
            <a:r>
              <a:rPr lang="en-GB" dirty="0"/>
              <a:t>Additional Information on AIFAEM</a:t>
            </a:r>
            <a:endParaRPr lang="en-DE" dirty="0"/>
          </a:p>
        </p:txBody>
      </p:sp>
      <p:pic>
        <p:nvPicPr>
          <p:cNvPr id="6" name="Picture Placeholder 6">
            <a:extLst>
              <a:ext uri="{FF2B5EF4-FFF2-40B4-BE49-F238E27FC236}">
                <a16:creationId xmlns:a16="http://schemas.microsoft.com/office/drawing/2014/main" id="{FB43861B-EF2D-ECF4-C15B-718445C229B6}"/>
              </a:ext>
            </a:extLst>
          </p:cNvPr>
          <p:cNvPicPr>
            <a:picLocks noChangeAspect="1"/>
          </p:cNvPicPr>
          <p:nvPr/>
        </p:nvPicPr>
        <p:blipFill>
          <a:blip r:embed="rId8" cstate="screen">
            <a:extLst>
              <a:ext uri="{28A0092B-C50C-407E-A947-70E740481C1C}">
                <a14:useLocalDpi xmlns:a14="http://schemas.microsoft.com/office/drawing/2010/main"/>
              </a:ext>
            </a:extLst>
          </a:blip>
          <a:srcRect/>
          <a:stretch>
            <a:fillRect/>
          </a:stretch>
        </p:blipFill>
        <p:spPr bwMode="black">
          <a:xfrm>
            <a:off x="8127175" y="0"/>
            <a:ext cx="4068000" cy="6858000"/>
          </a:xfrm>
          <a:prstGeom prst="rect">
            <a:avLst/>
          </a:prstGeom>
        </p:spPr>
      </p:pic>
    </p:spTree>
    <p:extLst>
      <p:ext uri="{BB962C8B-B14F-4D97-AF65-F5344CB8AC3E}">
        <p14:creationId xmlns:p14="http://schemas.microsoft.com/office/powerpoint/2010/main" val="4237681256"/>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D620D5-CAEE-FC07-5AEE-8AF45C753C12}"/>
            </a:ext>
          </a:extLst>
        </p:cNvPr>
        <p:cNvGrpSpPr/>
        <p:nvPr/>
      </p:nvGrpSpPr>
      <p:grpSpPr>
        <a:xfrm>
          <a:off x="0" y="0"/>
          <a:ext cx="0" cy="0"/>
          <a:chOff x="0" y="0"/>
          <a:chExt cx="0" cy="0"/>
        </a:xfrm>
      </p:grpSpPr>
      <p:sp>
        <p:nvSpPr>
          <p:cNvPr id="4" name="Title">
            <a:extLst>
              <a:ext uri="{FF2B5EF4-FFF2-40B4-BE49-F238E27FC236}">
                <a16:creationId xmlns:a16="http://schemas.microsoft.com/office/drawing/2014/main" id="{C2E7248F-FF14-9D9D-FC68-F647113FDB6E}"/>
              </a:ext>
            </a:extLst>
          </p:cNvPr>
          <p:cNvSpPr>
            <a:spLocks noGrp="1"/>
          </p:cNvSpPr>
          <p:nvPr>
            <p:ph type="title"/>
          </p:nvPr>
        </p:nvSpPr>
        <p:spPr bwMode="gray">
          <a:xfrm>
            <a:off x="505457" y="504763"/>
            <a:ext cx="11183564" cy="646163"/>
          </a:xfrm>
        </p:spPr>
        <p:txBody>
          <a:bodyPr/>
          <a:lstStyle/>
          <a:p>
            <a:r>
              <a:rPr lang="en-US" dirty="0"/>
              <a:t>SAP Application Interface Framework</a:t>
            </a:r>
            <a:br>
              <a:rPr lang="en-US" dirty="0"/>
            </a:br>
            <a:r>
              <a:rPr lang="en-US" sz="1799" dirty="0"/>
              <a:t>Product Overview – SAP AIF Usage Scenario: AIFAEM</a:t>
            </a:r>
            <a:endParaRPr lang="en-US" dirty="0"/>
          </a:p>
        </p:txBody>
      </p:sp>
      <p:grpSp>
        <p:nvGrpSpPr>
          <p:cNvPr id="5" name="Group 4">
            <a:extLst>
              <a:ext uri="{FF2B5EF4-FFF2-40B4-BE49-F238E27FC236}">
                <a16:creationId xmlns:a16="http://schemas.microsoft.com/office/drawing/2014/main" id="{33572A3A-A585-DD15-FB72-659D746910C6}"/>
              </a:ext>
            </a:extLst>
          </p:cNvPr>
          <p:cNvGrpSpPr/>
          <p:nvPr/>
        </p:nvGrpSpPr>
        <p:grpSpPr>
          <a:xfrm>
            <a:off x="7106367" y="2886984"/>
            <a:ext cx="788242" cy="830521"/>
            <a:chOff x="4011261" y="4025341"/>
            <a:chExt cx="1506469" cy="1797540"/>
          </a:xfrm>
        </p:grpSpPr>
        <p:sp>
          <p:nvSpPr>
            <p:cNvPr id="6" name="Rectangle 5">
              <a:extLst>
                <a:ext uri="{FF2B5EF4-FFF2-40B4-BE49-F238E27FC236}">
                  <a16:creationId xmlns:a16="http://schemas.microsoft.com/office/drawing/2014/main" id="{545A89C1-D6D8-49A4-B6FD-5CE3C1264AAC}"/>
                </a:ext>
              </a:extLst>
            </p:cNvPr>
            <p:cNvSpPr/>
            <p:nvPr/>
          </p:nvSpPr>
          <p:spPr bwMode="gray">
            <a:xfrm>
              <a:off x="4313570" y="4314952"/>
              <a:ext cx="430407" cy="170112"/>
            </a:xfrm>
            <a:prstGeom prst="rect">
              <a:avLst/>
            </a:prstGeom>
            <a:solidFill>
              <a:schemeClr val="tx1"/>
            </a:solidFill>
            <a:ln w="6350" algn="ctr">
              <a:noFill/>
              <a:miter lim="800000"/>
              <a:headEnd/>
              <a:tailEnd/>
            </a:ln>
          </p:spPr>
          <p:txBody>
            <a:bodyPr lIns="89977" tIns="71981" rIns="89977" bIns="71981" rtlCol="0" anchor="ctr"/>
            <a:lstStyle/>
            <a:p>
              <a:pPr algn="ctr" defTabSz="914126" fontAlgn="base">
                <a:spcBef>
                  <a:spcPct val="50000"/>
                </a:spcBef>
                <a:spcAft>
                  <a:spcPct val="0"/>
                </a:spcAft>
                <a:buClr>
                  <a:srgbClr val="F0AB00"/>
                </a:buClr>
                <a:buSzPct val="80000"/>
              </a:pPr>
              <a:endParaRPr lang="en-US" sz="2099" kern="0">
                <a:ea typeface="Arial Unicode MS" pitchFamily="34" charset="-128"/>
                <a:cs typeface="Arial Unicode MS" pitchFamily="34" charset="-128"/>
              </a:endParaRPr>
            </a:p>
          </p:txBody>
        </p:sp>
        <p:cxnSp>
          <p:nvCxnSpPr>
            <p:cNvPr id="7" name="Straight Connector 6">
              <a:extLst>
                <a:ext uri="{FF2B5EF4-FFF2-40B4-BE49-F238E27FC236}">
                  <a16:creationId xmlns:a16="http://schemas.microsoft.com/office/drawing/2014/main" id="{7BF85219-BECD-CEDD-D79C-5E638D23F7CF}"/>
                </a:ext>
              </a:extLst>
            </p:cNvPr>
            <p:cNvCxnSpPr>
              <a:stCxn id="6" idx="1"/>
            </p:cNvCxnSpPr>
            <p:nvPr/>
          </p:nvCxnSpPr>
          <p:spPr>
            <a:xfrm flipH="1">
              <a:off x="4139359" y="4400009"/>
              <a:ext cx="174211"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8" name="Rectangle 7">
              <a:extLst>
                <a:ext uri="{FF2B5EF4-FFF2-40B4-BE49-F238E27FC236}">
                  <a16:creationId xmlns:a16="http://schemas.microsoft.com/office/drawing/2014/main" id="{7D634831-2787-6610-C956-0EC7F5D447EA}"/>
                </a:ext>
              </a:extLst>
            </p:cNvPr>
            <p:cNvSpPr/>
            <p:nvPr/>
          </p:nvSpPr>
          <p:spPr bwMode="gray">
            <a:xfrm>
              <a:off x="4763009" y="5652769"/>
              <a:ext cx="430407" cy="170112"/>
            </a:xfrm>
            <a:prstGeom prst="rect">
              <a:avLst/>
            </a:prstGeom>
            <a:solidFill>
              <a:schemeClr val="tx1"/>
            </a:solidFill>
            <a:ln w="6350" algn="ctr">
              <a:noFill/>
              <a:miter lim="800000"/>
              <a:headEnd/>
              <a:tailEnd/>
            </a:ln>
          </p:spPr>
          <p:txBody>
            <a:bodyPr lIns="89977" tIns="71981" rIns="89977" bIns="71981" rtlCol="0" anchor="ctr"/>
            <a:lstStyle/>
            <a:p>
              <a:pPr algn="ctr" defTabSz="914126" fontAlgn="base">
                <a:spcBef>
                  <a:spcPct val="50000"/>
                </a:spcBef>
                <a:spcAft>
                  <a:spcPct val="0"/>
                </a:spcAft>
                <a:buClr>
                  <a:srgbClr val="F0AB00"/>
                </a:buClr>
                <a:buSzPct val="80000"/>
              </a:pPr>
              <a:endParaRPr lang="en-US" sz="2099" kern="0">
                <a:ea typeface="Arial Unicode MS" pitchFamily="34" charset="-128"/>
                <a:cs typeface="Arial Unicode MS" pitchFamily="34" charset="-128"/>
              </a:endParaRPr>
            </a:p>
          </p:txBody>
        </p:sp>
        <p:cxnSp>
          <p:nvCxnSpPr>
            <p:cNvPr id="9" name="Straight Connector 8">
              <a:extLst>
                <a:ext uri="{FF2B5EF4-FFF2-40B4-BE49-F238E27FC236}">
                  <a16:creationId xmlns:a16="http://schemas.microsoft.com/office/drawing/2014/main" id="{32160DA6-69F1-0BF3-979B-3DB99E986E09}"/>
                </a:ext>
              </a:extLst>
            </p:cNvPr>
            <p:cNvCxnSpPr>
              <a:stCxn id="8" idx="1"/>
            </p:cNvCxnSpPr>
            <p:nvPr/>
          </p:nvCxnSpPr>
          <p:spPr>
            <a:xfrm flipH="1">
              <a:off x="4588797" y="5737825"/>
              <a:ext cx="174211"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66A4B394-71B2-16F3-381A-A818C657F525}"/>
                </a:ext>
              </a:extLst>
            </p:cNvPr>
            <p:cNvCxnSpPr/>
            <p:nvPr/>
          </p:nvCxnSpPr>
          <p:spPr>
            <a:xfrm flipV="1">
              <a:off x="4588797" y="5567005"/>
              <a:ext cx="0" cy="17082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Rectangle 11">
              <a:extLst>
                <a:ext uri="{FF2B5EF4-FFF2-40B4-BE49-F238E27FC236}">
                  <a16:creationId xmlns:a16="http://schemas.microsoft.com/office/drawing/2014/main" id="{8604F6A9-E44F-A7D4-771F-909AF69A8FCF}"/>
                </a:ext>
              </a:extLst>
            </p:cNvPr>
            <p:cNvSpPr/>
            <p:nvPr/>
          </p:nvSpPr>
          <p:spPr bwMode="gray">
            <a:xfrm>
              <a:off x="4332602" y="4992600"/>
              <a:ext cx="430407" cy="170112"/>
            </a:xfrm>
            <a:prstGeom prst="rect">
              <a:avLst/>
            </a:prstGeom>
            <a:solidFill>
              <a:schemeClr val="tx1"/>
            </a:solidFill>
            <a:ln w="6350" algn="ctr">
              <a:noFill/>
              <a:miter lim="800000"/>
              <a:headEnd/>
              <a:tailEnd/>
            </a:ln>
          </p:spPr>
          <p:txBody>
            <a:bodyPr lIns="89977" tIns="71981" rIns="89977" bIns="71981" rtlCol="0" anchor="ctr"/>
            <a:lstStyle/>
            <a:p>
              <a:pPr algn="ctr" defTabSz="914126" fontAlgn="base">
                <a:spcBef>
                  <a:spcPct val="50000"/>
                </a:spcBef>
                <a:spcAft>
                  <a:spcPct val="0"/>
                </a:spcAft>
                <a:buClr>
                  <a:srgbClr val="F0AB00"/>
                </a:buClr>
                <a:buSzPct val="80000"/>
              </a:pPr>
              <a:endParaRPr lang="en-US" sz="2099" kern="0">
                <a:ea typeface="Arial Unicode MS" pitchFamily="34" charset="-128"/>
                <a:cs typeface="Arial Unicode MS" pitchFamily="34" charset="-128"/>
              </a:endParaRPr>
            </a:p>
          </p:txBody>
        </p:sp>
        <p:cxnSp>
          <p:nvCxnSpPr>
            <p:cNvPr id="13" name="Straight Connector 12">
              <a:extLst>
                <a:ext uri="{FF2B5EF4-FFF2-40B4-BE49-F238E27FC236}">
                  <a16:creationId xmlns:a16="http://schemas.microsoft.com/office/drawing/2014/main" id="{BFE65C80-3027-71EE-794C-E231EF7AE51E}"/>
                </a:ext>
              </a:extLst>
            </p:cNvPr>
            <p:cNvCxnSpPr/>
            <p:nvPr/>
          </p:nvCxnSpPr>
          <p:spPr>
            <a:xfrm flipH="1">
              <a:off x="4149607" y="5077657"/>
              <a:ext cx="174211"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FDDFD497-2B3A-C959-4D98-6D8F3038ABB5}"/>
                </a:ext>
              </a:extLst>
            </p:cNvPr>
            <p:cNvSpPr/>
            <p:nvPr/>
          </p:nvSpPr>
          <p:spPr bwMode="gray">
            <a:xfrm>
              <a:off x="4709621" y="4559233"/>
              <a:ext cx="430407" cy="170112"/>
            </a:xfrm>
            <a:prstGeom prst="rect">
              <a:avLst/>
            </a:prstGeom>
            <a:solidFill>
              <a:schemeClr val="tx1"/>
            </a:solidFill>
            <a:ln w="6350" algn="ctr">
              <a:noFill/>
              <a:miter lim="800000"/>
              <a:headEnd/>
              <a:tailEnd/>
            </a:ln>
          </p:spPr>
          <p:txBody>
            <a:bodyPr lIns="89977" tIns="71981" rIns="89977" bIns="71981" rtlCol="0" anchor="ctr"/>
            <a:lstStyle/>
            <a:p>
              <a:pPr algn="ctr" defTabSz="914126" fontAlgn="base">
                <a:spcBef>
                  <a:spcPct val="50000"/>
                </a:spcBef>
                <a:spcAft>
                  <a:spcPct val="0"/>
                </a:spcAft>
                <a:buClr>
                  <a:srgbClr val="F0AB00"/>
                </a:buClr>
                <a:buSzPct val="80000"/>
              </a:pPr>
              <a:endParaRPr lang="en-US" sz="2099" kern="0">
                <a:ea typeface="Arial Unicode MS" pitchFamily="34" charset="-128"/>
                <a:cs typeface="Arial Unicode MS" pitchFamily="34" charset="-128"/>
              </a:endParaRPr>
            </a:p>
          </p:txBody>
        </p:sp>
        <p:cxnSp>
          <p:nvCxnSpPr>
            <p:cNvPr id="15" name="Straight Connector 14">
              <a:extLst>
                <a:ext uri="{FF2B5EF4-FFF2-40B4-BE49-F238E27FC236}">
                  <a16:creationId xmlns:a16="http://schemas.microsoft.com/office/drawing/2014/main" id="{2EC7AB6D-C52F-1634-B66B-F88985D07AE4}"/>
                </a:ext>
              </a:extLst>
            </p:cNvPr>
            <p:cNvCxnSpPr>
              <a:stCxn id="14" idx="1"/>
            </p:cNvCxnSpPr>
            <p:nvPr/>
          </p:nvCxnSpPr>
          <p:spPr>
            <a:xfrm flipH="1">
              <a:off x="4535409" y="4644289"/>
              <a:ext cx="174211"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8531AC06-2B87-2314-7971-9F09ED90F61D}"/>
                </a:ext>
              </a:extLst>
            </p:cNvPr>
            <p:cNvCxnSpPr/>
            <p:nvPr/>
          </p:nvCxnSpPr>
          <p:spPr>
            <a:xfrm flipV="1">
              <a:off x="4535409" y="4473469"/>
              <a:ext cx="0" cy="17082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7" name="Rectangle 16">
              <a:extLst>
                <a:ext uri="{FF2B5EF4-FFF2-40B4-BE49-F238E27FC236}">
                  <a16:creationId xmlns:a16="http://schemas.microsoft.com/office/drawing/2014/main" id="{EDA7A0EF-0E8C-6FB4-40FB-D48169F54933}"/>
                </a:ext>
              </a:extLst>
            </p:cNvPr>
            <p:cNvSpPr/>
            <p:nvPr/>
          </p:nvSpPr>
          <p:spPr bwMode="gray">
            <a:xfrm>
              <a:off x="5087323" y="4829167"/>
              <a:ext cx="430407" cy="170112"/>
            </a:xfrm>
            <a:prstGeom prst="rect">
              <a:avLst/>
            </a:prstGeom>
            <a:solidFill>
              <a:schemeClr val="tx1"/>
            </a:solidFill>
            <a:ln w="6350" algn="ctr">
              <a:noFill/>
              <a:miter lim="800000"/>
              <a:headEnd/>
              <a:tailEnd/>
            </a:ln>
          </p:spPr>
          <p:txBody>
            <a:bodyPr lIns="89977" tIns="71981" rIns="89977" bIns="71981" rtlCol="0" anchor="ctr"/>
            <a:lstStyle/>
            <a:p>
              <a:pPr algn="ctr" defTabSz="914126" fontAlgn="base">
                <a:spcBef>
                  <a:spcPct val="50000"/>
                </a:spcBef>
                <a:spcAft>
                  <a:spcPct val="0"/>
                </a:spcAft>
                <a:buClr>
                  <a:srgbClr val="F0AB00"/>
                </a:buClr>
                <a:buSzPct val="80000"/>
              </a:pPr>
              <a:endParaRPr lang="en-US" sz="2099" kern="0">
                <a:ea typeface="Arial Unicode MS" pitchFamily="34" charset="-128"/>
                <a:cs typeface="Arial Unicode MS" pitchFamily="34" charset="-128"/>
              </a:endParaRPr>
            </a:p>
          </p:txBody>
        </p:sp>
        <p:cxnSp>
          <p:nvCxnSpPr>
            <p:cNvPr id="18" name="Straight Connector 17">
              <a:extLst>
                <a:ext uri="{FF2B5EF4-FFF2-40B4-BE49-F238E27FC236}">
                  <a16:creationId xmlns:a16="http://schemas.microsoft.com/office/drawing/2014/main" id="{A48D87E3-293A-6C0F-F717-66AAA7D7739D}"/>
                </a:ext>
              </a:extLst>
            </p:cNvPr>
            <p:cNvCxnSpPr>
              <a:stCxn id="17" idx="1"/>
            </p:cNvCxnSpPr>
            <p:nvPr/>
          </p:nvCxnSpPr>
          <p:spPr>
            <a:xfrm flipH="1">
              <a:off x="4913112" y="4914223"/>
              <a:ext cx="174211"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36BA939E-97A9-233E-EA48-781EAB0645E1}"/>
                </a:ext>
              </a:extLst>
            </p:cNvPr>
            <p:cNvCxnSpPr/>
            <p:nvPr/>
          </p:nvCxnSpPr>
          <p:spPr>
            <a:xfrm flipV="1">
              <a:off x="4913112" y="4743404"/>
              <a:ext cx="0" cy="17082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04264DD5-8E11-2F96-650C-F1DB8FF74B3D}"/>
                </a:ext>
              </a:extLst>
            </p:cNvPr>
            <p:cNvCxnSpPr/>
            <p:nvPr/>
          </p:nvCxnSpPr>
          <p:spPr>
            <a:xfrm>
              <a:off x="4139359" y="4195453"/>
              <a:ext cx="0" cy="1312294"/>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0FC682B4-00EB-886C-8330-CAA2F013AC8E}"/>
                </a:ext>
              </a:extLst>
            </p:cNvPr>
            <p:cNvSpPr/>
            <p:nvPr/>
          </p:nvSpPr>
          <p:spPr bwMode="gray">
            <a:xfrm>
              <a:off x="4332602" y="5407558"/>
              <a:ext cx="430407" cy="170112"/>
            </a:xfrm>
            <a:prstGeom prst="rect">
              <a:avLst/>
            </a:prstGeom>
            <a:solidFill>
              <a:schemeClr val="tx1"/>
            </a:solidFill>
            <a:ln w="6350" algn="ctr">
              <a:noFill/>
              <a:miter lim="800000"/>
              <a:headEnd/>
              <a:tailEnd/>
            </a:ln>
          </p:spPr>
          <p:txBody>
            <a:bodyPr lIns="89977" tIns="71981" rIns="89977" bIns="71981" rtlCol="0" anchor="ctr"/>
            <a:lstStyle/>
            <a:p>
              <a:pPr algn="ctr" defTabSz="914126" fontAlgn="base">
                <a:spcBef>
                  <a:spcPct val="50000"/>
                </a:spcBef>
                <a:spcAft>
                  <a:spcPct val="0"/>
                </a:spcAft>
                <a:buClr>
                  <a:srgbClr val="F0AB00"/>
                </a:buClr>
                <a:buSzPct val="80000"/>
              </a:pPr>
              <a:endParaRPr lang="en-US" sz="2099" kern="0">
                <a:ea typeface="Arial Unicode MS" pitchFamily="34" charset="-128"/>
                <a:cs typeface="Arial Unicode MS" pitchFamily="34" charset="-128"/>
              </a:endParaRPr>
            </a:p>
          </p:txBody>
        </p:sp>
        <p:cxnSp>
          <p:nvCxnSpPr>
            <p:cNvPr id="22" name="Straight Connector 21">
              <a:extLst>
                <a:ext uri="{FF2B5EF4-FFF2-40B4-BE49-F238E27FC236}">
                  <a16:creationId xmlns:a16="http://schemas.microsoft.com/office/drawing/2014/main" id="{2E45FBBC-45FA-E671-6BCD-FE6F767064C2}"/>
                </a:ext>
              </a:extLst>
            </p:cNvPr>
            <p:cNvCxnSpPr/>
            <p:nvPr/>
          </p:nvCxnSpPr>
          <p:spPr>
            <a:xfrm flipH="1">
              <a:off x="4149607" y="5492614"/>
              <a:ext cx="174211"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Rectangle 22">
              <a:extLst>
                <a:ext uri="{FF2B5EF4-FFF2-40B4-BE49-F238E27FC236}">
                  <a16:creationId xmlns:a16="http://schemas.microsoft.com/office/drawing/2014/main" id="{C6F70B00-991F-AA16-12BE-7C1502A37A2E}"/>
                </a:ext>
              </a:extLst>
            </p:cNvPr>
            <p:cNvSpPr/>
            <p:nvPr/>
          </p:nvSpPr>
          <p:spPr bwMode="gray">
            <a:xfrm>
              <a:off x="4011261" y="4025341"/>
              <a:ext cx="430407" cy="170112"/>
            </a:xfrm>
            <a:prstGeom prst="rect">
              <a:avLst/>
            </a:prstGeom>
            <a:solidFill>
              <a:schemeClr val="tx1"/>
            </a:solidFill>
            <a:ln w="6350" algn="ctr">
              <a:noFill/>
              <a:miter lim="800000"/>
              <a:headEnd/>
              <a:tailEnd/>
            </a:ln>
          </p:spPr>
          <p:txBody>
            <a:bodyPr lIns="89977" tIns="71981" rIns="89977" bIns="71981" rtlCol="0" anchor="ctr"/>
            <a:lstStyle/>
            <a:p>
              <a:pPr algn="ctr" defTabSz="914126" fontAlgn="base">
                <a:spcBef>
                  <a:spcPct val="50000"/>
                </a:spcBef>
                <a:spcAft>
                  <a:spcPct val="0"/>
                </a:spcAft>
                <a:buClr>
                  <a:srgbClr val="F0AB00"/>
                </a:buClr>
                <a:buSzPct val="80000"/>
              </a:pPr>
              <a:endParaRPr lang="en-US" sz="2099" kern="0">
                <a:ea typeface="Arial Unicode MS" pitchFamily="34" charset="-128"/>
                <a:cs typeface="Arial Unicode MS" pitchFamily="34" charset="-128"/>
              </a:endParaRPr>
            </a:p>
          </p:txBody>
        </p:sp>
      </p:grpSp>
      <p:grpSp>
        <p:nvGrpSpPr>
          <p:cNvPr id="24" name="Group 23">
            <a:extLst>
              <a:ext uri="{FF2B5EF4-FFF2-40B4-BE49-F238E27FC236}">
                <a16:creationId xmlns:a16="http://schemas.microsoft.com/office/drawing/2014/main" id="{88016A6F-D4B0-C3B6-FD13-B54857194834}"/>
              </a:ext>
            </a:extLst>
          </p:cNvPr>
          <p:cNvGrpSpPr/>
          <p:nvPr/>
        </p:nvGrpSpPr>
        <p:grpSpPr>
          <a:xfrm>
            <a:off x="3667394" y="2893425"/>
            <a:ext cx="710704" cy="815232"/>
            <a:chOff x="4917892" y="3579644"/>
            <a:chExt cx="2625832" cy="1781751"/>
          </a:xfrm>
        </p:grpSpPr>
        <p:sp>
          <p:nvSpPr>
            <p:cNvPr id="25" name="Rectangle 24">
              <a:extLst>
                <a:ext uri="{FF2B5EF4-FFF2-40B4-BE49-F238E27FC236}">
                  <a16:creationId xmlns:a16="http://schemas.microsoft.com/office/drawing/2014/main" id="{BB4C8CC2-5584-56BD-D36E-DCACE04F8866}"/>
                </a:ext>
              </a:extLst>
            </p:cNvPr>
            <p:cNvSpPr/>
            <p:nvPr/>
          </p:nvSpPr>
          <p:spPr bwMode="gray">
            <a:xfrm>
              <a:off x="5435045" y="3856651"/>
              <a:ext cx="736286" cy="162709"/>
            </a:xfrm>
            <a:prstGeom prst="rect">
              <a:avLst/>
            </a:prstGeom>
            <a:solidFill>
              <a:schemeClr val="tx1"/>
            </a:solidFill>
            <a:ln w="6350" algn="ctr">
              <a:noFill/>
              <a:miter lim="800000"/>
              <a:headEnd/>
              <a:tailEnd/>
            </a:ln>
          </p:spPr>
          <p:txBody>
            <a:bodyPr lIns="89977" tIns="71981" rIns="89977" bIns="71981" rtlCol="0" anchor="ctr"/>
            <a:lstStyle/>
            <a:p>
              <a:pPr algn="ctr" defTabSz="914126" fontAlgn="base">
                <a:spcBef>
                  <a:spcPct val="50000"/>
                </a:spcBef>
                <a:spcAft>
                  <a:spcPct val="0"/>
                </a:spcAft>
                <a:buClr>
                  <a:srgbClr val="F0AB00"/>
                </a:buClr>
                <a:buSzPct val="80000"/>
              </a:pPr>
              <a:endParaRPr lang="en-US" sz="2099" kern="0">
                <a:ea typeface="Arial Unicode MS" pitchFamily="34" charset="-128"/>
                <a:cs typeface="Arial Unicode MS" pitchFamily="34" charset="-128"/>
              </a:endParaRPr>
            </a:p>
          </p:txBody>
        </p:sp>
        <p:cxnSp>
          <p:nvCxnSpPr>
            <p:cNvPr id="26" name="Straight Connector 25">
              <a:extLst>
                <a:ext uri="{FF2B5EF4-FFF2-40B4-BE49-F238E27FC236}">
                  <a16:creationId xmlns:a16="http://schemas.microsoft.com/office/drawing/2014/main" id="{59C901BA-1184-2645-FC53-153D9A0E7903}"/>
                </a:ext>
              </a:extLst>
            </p:cNvPr>
            <p:cNvCxnSpPr>
              <a:stCxn id="25" idx="1"/>
            </p:cNvCxnSpPr>
            <p:nvPr/>
          </p:nvCxnSpPr>
          <p:spPr>
            <a:xfrm flipH="1">
              <a:off x="5137026" y="3938006"/>
              <a:ext cx="298019"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27" name="Rectangle 26">
              <a:extLst>
                <a:ext uri="{FF2B5EF4-FFF2-40B4-BE49-F238E27FC236}">
                  <a16:creationId xmlns:a16="http://schemas.microsoft.com/office/drawing/2014/main" id="{BBDDD428-9B5C-F38E-7A4F-58C209FC3A1A}"/>
                </a:ext>
              </a:extLst>
            </p:cNvPr>
            <p:cNvSpPr/>
            <p:nvPr/>
          </p:nvSpPr>
          <p:spPr bwMode="gray">
            <a:xfrm>
              <a:off x="6128755" y="4101391"/>
              <a:ext cx="736286" cy="162709"/>
            </a:xfrm>
            <a:prstGeom prst="rect">
              <a:avLst/>
            </a:prstGeom>
            <a:solidFill>
              <a:schemeClr val="tx1"/>
            </a:solidFill>
            <a:ln w="6350" algn="ctr">
              <a:noFill/>
              <a:miter lim="800000"/>
              <a:headEnd/>
              <a:tailEnd/>
            </a:ln>
          </p:spPr>
          <p:txBody>
            <a:bodyPr lIns="89977" tIns="71981" rIns="89977" bIns="71981" rtlCol="0" anchor="ctr"/>
            <a:lstStyle/>
            <a:p>
              <a:pPr algn="ctr" defTabSz="914126" fontAlgn="base">
                <a:spcBef>
                  <a:spcPct val="50000"/>
                </a:spcBef>
                <a:spcAft>
                  <a:spcPct val="0"/>
                </a:spcAft>
                <a:buClr>
                  <a:srgbClr val="F0AB00"/>
                </a:buClr>
                <a:buSzPct val="80000"/>
              </a:pPr>
              <a:endParaRPr lang="en-US" sz="2099" kern="0">
                <a:ea typeface="Arial Unicode MS" pitchFamily="34" charset="-128"/>
                <a:cs typeface="Arial Unicode MS" pitchFamily="34" charset="-128"/>
              </a:endParaRPr>
            </a:p>
          </p:txBody>
        </p:sp>
        <p:cxnSp>
          <p:nvCxnSpPr>
            <p:cNvPr id="28" name="Straight Connector 27">
              <a:extLst>
                <a:ext uri="{FF2B5EF4-FFF2-40B4-BE49-F238E27FC236}">
                  <a16:creationId xmlns:a16="http://schemas.microsoft.com/office/drawing/2014/main" id="{0160BB1F-C730-8A13-38F6-D0D71D54C264}"/>
                </a:ext>
              </a:extLst>
            </p:cNvPr>
            <p:cNvCxnSpPr>
              <a:stCxn id="27" idx="1"/>
            </p:cNvCxnSpPr>
            <p:nvPr/>
          </p:nvCxnSpPr>
          <p:spPr>
            <a:xfrm flipH="1">
              <a:off x="5830736" y="4182746"/>
              <a:ext cx="298019"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6EF47839-5021-F04A-5229-9BDE68A09542}"/>
                </a:ext>
              </a:extLst>
            </p:cNvPr>
            <p:cNvCxnSpPr/>
            <p:nvPr/>
          </p:nvCxnSpPr>
          <p:spPr>
            <a:xfrm flipV="1">
              <a:off x="5830736" y="4019360"/>
              <a:ext cx="0" cy="163386"/>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30" name="Rectangle 29">
              <a:extLst>
                <a:ext uri="{FF2B5EF4-FFF2-40B4-BE49-F238E27FC236}">
                  <a16:creationId xmlns:a16="http://schemas.microsoft.com/office/drawing/2014/main" id="{BA153750-BE33-1285-71B8-AC483F90B7DF}"/>
                </a:ext>
              </a:extLst>
            </p:cNvPr>
            <p:cNvSpPr/>
            <p:nvPr/>
          </p:nvSpPr>
          <p:spPr bwMode="gray">
            <a:xfrm>
              <a:off x="5467602" y="4504808"/>
              <a:ext cx="736286" cy="162709"/>
            </a:xfrm>
            <a:prstGeom prst="rect">
              <a:avLst/>
            </a:prstGeom>
            <a:solidFill>
              <a:schemeClr val="tx1"/>
            </a:solidFill>
            <a:ln w="6350" algn="ctr">
              <a:noFill/>
              <a:miter lim="800000"/>
              <a:headEnd/>
              <a:tailEnd/>
            </a:ln>
          </p:spPr>
          <p:txBody>
            <a:bodyPr lIns="89977" tIns="71981" rIns="89977" bIns="71981" rtlCol="0" anchor="ctr"/>
            <a:lstStyle/>
            <a:p>
              <a:pPr algn="ctr" defTabSz="914126" fontAlgn="base">
                <a:spcBef>
                  <a:spcPct val="50000"/>
                </a:spcBef>
                <a:spcAft>
                  <a:spcPct val="0"/>
                </a:spcAft>
                <a:buClr>
                  <a:srgbClr val="F0AB00"/>
                </a:buClr>
                <a:buSzPct val="80000"/>
              </a:pPr>
              <a:endParaRPr lang="en-US" sz="2099" kern="0">
                <a:ea typeface="Arial Unicode MS" pitchFamily="34" charset="-128"/>
                <a:cs typeface="Arial Unicode MS" pitchFamily="34" charset="-128"/>
              </a:endParaRPr>
            </a:p>
          </p:txBody>
        </p:sp>
        <p:cxnSp>
          <p:nvCxnSpPr>
            <p:cNvPr id="31" name="Straight Connector 30">
              <a:extLst>
                <a:ext uri="{FF2B5EF4-FFF2-40B4-BE49-F238E27FC236}">
                  <a16:creationId xmlns:a16="http://schemas.microsoft.com/office/drawing/2014/main" id="{87E50BC2-8CBB-C8A1-6B0A-CC13FC7448BA}"/>
                </a:ext>
              </a:extLst>
            </p:cNvPr>
            <p:cNvCxnSpPr/>
            <p:nvPr/>
          </p:nvCxnSpPr>
          <p:spPr>
            <a:xfrm flipH="1">
              <a:off x="5154557" y="4586163"/>
              <a:ext cx="298019"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32" name="Rectangle 31">
              <a:extLst>
                <a:ext uri="{FF2B5EF4-FFF2-40B4-BE49-F238E27FC236}">
                  <a16:creationId xmlns:a16="http://schemas.microsoft.com/office/drawing/2014/main" id="{F4E4BADA-A736-BE67-F6A0-AB23D765654C}"/>
                </a:ext>
              </a:extLst>
            </p:cNvPr>
            <p:cNvSpPr/>
            <p:nvPr/>
          </p:nvSpPr>
          <p:spPr bwMode="gray">
            <a:xfrm>
              <a:off x="6161312" y="4749549"/>
              <a:ext cx="736286" cy="162709"/>
            </a:xfrm>
            <a:prstGeom prst="rect">
              <a:avLst/>
            </a:prstGeom>
            <a:solidFill>
              <a:schemeClr val="tx1"/>
            </a:solidFill>
            <a:ln w="6350" algn="ctr">
              <a:noFill/>
              <a:miter lim="800000"/>
              <a:headEnd/>
              <a:tailEnd/>
            </a:ln>
          </p:spPr>
          <p:txBody>
            <a:bodyPr lIns="89977" tIns="71981" rIns="89977" bIns="71981" rtlCol="0" anchor="ctr"/>
            <a:lstStyle/>
            <a:p>
              <a:pPr algn="ctr" defTabSz="914126" fontAlgn="base">
                <a:spcBef>
                  <a:spcPct val="50000"/>
                </a:spcBef>
                <a:spcAft>
                  <a:spcPct val="0"/>
                </a:spcAft>
                <a:buClr>
                  <a:srgbClr val="F0AB00"/>
                </a:buClr>
                <a:buSzPct val="80000"/>
              </a:pPr>
              <a:endParaRPr lang="en-US" sz="2099" kern="0">
                <a:ea typeface="Arial Unicode MS" pitchFamily="34" charset="-128"/>
                <a:cs typeface="Arial Unicode MS" pitchFamily="34" charset="-128"/>
              </a:endParaRPr>
            </a:p>
          </p:txBody>
        </p:sp>
        <p:cxnSp>
          <p:nvCxnSpPr>
            <p:cNvPr id="33" name="Straight Connector 32">
              <a:extLst>
                <a:ext uri="{FF2B5EF4-FFF2-40B4-BE49-F238E27FC236}">
                  <a16:creationId xmlns:a16="http://schemas.microsoft.com/office/drawing/2014/main" id="{A6C91475-DC55-6292-18D7-3E48AC6F7D11}"/>
                </a:ext>
              </a:extLst>
            </p:cNvPr>
            <p:cNvCxnSpPr>
              <a:stCxn id="32" idx="1"/>
            </p:cNvCxnSpPr>
            <p:nvPr/>
          </p:nvCxnSpPr>
          <p:spPr>
            <a:xfrm flipH="1">
              <a:off x="5863293" y="4830903"/>
              <a:ext cx="298019"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C63FB6F-CC43-FDBC-FBD9-73F281E9B90E}"/>
                </a:ext>
              </a:extLst>
            </p:cNvPr>
            <p:cNvCxnSpPr/>
            <p:nvPr/>
          </p:nvCxnSpPr>
          <p:spPr>
            <a:xfrm flipV="1">
              <a:off x="5863293" y="4667518"/>
              <a:ext cx="0" cy="163386"/>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35" name="Rectangle 34">
              <a:extLst>
                <a:ext uri="{FF2B5EF4-FFF2-40B4-BE49-F238E27FC236}">
                  <a16:creationId xmlns:a16="http://schemas.microsoft.com/office/drawing/2014/main" id="{41C6BAEE-6D63-4C3F-229E-3C01F0960DD7}"/>
                </a:ext>
              </a:extLst>
            </p:cNvPr>
            <p:cNvSpPr/>
            <p:nvPr/>
          </p:nvSpPr>
          <p:spPr bwMode="gray">
            <a:xfrm>
              <a:off x="6807438" y="5007736"/>
              <a:ext cx="736286" cy="162709"/>
            </a:xfrm>
            <a:prstGeom prst="rect">
              <a:avLst/>
            </a:prstGeom>
            <a:solidFill>
              <a:schemeClr val="tx1"/>
            </a:solidFill>
            <a:ln w="6350" algn="ctr">
              <a:noFill/>
              <a:miter lim="800000"/>
              <a:headEnd/>
              <a:tailEnd/>
            </a:ln>
          </p:spPr>
          <p:txBody>
            <a:bodyPr lIns="89977" tIns="71981" rIns="89977" bIns="71981" rtlCol="0" anchor="ctr"/>
            <a:lstStyle/>
            <a:p>
              <a:pPr algn="ctr" defTabSz="914126" fontAlgn="base">
                <a:spcBef>
                  <a:spcPct val="50000"/>
                </a:spcBef>
                <a:spcAft>
                  <a:spcPct val="0"/>
                </a:spcAft>
                <a:buClr>
                  <a:srgbClr val="F0AB00"/>
                </a:buClr>
                <a:buSzPct val="80000"/>
              </a:pPr>
              <a:endParaRPr lang="en-US" sz="2099" kern="0">
                <a:ea typeface="Arial Unicode MS" pitchFamily="34" charset="-128"/>
                <a:cs typeface="Arial Unicode MS" pitchFamily="34" charset="-128"/>
              </a:endParaRPr>
            </a:p>
          </p:txBody>
        </p:sp>
        <p:cxnSp>
          <p:nvCxnSpPr>
            <p:cNvPr id="36" name="Straight Connector 35">
              <a:extLst>
                <a:ext uri="{FF2B5EF4-FFF2-40B4-BE49-F238E27FC236}">
                  <a16:creationId xmlns:a16="http://schemas.microsoft.com/office/drawing/2014/main" id="{0ABA5F9B-5F60-129B-C706-5AA8B0D0E0CA}"/>
                </a:ext>
              </a:extLst>
            </p:cNvPr>
            <p:cNvCxnSpPr>
              <a:stCxn id="35" idx="1"/>
            </p:cNvCxnSpPr>
            <p:nvPr/>
          </p:nvCxnSpPr>
          <p:spPr>
            <a:xfrm flipH="1">
              <a:off x="6509419" y="5089090"/>
              <a:ext cx="298019"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424249B5-B9B0-2EFF-A53B-EAA4C209EA26}"/>
                </a:ext>
              </a:extLst>
            </p:cNvPr>
            <p:cNvCxnSpPr/>
            <p:nvPr/>
          </p:nvCxnSpPr>
          <p:spPr>
            <a:xfrm flipV="1">
              <a:off x="6509419" y="4925705"/>
              <a:ext cx="0" cy="163386"/>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292831D-0344-52BC-894B-C01E9F080368}"/>
                </a:ext>
              </a:extLst>
            </p:cNvPr>
            <p:cNvCxnSpPr/>
            <p:nvPr/>
          </p:nvCxnSpPr>
          <p:spPr>
            <a:xfrm>
              <a:off x="5137026" y="3742353"/>
              <a:ext cx="0" cy="1537688"/>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39" name="Rectangle 38">
              <a:extLst>
                <a:ext uri="{FF2B5EF4-FFF2-40B4-BE49-F238E27FC236}">
                  <a16:creationId xmlns:a16="http://schemas.microsoft.com/office/drawing/2014/main" id="{222894E0-2F06-9D4A-6CC7-87F48B76C282}"/>
                </a:ext>
              </a:extLst>
            </p:cNvPr>
            <p:cNvSpPr/>
            <p:nvPr/>
          </p:nvSpPr>
          <p:spPr bwMode="gray">
            <a:xfrm>
              <a:off x="5467602" y="5198686"/>
              <a:ext cx="736286" cy="162709"/>
            </a:xfrm>
            <a:prstGeom prst="rect">
              <a:avLst/>
            </a:prstGeom>
            <a:solidFill>
              <a:schemeClr val="tx1"/>
            </a:solidFill>
            <a:ln w="6350" algn="ctr">
              <a:noFill/>
              <a:miter lim="800000"/>
              <a:headEnd/>
              <a:tailEnd/>
            </a:ln>
          </p:spPr>
          <p:txBody>
            <a:bodyPr lIns="89977" tIns="71981" rIns="89977" bIns="71981" rtlCol="0" anchor="ctr"/>
            <a:lstStyle/>
            <a:p>
              <a:pPr algn="ctr" defTabSz="914126" fontAlgn="base">
                <a:spcBef>
                  <a:spcPct val="50000"/>
                </a:spcBef>
                <a:spcAft>
                  <a:spcPct val="0"/>
                </a:spcAft>
                <a:buClr>
                  <a:srgbClr val="F0AB00"/>
                </a:buClr>
                <a:buSzPct val="80000"/>
              </a:pPr>
              <a:endParaRPr lang="en-US" sz="2099" kern="0">
                <a:ea typeface="Arial Unicode MS" pitchFamily="34" charset="-128"/>
                <a:cs typeface="Arial Unicode MS" pitchFamily="34" charset="-128"/>
              </a:endParaRPr>
            </a:p>
          </p:txBody>
        </p:sp>
        <p:cxnSp>
          <p:nvCxnSpPr>
            <p:cNvPr id="40" name="Straight Connector 39">
              <a:extLst>
                <a:ext uri="{FF2B5EF4-FFF2-40B4-BE49-F238E27FC236}">
                  <a16:creationId xmlns:a16="http://schemas.microsoft.com/office/drawing/2014/main" id="{661BF954-86E4-9A3E-D929-A640F7B1A461}"/>
                </a:ext>
              </a:extLst>
            </p:cNvPr>
            <p:cNvCxnSpPr/>
            <p:nvPr/>
          </p:nvCxnSpPr>
          <p:spPr>
            <a:xfrm flipH="1">
              <a:off x="5154557" y="5280041"/>
              <a:ext cx="298019"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41" name="Rectangle 40">
              <a:extLst>
                <a:ext uri="{FF2B5EF4-FFF2-40B4-BE49-F238E27FC236}">
                  <a16:creationId xmlns:a16="http://schemas.microsoft.com/office/drawing/2014/main" id="{499F419C-277C-823C-ACF0-B9F507E9890E}"/>
                </a:ext>
              </a:extLst>
            </p:cNvPr>
            <p:cNvSpPr/>
            <p:nvPr/>
          </p:nvSpPr>
          <p:spPr bwMode="gray">
            <a:xfrm>
              <a:off x="4917892" y="3579644"/>
              <a:ext cx="736286" cy="162709"/>
            </a:xfrm>
            <a:prstGeom prst="rect">
              <a:avLst/>
            </a:prstGeom>
            <a:solidFill>
              <a:schemeClr val="tx1"/>
            </a:solidFill>
            <a:ln w="6350" algn="ctr">
              <a:noFill/>
              <a:miter lim="800000"/>
              <a:headEnd/>
              <a:tailEnd/>
            </a:ln>
          </p:spPr>
          <p:txBody>
            <a:bodyPr lIns="89977" tIns="71981" rIns="89977" bIns="71981" rtlCol="0" anchor="ctr"/>
            <a:lstStyle/>
            <a:p>
              <a:pPr algn="ctr" defTabSz="914126" fontAlgn="base">
                <a:spcBef>
                  <a:spcPct val="50000"/>
                </a:spcBef>
                <a:spcAft>
                  <a:spcPct val="0"/>
                </a:spcAft>
                <a:buClr>
                  <a:srgbClr val="F0AB00"/>
                </a:buClr>
                <a:buSzPct val="80000"/>
              </a:pPr>
              <a:endParaRPr lang="en-US" sz="2099" kern="0">
                <a:ea typeface="Arial Unicode MS" pitchFamily="34" charset="-128"/>
                <a:cs typeface="Arial Unicode MS" pitchFamily="34" charset="-128"/>
              </a:endParaRPr>
            </a:p>
          </p:txBody>
        </p:sp>
      </p:grpSp>
      <p:sp>
        <p:nvSpPr>
          <p:cNvPr id="42" name="Chevron 5">
            <a:extLst>
              <a:ext uri="{FF2B5EF4-FFF2-40B4-BE49-F238E27FC236}">
                <a16:creationId xmlns:a16="http://schemas.microsoft.com/office/drawing/2014/main" id="{07CFED98-5439-B088-51C6-93B7EBE39A7C}"/>
              </a:ext>
            </a:extLst>
          </p:cNvPr>
          <p:cNvSpPr/>
          <p:nvPr/>
        </p:nvSpPr>
        <p:spPr bwMode="gray">
          <a:xfrm>
            <a:off x="3525262" y="2264687"/>
            <a:ext cx="4482228" cy="353962"/>
          </a:xfrm>
          <a:prstGeom prst="chevron">
            <a:avLst>
              <a:gd name="adj" fmla="val 30531"/>
            </a:avLst>
          </a:prstGeom>
          <a:solidFill>
            <a:schemeClr val="bg1">
              <a:lumMod val="85000"/>
            </a:schemeClr>
          </a:solidFill>
          <a:ln w="6350" algn="ctr">
            <a:solidFill>
              <a:schemeClr val="tx1">
                <a:lumMod val="95000"/>
                <a:lumOff val="5000"/>
              </a:schemeClr>
            </a:solidFill>
            <a:miter lim="800000"/>
            <a:headEnd/>
            <a:tailEnd/>
          </a:ln>
        </p:spPr>
        <p:txBody>
          <a:bodyPr lIns="107972" tIns="0" rIns="71981" bIns="0" rtlCol="0" anchor="ctr"/>
          <a:lstStyle/>
          <a:p>
            <a:pPr algn="ctr">
              <a:buClr>
                <a:schemeClr val="accent1"/>
              </a:buClr>
              <a:buSzPct val="80000"/>
              <a:tabLst>
                <a:tab pos="2172636" algn="l"/>
              </a:tabLst>
            </a:pPr>
            <a:r>
              <a:rPr lang="en-US" sz="1000" b="1" dirty="0"/>
              <a:t>Structure Mapping</a:t>
            </a:r>
          </a:p>
          <a:p>
            <a:pPr algn="ctr">
              <a:buClr>
                <a:schemeClr val="accent1"/>
              </a:buClr>
              <a:buSzPct val="80000"/>
              <a:tabLst>
                <a:tab pos="2172636" algn="l"/>
              </a:tabLst>
            </a:pPr>
            <a:r>
              <a:rPr lang="de-DE" sz="1000" dirty="0"/>
              <a:t>Source </a:t>
            </a:r>
            <a:r>
              <a:rPr lang="de-DE" sz="1000" dirty="0" err="1"/>
              <a:t>Struct</a:t>
            </a:r>
            <a:r>
              <a:rPr lang="de-DE" sz="1000" dirty="0"/>
              <a:t>. </a:t>
            </a:r>
            <a:r>
              <a:rPr lang="de-DE" sz="1000" dirty="0">
                <a:sym typeface="Wingdings" panose="05000000000000000000" pitchFamily="2" charset="2"/>
              </a:rPr>
              <a:t> </a:t>
            </a:r>
            <a:r>
              <a:rPr lang="de-DE" sz="1000" dirty="0" err="1">
                <a:sym typeface="Wingdings" panose="05000000000000000000" pitchFamily="2" charset="2"/>
              </a:rPr>
              <a:t>Dest</a:t>
            </a:r>
            <a:r>
              <a:rPr lang="de-DE" sz="1000" dirty="0">
                <a:sym typeface="Wingdings" panose="05000000000000000000" pitchFamily="2" charset="2"/>
              </a:rPr>
              <a:t>. </a:t>
            </a:r>
            <a:r>
              <a:rPr lang="de-DE" sz="1000" dirty="0" err="1">
                <a:sym typeface="Wingdings" panose="05000000000000000000" pitchFamily="2" charset="2"/>
              </a:rPr>
              <a:t>Struct</a:t>
            </a:r>
            <a:r>
              <a:rPr lang="de-DE" sz="1000" dirty="0">
                <a:sym typeface="Wingdings" panose="05000000000000000000" pitchFamily="2" charset="2"/>
              </a:rPr>
              <a:t>.  Field Mappings (</a:t>
            </a:r>
            <a:r>
              <a:rPr lang="de-DE" sz="1000" dirty="0" err="1">
                <a:sym typeface="Wingdings" panose="05000000000000000000" pitchFamily="2" charset="2"/>
              </a:rPr>
              <a:t>w</a:t>
            </a:r>
            <a:r>
              <a:rPr lang="de-DE" sz="1000" dirty="0">
                <a:sym typeface="Wingdings" panose="05000000000000000000" pitchFamily="2" charset="2"/>
              </a:rPr>
              <a:t>/ </a:t>
            </a:r>
            <a:r>
              <a:rPr lang="de-DE" sz="1000" dirty="0" err="1">
                <a:sym typeface="Wingdings" panose="05000000000000000000" pitchFamily="2" charset="2"/>
              </a:rPr>
              <a:t>Conditions</a:t>
            </a:r>
            <a:r>
              <a:rPr lang="de-DE" sz="1000" dirty="0">
                <a:sym typeface="Wingdings" panose="05000000000000000000" pitchFamily="2" charset="2"/>
              </a:rPr>
              <a:t>)</a:t>
            </a:r>
          </a:p>
        </p:txBody>
      </p:sp>
      <p:sp>
        <p:nvSpPr>
          <p:cNvPr id="43" name="Chevron 5">
            <a:extLst>
              <a:ext uri="{FF2B5EF4-FFF2-40B4-BE49-F238E27FC236}">
                <a16:creationId xmlns:a16="http://schemas.microsoft.com/office/drawing/2014/main" id="{B607E022-8172-C738-5F0E-ED277FCC1935}"/>
              </a:ext>
            </a:extLst>
          </p:cNvPr>
          <p:cNvSpPr/>
          <p:nvPr/>
        </p:nvSpPr>
        <p:spPr bwMode="gray">
          <a:xfrm>
            <a:off x="2715843" y="2254252"/>
            <a:ext cx="655256" cy="964498"/>
          </a:xfrm>
          <a:prstGeom prst="chevron">
            <a:avLst>
              <a:gd name="adj" fmla="val 18753"/>
            </a:avLst>
          </a:prstGeom>
          <a:solidFill>
            <a:schemeClr val="bg1">
              <a:lumMod val="85000"/>
            </a:schemeClr>
          </a:solidFill>
          <a:ln w="6350" algn="ctr">
            <a:solidFill>
              <a:schemeClr val="tx1">
                <a:lumMod val="95000"/>
                <a:lumOff val="5000"/>
              </a:schemeClr>
            </a:solidFill>
            <a:prstDash val="sysDash"/>
            <a:miter lim="800000"/>
            <a:headEnd/>
            <a:tailEnd/>
          </a:ln>
        </p:spPr>
        <p:txBody>
          <a:bodyPr vert="vert270" lIns="107972" tIns="0" rIns="71981" bIns="0" rtlCol="0" anchor="ctr"/>
          <a:lstStyle/>
          <a:p>
            <a:pPr algn="ctr">
              <a:buClr>
                <a:schemeClr val="accent1"/>
              </a:buClr>
              <a:buSzPct val="80000"/>
              <a:tabLst>
                <a:tab pos="2172636" algn="l"/>
              </a:tabLst>
              <a:defRPr/>
            </a:pPr>
            <a:r>
              <a:rPr lang="en-US" sz="1000"/>
              <a:t>Interface Determination</a:t>
            </a:r>
          </a:p>
        </p:txBody>
      </p:sp>
      <p:sp>
        <p:nvSpPr>
          <p:cNvPr id="44" name="Rectangle 43">
            <a:extLst>
              <a:ext uri="{FF2B5EF4-FFF2-40B4-BE49-F238E27FC236}">
                <a16:creationId xmlns:a16="http://schemas.microsoft.com/office/drawing/2014/main" id="{440791D3-3498-E7B4-10A6-2CA8865F4F9E}"/>
              </a:ext>
            </a:extLst>
          </p:cNvPr>
          <p:cNvSpPr/>
          <p:nvPr/>
        </p:nvSpPr>
        <p:spPr bwMode="gray">
          <a:xfrm>
            <a:off x="2425863" y="1683204"/>
            <a:ext cx="7062813" cy="2879254"/>
          </a:xfrm>
          <a:prstGeom prst="rect">
            <a:avLst/>
          </a:prstGeom>
          <a:noFill/>
          <a:ln w="19050" algn="ctr">
            <a:solidFill>
              <a:schemeClr val="tx1">
                <a:lumMod val="50000"/>
                <a:lumOff val="50000"/>
              </a:schemeClr>
            </a:solidFill>
            <a:prstDash val="dash"/>
            <a:miter lim="800000"/>
            <a:headEnd/>
            <a:tailEnd/>
          </a:ln>
        </p:spPr>
        <p:txBody>
          <a:bodyPr lIns="89956" tIns="71964" rIns="89956" bIns="71964" rtlCol="0" anchor="ctr"/>
          <a:lstStyle/>
          <a:p>
            <a:pPr algn="ctr" defTabSz="913943" fontAlgn="base">
              <a:spcBef>
                <a:spcPct val="50000"/>
              </a:spcBef>
              <a:spcAft>
                <a:spcPct val="0"/>
              </a:spcAft>
              <a:buClr>
                <a:srgbClr val="F0AB00"/>
              </a:buClr>
              <a:buSzPct val="80000"/>
            </a:pPr>
            <a:endParaRPr sz="1799" b="1" kern="0">
              <a:solidFill>
                <a:srgbClr val="000000"/>
              </a:solidFill>
              <a:ea typeface="Arial Unicode MS" pitchFamily="34" charset="-128"/>
              <a:cs typeface="Arial"/>
            </a:endParaRPr>
          </a:p>
        </p:txBody>
      </p:sp>
      <p:sp>
        <p:nvSpPr>
          <p:cNvPr id="45" name="Chevron 5">
            <a:extLst>
              <a:ext uri="{FF2B5EF4-FFF2-40B4-BE49-F238E27FC236}">
                <a16:creationId xmlns:a16="http://schemas.microsoft.com/office/drawing/2014/main" id="{01D32E90-0172-7279-46AB-A18CBEF46328}"/>
              </a:ext>
            </a:extLst>
          </p:cNvPr>
          <p:cNvSpPr/>
          <p:nvPr/>
        </p:nvSpPr>
        <p:spPr bwMode="gray">
          <a:xfrm>
            <a:off x="9833701" y="2231110"/>
            <a:ext cx="971747" cy="964498"/>
          </a:xfrm>
          <a:prstGeom prst="chevron">
            <a:avLst>
              <a:gd name="adj" fmla="val 11827"/>
            </a:avLst>
          </a:prstGeom>
          <a:solidFill>
            <a:schemeClr val="bg1">
              <a:lumMod val="85000"/>
            </a:schemeClr>
          </a:solidFill>
          <a:ln w="6350" algn="ctr">
            <a:solidFill>
              <a:schemeClr val="tx1">
                <a:lumMod val="95000"/>
                <a:lumOff val="5000"/>
              </a:schemeClr>
            </a:solidFill>
            <a:miter lim="800000"/>
            <a:headEnd/>
            <a:tailEnd/>
          </a:ln>
        </p:spPr>
        <p:txBody>
          <a:bodyPr lIns="107972" tIns="0" rIns="71981" bIns="0" rtlCol="0" anchor="ctr"/>
          <a:lstStyle/>
          <a:p>
            <a:pPr algn="ctr">
              <a:buClr>
                <a:schemeClr val="accent1"/>
              </a:buClr>
              <a:buSzPct val="80000"/>
              <a:tabLst>
                <a:tab pos="2172636" algn="l"/>
              </a:tabLst>
              <a:defRPr/>
            </a:pPr>
            <a:r>
              <a:rPr lang="en-US" sz="1000" b="1" dirty="0"/>
              <a:t>SAP AEM</a:t>
            </a:r>
          </a:p>
        </p:txBody>
      </p:sp>
      <p:sp>
        <p:nvSpPr>
          <p:cNvPr id="46" name="TextBox 45">
            <a:extLst>
              <a:ext uri="{FF2B5EF4-FFF2-40B4-BE49-F238E27FC236}">
                <a16:creationId xmlns:a16="http://schemas.microsoft.com/office/drawing/2014/main" id="{EB7557AA-BEDF-CFE5-5CCE-5E7164687826}"/>
              </a:ext>
            </a:extLst>
          </p:cNvPr>
          <p:cNvSpPr txBox="1"/>
          <p:nvPr/>
        </p:nvSpPr>
        <p:spPr>
          <a:xfrm>
            <a:off x="3647095" y="2681072"/>
            <a:ext cx="1214760" cy="153848"/>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de-DE" sz="1000" b="1" kern="0" err="1">
                <a:ea typeface="Arial Unicode MS" pitchFamily="34" charset="-128"/>
                <a:cs typeface="Arial Unicode MS" pitchFamily="34" charset="-128"/>
              </a:rPr>
              <a:t>Raw</a:t>
            </a:r>
            <a:r>
              <a:rPr lang="de-DE" sz="1000" b="1" kern="0">
                <a:ea typeface="Arial Unicode MS" pitchFamily="34" charset="-128"/>
                <a:cs typeface="Arial Unicode MS" pitchFamily="34" charset="-128"/>
              </a:rPr>
              <a:t> Data </a:t>
            </a:r>
            <a:r>
              <a:rPr lang="de-DE" sz="1000" b="1" kern="0" err="1">
                <a:ea typeface="Arial Unicode MS" pitchFamily="34" charset="-128"/>
                <a:cs typeface="Arial Unicode MS" pitchFamily="34" charset="-128"/>
              </a:rPr>
              <a:t>Structure</a:t>
            </a:r>
            <a:endParaRPr lang="de-DE" sz="1000" b="1" kern="0">
              <a:ea typeface="Arial Unicode MS" pitchFamily="34" charset="-128"/>
              <a:cs typeface="Arial Unicode MS" pitchFamily="34" charset="-128"/>
            </a:endParaRPr>
          </a:p>
        </p:txBody>
      </p:sp>
      <p:sp>
        <p:nvSpPr>
          <p:cNvPr id="47" name="TextBox 46">
            <a:extLst>
              <a:ext uri="{FF2B5EF4-FFF2-40B4-BE49-F238E27FC236}">
                <a16:creationId xmlns:a16="http://schemas.microsoft.com/office/drawing/2014/main" id="{16D3A2F1-8F77-8E48-ADCC-D8E75661A111}"/>
              </a:ext>
            </a:extLst>
          </p:cNvPr>
          <p:cNvSpPr txBox="1"/>
          <p:nvPr/>
        </p:nvSpPr>
        <p:spPr>
          <a:xfrm>
            <a:off x="6946113" y="2681072"/>
            <a:ext cx="1179503" cy="153848"/>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de-DE" sz="1000" b="1" kern="0">
                <a:ea typeface="Arial Unicode MS" pitchFamily="34" charset="-128"/>
                <a:cs typeface="Arial Unicode MS" pitchFamily="34" charset="-128"/>
              </a:rPr>
              <a:t>SAP Data </a:t>
            </a:r>
            <a:r>
              <a:rPr lang="de-DE" sz="1000" b="1" kern="0" err="1">
                <a:ea typeface="Arial Unicode MS" pitchFamily="34" charset="-128"/>
                <a:cs typeface="Arial Unicode MS" pitchFamily="34" charset="-128"/>
              </a:rPr>
              <a:t>Structure</a:t>
            </a:r>
            <a:endParaRPr lang="de-DE" sz="1000" b="1" kern="0">
              <a:ea typeface="Arial Unicode MS" pitchFamily="34" charset="-128"/>
              <a:cs typeface="Arial Unicode MS" pitchFamily="34" charset="-128"/>
            </a:endParaRPr>
          </a:p>
        </p:txBody>
      </p:sp>
      <p:sp>
        <p:nvSpPr>
          <p:cNvPr id="48" name="TextBox 47">
            <a:extLst>
              <a:ext uri="{FF2B5EF4-FFF2-40B4-BE49-F238E27FC236}">
                <a16:creationId xmlns:a16="http://schemas.microsoft.com/office/drawing/2014/main" id="{48C23404-9EA9-2071-3950-3DC9F9897D70}"/>
              </a:ext>
            </a:extLst>
          </p:cNvPr>
          <p:cNvSpPr txBox="1"/>
          <p:nvPr/>
        </p:nvSpPr>
        <p:spPr>
          <a:xfrm>
            <a:off x="4618080" y="1812426"/>
            <a:ext cx="2384647" cy="184618"/>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de-DE" sz="1200" b="1" kern="0" dirty="0" err="1">
                <a:ea typeface="Arial Unicode MS" pitchFamily="34" charset="-128"/>
                <a:cs typeface="Arial Unicode MS" pitchFamily="34" charset="-128"/>
              </a:rPr>
              <a:t>Application</a:t>
            </a:r>
            <a:r>
              <a:rPr lang="de-DE" sz="1200" b="1" kern="0" dirty="0">
                <a:ea typeface="Arial Unicode MS" pitchFamily="34" charset="-128"/>
                <a:cs typeface="Arial Unicode MS" pitchFamily="34" charset="-128"/>
              </a:rPr>
              <a:t> Interface Framework</a:t>
            </a:r>
          </a:p>
        </p:txBody>
      </p:sp>
      <p:sp>
        <p:nvSpPr>
          <p:cNvPr id="49" name="Chevron 5">
            <a:extLst>
              <a:ext uri="{FF2B5EF4-FFF2-40B4-BE49-F238E27FC236}">
                <a16:creationId xmlns:a16="http://schemas.microsoft.com/office/drawing/2014/main" id="{7320C2B1-C4ED-1825-C2B8-85F363B6767A}"/>
              </a:ext>
            </a:extLst>
          </p:cNvPr>
          <p:cNvSpPr/>
          <p:nvPr/>
        </p:nvSpPr>
        <p:spPr bwMode="gray">
          <a:xfrm>
            <a:off x="7970690" y="2261288"/>
            <a:ext cx="863775" cy="355085"/>
          </a:xfrm>
          <a:prstGeom prst="chevron">
            <a:avLst>
              <a:gd name="adj" fmla="val 28130"/>
            </a:avLst>
          </a:prstGeom>
          <a:solidFill>
            <a:schemeClr val="accent3">
              <a:lumMod val="20000"/>
              <a:lumOff val="80000"/>
            </a:schemeClr>
          </a:solidFill>
          <a:ln w="6350" algn="ctr">
            <a:solidFill>
              <a:schemeClr val="tx1"/>
            </a:solidFill>
            <a:miter lim="800000"/>
            <a:headEnd/>
            <a:tailEnd/>
          </a:ln>
        </p:spPr>
        <p:txBody>
          <a:bodyPr lIns="107972" tIns="0" rIns="71981" bIns="0" rtlCol="0" anchor="ctr"/>
          <a:lstStyle/>
          <a:p>
            <a:pPr algn="ctr">
              <a:buClr>
                <a:schemeClr val="accent1"/>
              </a:buClr>
              <a:buSzPct val="80000"/>
              <a:tabLst>
                <a:tab pos="2172636" algn="l"/>
              </a:tabLst>
              <a:defRPr/>
            </a:pPr>
            <a:r>
              <a:rPr lang="en-US" sz="1000" b="1"/>
              <a:t>Actions</a:t>
            </a:r>
          </a:p>
        </p:txBody>
      </p:sp>
      <p:sp>
        <p:nvSpPr>
          <p:cNvPr id="50" name="Rectangle 49">
            <a:extLst>
              <a:ext uri="{FF2B5EF4-FFF2-40B4-BE49-F238E27FC236}">
                <a16:creationId xmlns:a16="http://schemas.microsoft.com/office/drawing/2014/main" id="{40D9C38C-C87A-015C-4FB2-23D7C49CA6AF}"/>
              </a:ext>
            </a:extLst>
          </p:cNvPr>
          <p:cNvSpPr/>
          <p:nvPr/>
        </p:nvSpPr>
        <p:spPr bwMode="gray">
          <a:xfrm>
            <a:off x="4803922" y="3243597"/>
            <a:ext cx="660891" cy="267234"/>
          </a:xfrm>
          <a:prstGeom prst="rect">
            <a:avLst/>
          </a:prstGeom>
          <a:solidFill>
            <a:schemeClr val="accent3">
              <a:lumMod val="20000"/>
              <a:lumOff val="80000"/>
            </a:schemeClr>
          </a:solidFill>
          <a:ln w="6350" algn="ctr">
            <a:solidFill>
              <a:schemeClr val="tx1"/>
            </a:solidFill>
            <a:miter lim="800000"/>
            <a:headEnd/>
            <a:tailEnd/>
          </a:ln>
        </p:spPr>
        <p:txBody>
          <a:bodyPr lIns="89977" tIns="71981" rIns="89977" bIns="71981" rtlCol="0" anchor="ctr"/>
          <a:lstStyle/>
          <a:p>
            <a:pPr algn="ctr">
              <a:buClr>
                <a:schemeClr val="accent1"/>
              </a:buClr>
              <a:buSzPct val="80000"/>
              <a:tabLst>
                <a:tab pos="2172636" algn="l"/>
              </a:tabLst>
              <a:defRPr/>
            </a:pPr>
            <a:r>
              <a:rPr lang="en-US" sz="800" dirty="0"/>
              <a:t>Value Mappings</a:t>
            </a:r>
          </a:p>
        </p:txBody>
      </p:sp>
      <p:sp>
        <p:nvSpPr>
          <p:cNvPr id="51" name="Rectangle 50">
            <a:extLst>
              <a:ext uri="{FF2B5EF4-FFF2-40B4-BE49-F238E27FC236}">
                <a16:creationId xmlns:a16="http://schemas.microsoft.com/office/drawing/2014/main" id="{9DF2D1C3-68B9-3CEC-7200-18B88934B149}"/>
              </a:ext>
            </a:extLst>
          </p:cNvPr>
          <p:cNvSpPr/>
          <p:nvPr/>
        </p:nvSpPr>
        <p:spPr bwMode="gray">
          <a:xfrm>
            <a:off x="5534195" y="3243597"/>
            <a:ext cx="660891" cy="267234"/>
          </a:xfrm>
          <a:prstGeom prst="rect">
            <a:avLst/>
          </a:prstGeom>
          <a:solidFill>
            <a:schemeClr val="accent3">
              <a:lumMod val="20000"/>
              <a:lumOff val="80000"/>
            </a:schemeClr>
          </a:solidFill>
          <a:ln w="6350" algn="ctr">
            <a:solidFill>
              <a:schemeClr val="tx1"/>
            </a:solidFill>
            <a:miter lim="800000"/>
            <a:headEnd/>
            <a:tailEnd/>
          </a:ln>
        </p:spPr>
        <p:txBody>
          <a:bodyPr lIns="89977" tIns="71981" rIns="89977" bIns="71981" rtlCol="0" anchor="ctr"/>
          <a:lstStyle/>
          <a:p>
            <a:pPr algn="ctr">
              <a:buClr>
                <a:schemeClr val="accent1"/>
              </a:buClr>
              <a:buSzPct val="80000"/>
              <a:tabLst>
                <a:tab pos="2172636" algn="l"/>
              </a:tabLst>
              <a:defRPr/>
            </a:pPr>
            <a:r>
              <a:rPr lang="en-US" sz="800"/>
              <a:t>Fixed Values</a:t>
            </a:r>
          </a:p>
        </p:txBody>
      </p:sp>
      <p:sp>
        <p:nvSpPr>
          <p:cNvPr id="52" name="Rectangle 51">
            <a:extLst>
              <a:ext uri="{FF2B5EF4-FFF2-40B4-BE49-F238E27FC236}">
                <a16:creationId xmlns:a16="http://schemas.microsoft.com/office/drawing/2014/main" id="{D907AD94-A5D5-D47B-DDC2-60A67DFAAD0B}"/>
              </a:ext>
            </a:extLst>
          </p:cNvPr>
          <p:cNvSpPr/>
          <p:nvPr/>
        </p:nvSpPr>
        <p:spPr bwMode="gray">
          <a:xfrm>
            <a:off x="6246034" y="3240138"/>
            <a:ext cx="660891" cy="267234"/>
          </a:xfrm>
          <a:prstGeom prst="rect">
            <a:avLst/>
          </a:prstGeom>
          <a:solidFill>
            <a:schemeClr val="accent3">
              <a:lumMod val="20000"/>
              <a:lumOff val="80000"/>
            </a:schemeClr>
          </a:solidFill>
          <a:ln w="6350" algn="ctr">
            <a:solidFill>
              <a:schemeClr val="tx1"/>
            </a:solidFill>
            <a:miter lim="800000"/>
            <a:headEnd/>
            <a:tailEnd/>
          </a:ln>
        </p:spPr>
        <p:txBody>
          <a:bodyPr lIns="89977" tIns="71981" rIns="89977" bIns="71981" rtlCol="0" anchor="ctr"/>
          <a:lstStyle/>
          <a:p>
            <a:pPr algn="ctr">
              <a:buClr>
                <a:schemeClr val="accent1"/>
              </a:buClr>
              <a:buSzPct val="80000"/>
              <a:tabLst>
                <a:tab pos="2172636" algn="l"/>
              </a:tabLst>
              <a:defRPr/>
            </a:pPr>
            <a:r>
              <a:rPr lang="en-US" sz="800"/>
              <a:t>Checks</a:t>
            </a:r>
          </a:p>
        </p:txBody>
      </p:sp>
      <p:cxnSp>
        <p:nvCxnSpPr>
          <p:cNvPr id="53" name="Straight Arrow Connector 52">
            <a:extLst>
              <a:ext uri="{FF2B5EF4-FFF2-40B4-BE49-F238E27FC236}">
                <a16:creationId xmlns:a16="http://schemas.microsoft.com/office/drawing/2014/main" id="{F608BAEA-3DB7-26D0-E5EA-98B80460FE3E}"/>
              </a:ext>
            </a:extLst>
          </p:cNvPr>
          <p:cNvCxnSpPr>
            <a:endCxn id="50" idx="0"/>
          </p:cNvCxnSpPr>
          <p:nvPr/>
        </p:nvCxnSpPr>
        <p:spPr>
          <a:xfrm>
            <a:off x="5128093" y="2618651"/>
            <a:ext cx="6275" cy="624948"/>
          </a:xfrm>
          <a:prstGeom prst="straightConnector1">
            <a:avLst/>
          </a:prstGeom>
          <a:ln w="12700">
            <a:solidFill>
              <a:schemeClr val="tx1"/>
            </a:solidFill>
            <a:prstDash val="sysDash"/>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54" name="Straight Arrow Connector 53">
            <a:extLst>
              <a:ext uri="{FF2B5EF4-FFF2-40B4-BE49-F238E27FC236}">
                <a16:creationId xmlns:a16="http://schemas.microsoft.com/office/drawing/2014/main" id="{B4339C82-A78D-74C9-6F91-5D9419650970}"/>
              </a:ext>
            </a:extLst>
          </p:cNvPr>
          <p:cNvCxnSpPr/>
          <p:nvPr/>
        </p:nvCxnSpPr>
        <p:spPr>
          <a:xfrm>
            <a:off x="5861006" y="2623136"/>
            <a:ext cx="6275" cy="624948"/>
          </a:xfrm>
          <a:prstGeom prst="straightConnector1">
            <a:avLst/>
          </a:prstGeom>
          <a:ln w="12700">
            <a:solidFill>
              <a:schemeClr val="tx1"/>
            </a:solidFill>
            <a:prstDash val="sysDash"/>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55" name="Straight Arrow Connector 54">
            <a:extLst>
              <a:ext uri="{FF2B5EF4-FFF2-40B4-BE49-F238E27FC236}">
                <a16:creationId xmlns:a16="http://schemas.microsoft.com/office/drawing/2014/main" id="{FCDD7E5A-1AAA-E796-2D3E-231B66F32ADC}"/>
              </a:ext>
            </a:extLst>
          </p:cNvPr>
          <p:cNvCxnSpPr/>
          <p:nvPr/>
        </p:nvCxnSpPr>
        <p:spPr>
          <a:xfrm>
            <a:off x="6549695" y="2611716"/>
            <a:ext cx="6275" cy="624948"/>
          </a:xfrm>
          <a:prstGeom prst="straightConnector1">
            <a:avLst/>
          </a:prstGeom>
          <a:ln w="12700">
            <a:solidFill>
              <a:schemeClr val="tx1"/>
            </a:solidFill>
            <a:prstDash val="sysDash"/>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56" name="Straight Arrow Connector 74">
            <a:extLst>
              <a:ext uri="{FF2B5EF4-FFF2-40B4-BE49-F238E27FC236}">
                <a16:creationId xmlns:a16="http://schemas.microsoft.com/office/drawing/2014/main" id="{1A15D0BE-694C-0316-2797-17C08FBEA16E}"/>
              </a:ext>
            </a:extLst>
          </p:cNvPr>
          <p:cNvCxnSpPr>
            <a:cxnSpLocks/>
          </p:cNvCxnSpPr>
          <p:nvPr/>
        </p:nvCxnSpPr>
        <p:spPr>
          <a:xfrm rot="5400000">
            <a:off x="7091829" y="2146249"/>
            <a:ext cx="891002" cy="1831250"/>
          </a:xfrm>
          <a:prstGeom prst="bentConnector3">
            <a:avLst>
              <a:gd name="adj1" fmla="val 135269"/>
            </a:avLst>
          </a:prstGeom>
          <a:ln w="12700">
            <a:solidFill>
              <a:schemeClr val="tx1"/>
            </a:solidFill>
            <a:prstDash val="sysDash"/>
            <a:headEnd type="none" w="med" len="med"/>
            <a:tailEnd type="triangle"/>
          </a:ln>
        </p:spPr>
        <p:style>
          <a:lnRef idx="1">
            <a:schemeClr val="accent1"/>
          </a:lnRef>
          <a:fillRef idx="0">
            <a:schemeClr val="accent1"/>
          </a:fillRef>
          <a:effectRef idx="0">
            <a:schemeClr val="accent1"/>
          </a:effectRef>
          <a:fontRef idx="minor">
            <a:schemeClr val="tx1"/>
          </a:fontRef>
        </p:style>
      </p:cxnSp>
      <p:grpSp>
        <p:nvGrpSpPr>
          <p:cNvPr id="57" name="Group 56">
            <a:extLst>
              <a:ext uri="{FF2B5EF4-FFF2-40B4-BE49-F238E27FC236}">
                <a16:creationId xmlns:a16="http://schemas.microsoft.com/office/drawing/2014/main" id="{8CCE4766-9492-1CA2-4425-61084779AFA7}"/>
              </a:ext>
            </a:extLst>
          </p:cNvPr>
          <p:cNvGrpSpPr/>
          <p:nvPr/>
        </p:nvGrpSpPr>
        <p:grpSpPr>
          <a:xfrm>
            <a:off x="1164490" y="2250530"/>
            <a:ext cx="978330" cy="964498"/>
            <a:chOff x="370405" y="4783752"/>
            <a:chExt cx="978585" cy="964749"/>
          </a:xfrm>
        </p:grpSpPr>
        <p:sp>
          <p:nvSpPr>
            <p:cNvPr id="58" name="Chevron 5">
              <a:extLst>
                <a:ext uri="{FF2B5EF4-FFF2-40B4-BE49-F238E27FC236}">
                  <a16:creationId xmlns:a16="http://schemas.microsoft.com/office/drawing/2014/main" id="{A846AF99-B983-B0EF-91EF-0F4C2D97A690}"/>
                </a:ext>
              </a:extLst>
            </p:cNvPr>
            <p:cNvSpPr/>
            <p:nvPr/>
          </p:nvSpPr>
          <p:spPr bwMode="gray">
            <a:xfrm>
              <a:off x="370405" y="4783752"/>
              <a:ext cx="903147" cy="964749"/>
            </a:xfrm>
            <a:prstGeom prst="chevron">
              <a:avLst>
                <a:gd name="adj" fmla="val 14721"/>
              </a:avLst>
            </a:prstGeom>
            <a:solidFill>
              <a:schemeClr val="bg1">
                <a:lumMod val="85000"/>
              </a:schemeClr>
            </a:solidFill>
            <a:ln w="6350" algn="ctr">
              <a:solidFill>
                <a:schemeClr val="tx1">
                  <a:lumMod val="95000"/>
                  <a:lumOff val="5000"/>
                </a:schemeClr>
              </a:solidFill>
              <a:miter lim="800000"/>
              <a:headEnd/>
              <a:tailEnd/>
            </a:ln>
          </p:spPr>
          <p:txBody>
            <a:bodyPr lIns="107972" tIns="0" rIns="71981" bIns="0" rtlCol="0" anchor="ctr"/>
            <a:lstStyle/>
            <a:p>
              <a:pPr algn="ctr">
                <a:buClr>
                  <a:schemeClr val="accent1"/>
                </a:buClr>
                <a:buSzPct val="80000"/>
                <a:tabLst>
                  <a:tab pos="2172636" algn="l"/>
                </a:tabLst>
                <a:defRPr/>
              </a:pPr>
              <a:endParaRPr lang="en-US" sz="1000"/>
            </a:p>
          </p:txBody>
        </p:sp>
        <p:sp>
          <p:nvSpPr>
            <p:cNvPr id="59" name="TextBox 58">
              <a:extLst>
                <a:ext uri="{FF2B5EF4-FFF2-40B4-BE49-F238E27FC236}">
                  <a16:creationId xmlns:a16="http://schemas.microsoft.com/office/drawing/2014/main" id="{3D67CEE8-ACE7-F052-925F-DF60206B2AAF}"/>
                </a:ext>
              </a:extLst>
            </p:cNvPr>
            <p:cNvSpPr txBox="1"/>
            <p:nvPr/>
          </p:nvSpPr>
          <p:spPr>
            <a:xfrm>
              <a:off x="520990" y="4970073"/>
              <a:ext cx="828000" cy="153888"/>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000" dirty="0"/>
                <a:t>Preparation</a:t>
              </a:r>
            </a:p>
          </p:txBody>
        </p:sp>
      </p:grpSp>
      <p:cxnSp>
        <p:nvCxnSpPr>
          <p:cNvPr id="60" name="Straight Arrow Connector 82">
            <a:extLst>
              <a:ext uri="{FF2B5EF4-FFF2-40B4-BE49-F238E27FC236}">
                <a16:creationId xmlns:a16="http://schemas.microsoft.com/office/drawing/2014/main" id="{B13E445C-073C-5056-098F-4941AB164150}"/>
              </a:ext>
            </a:extLst>
          </p:cNvPr>
          <p:cNvCxnSpPr>
            <a:cxnSpLocks/>
            <a:endCxn id="49" idx="0"/>
          </p:cNvCxnSpPr>
          <p:nvPr/>
        </p:nvCxnSpPr>
        <p:spPr>
          <a:xfrm flipV="1">
            <a:off x="7406674" y="2261287"/>
            <a:ext cx="945960" cy="2"/>
          </a:xfrm>
          <a:prstGeom prst="bentConnector4">
            <a:avLst>
              <a:gd name="adj1" fmla="val 29812"/>
              <a:gd name="adj2" fmla="val 11430100000"/>
            </a:avLst>
          </a:prstGeom>
          <a:ln w="12700">
            <a:solidFill>
              <a:schemeClr val="tx1"/>
            </a:solidFill>
            <a:prstDash val="sysDash"/>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61" name="Straight Arrow Connector 103">
            <a:extLst>
              <a:ext uri="{FF2B5EF4-FFF2-40B4-BE49-F238E27FC236}">
                <a16:creationId xmlns:a16="http://schemas.microsoft.com/office/drawing/2014/main" id="{E4E88EBA-771D-6D9E-14EB-E6FBD2E1AFA5}"/>
              </a:ext>
            </a:extLst>
          </p:cNvPr>
          <p:cNvCxnSpPr>
            <a:cxnSpLocks/>
          </p:cNvCxnSpPr>
          <p:nvPr/>
        </p:nvCxnSpPr>
        <p:spPr>
          <a:xfrm rot="5400000" flipH="1" flipV="1">
            <a:off x="5815606" y="2788049"/>
            <a:ext cx="3459" cy="1442111"/>
          </a:xfrm>
          <a:prstGeom prst="bentConnector3">
            <a:avLst>
              <a:gd name="adj1" fmla="val -8946936"/>
            </a:avLst>
          </a:prstGeom>
          <a:ln w="12700">
            <a:solidFill>
              <a:schemeClr val="tx1"/>
            </a:solidFill>
            <a:prstDash val="sysDash"/>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62" name="Rectangle 61">
            <a:extLst>
              <a:ext uri="{FF2B5EF4-FFF2-40B4-BE49-F238E27FC236}">
                <a16:creationId xmlns:a16="http://schemas.microsoft.com/office/drawing/2014/main" id="{B876CC3B-F545-4CEE-D95D-872E2ECF63BC}"/>
              </a:ext>
            </a:extLst>
          </p:cNvPr>
          <p:cNvSpPr/>
          <p:nvPr/>
        </p:nvSpPr>
        <p:spPr bwMode="gray">
          <a:xfrm>
            <a:off x="9166431" y="1034738"/>
            <a:ext cx="157127" cy="118223"/>
          </a:xfrm>
          <a:prstGeom prst="rect">
            <a:avLst/>
          </a:prstGeom>
          <a:solidFill>
            <a:schemeClr val="accent3">
              <a:lumMod val="40000"/>
              <a:lumOff val="60000"/>
            </a:schemeClr>
          </a:solidFill>
          <a:ln w="25400" algn="ctr">
            <a:noFill/>
            <a:miter lim="800000"/>
            <a:headEnd/>
            <a:tailEnd/>
          </a:ln>
        </p:spPr>
        <p:txBody>
          <a:bodyPr lIns="89977" tIns="71981" rIns="89977" bIns="71981" rtlCol="0" anchor="ctr"/>
          <a:lstStyle/>
          <a:p>
            <a:pPr algn="ctr" defTabSz="914126" fontAlgn="base">
              <a:spcBef>
                <a:spcPct val="50000"/>
              </a:spcBef>
              <a:spcAft>
                <a:spcPct val="0"/>
              </a:spcAft>
              <a:buClr>
                <a:srgbClr val="F0AB00"/>
              </a:buClr>
              <a:buSzPct val="80000"/>
            </a:pPr>
            <a:endParaRPr lang="de-DE" sz="1799" kern="0" err="1">
              <a:ea typeface="Arial Unicode MS" pitchFamily="34" charset="-128"/>
              <a:cs typeface="Arial Unicode MS" pitchFamily="34" charset="-128"/>
            </a:endParaRPr>
          </a:p>
        </p:txBody>
      </p:sp>
      <p:sp>
        <p:nvSpPr>
          <p:cNvPr id="63" name="TextBox 62">
            <a:extLst>
              <a:ext uri="{FF2B5EF4-FFF2-40B4-BE49-F238E27FC236}">
                <a16:creationId xmlns:a16="http://schemas.microsoft.com/office/drawing/2014/main" id="{8D2C592C-B2FC-9EB8-7BF5-A05337FE1B7D}"/>
              </a:ext>
            </a:extLst>
          </p:cNvPr>
          <p:cNvSpPr txBox="1"/>
          <p:nvPr/>
        </p:nvSpPr>
        <p:spPr>
          <a:xfrm>
            <a:off x="9376327" y="1016645"/>
            <a:ext cx="2312694" cy="153848"/>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de-DE" sz="1000" kern="0" dirty="0" err="1">
                <a:ea typeface="Arial Unicode MS" pitchFamily="34" charset="-128"/>
                <a:cs typeface="Arial Unicode MS" pitchFamily="34" charset="-128"/>
              </a:rPr>
              <a:t>Reusable</a:t>
            </a:r>
            <a:r>
              <a:rPr lang="de-DE" sz="1000" kern="0" dirty="0">
                <a:ea typeface="Arial Unicode MS" pitchFamily="34" charset="-128"/>
                <a:cs typeface="Arial Unicode MS" pitchFamily="34" charset="-128"/>
              </a:rPr>
              <a:t> interface </a:t>
            </a:r>
            <a:r>
              <a:rPr lang="de-DE" sz="1000" kern="0" dirty="0" err="1">
                <a:ea typeface="Arial Unicode MS" pitchFamily="34" charset="-128"/>
                <a:cs typeface="Arial Unicode MS" pitchFamily="34" charset="-128"/>
              </a:rPr>
              <a:t>building</a:t>
            </a:r>
            <a:r>
              <a:rPr lang="de-DE" sz="1000" kern="0" dirty="0">
                <a:ea typeface="Arial Unicode MS" pitchFamily="34" charset="-128"/>
                <a:cs typeface="Arial Unicode MS" pitchFamily="34" charset="-128"/>
              </a:rPr>
              <a:t> </a:t>
            </a:r>
            <a:r>
              <a:rPr lang="de-DE" sz="1000" kern="0" dirty="0" err="1">
                <a:ea typeface="Arial Unicode MS" pitchFamily="34" charset="-128"/>
                <a:cs typeface="Arial Unicode MS" pitchFamily="34" charset="-128"/>
              </a:rPr>
              <a:t>blocks</a:t>
            </a:r>
            <a:endParaRPr lang="de-DE" sz="1000" kern="0" dirty="0">
              <a:ea typeface="Arial Unicode MS" pitchFamily="34" charset="-128"/>
              <a:cs typeface="Arial Unicode MS" pitchFamily="34" charset="-128"/>
            </a:endParaRPr>
          </a:p>
        </p:txBody>
      </p:sp>
      <p:sp>
        <p:nvSpPr>
          <p:cNvPr id="64" name="Rectangle 63">
            <a:extLst>
              <a:ext uri="{FF2B5EF4-FFF2-40B4-BE49-F238E27FC236}">
                <a16:creationId xmlns:a16="http://schemas.microsoft.com/office/drawing/2014/main" id="{EB7877EC-106D-4EA9-3E36-2CFDB23A4B06}"/>
              </a:ext>
            </a:extLst>
          </p:cNvPr>
          <p:cNvSpPr/>
          <p:nvPr/>
        </p:nvSpPr>
        <p:spPr bwMode="gray">
          <a:xfrm>
            <a:off x="932506" y="1683205"/>
            <a:ext cx="1476898" cy="2285365"/>
          </a:xfrm>
          <a:prstGeom prst="rect">
            <a:avLst/>
          </a:prstGeom>
          <a:noFill/>
          <a:ln w="19050" algn="ctr">
            <a:solidFill>
              <a:schemeClr val="tx1">
                <a:lumMod val="50000"/>
                <a:lumOff val="50000"/>
              </a:schemeClr>
            </a:solidFill>
            <a:prstDash val="dash"/>
            <a:miter lim="800000"/>
            <a:headEnd/>
            <a:tailEnd/>
          </a:ln>
        </p:spPr>
        <p:txBody>
          <a:bodyPr lIns="89956" tIns="71964" rIns="89956" bIns="71964" rtlCol="0" anchor="ctr"/>
          <a:lstStyle/>
          <a:p>
            <a:pPr algn="ctr" defTabSz="913943" fontAlgn="base">
              <a:spcBef>
                <a:spcPct val="50000"/>
              </a:spcBef>
              <a:spcAft>
                <a:spcPct val="0"/>
              </a:spcAft>
              <a:buClr>
                <a:srgbClr val="F0AB00"/>
              </a:buClr>
              <a:buSzPct val="80000"/>
            </a:pPr>
            <a:endParaRPr sz="1799" b="1" kern="0">
              <a:solidFill>
                <a:srgbClr val="000000"/>
              </a:solidFill>
              <a:ea typeface="Arial Unicode MS" pitchFamily="34" charset="-128"/>
              <a:cs typeface="Arial"/>
            </a:endParaRPr>
          </a:p>
        </p:txBody>
      </p:sp>
      <p:sp>
        <p:nvSpPr>
          <p:cNvPr id="66" name="Rectangle 65">
            <a:extLst>
              <a:ext uri="{FF2B5EF4-FFF2-40B4-BE49-F238E27FC236}">
                <a16:creationId xmlns:a16="http://schemas.microsoft.com/office/drawing/2014/main" id="{57B61790-A87B-4D26-981B-50250C980023}"/>
              </a:ext>
            </a:extLst>
          </p:cNvPr>
          <p:cNvSpPr/>
          <p:nvPr/>
        </p:nvSpPr>
        <p:spPr bwMode="gray">
          <a:xfrm>
            <a:off x="9494037" y="1677920"/>
            <a:ext cx="1470380" cy="2285365"/>
          </a:xfrm>
          <a:prstGeom prst="rect">
            <a:avLst/>
          </a:prstGeom>
          <a:noFill/>
          <a:ln w="19050" algn="ctr">
            <a:solidFill>
              <a:schemeClr val="tx1">
                <a:lumMod val="50000"/>
                <a:lumOff val="50000"/>
              </a:schemeClr>
            </a:solidFill>
            <a:prstDash val="dash"/>
            <a:miter lim="800000"/>
            <a:headEnd/>
            <a:tailEnd/>
          </a:ln>
        </p:spPr>
        <p:txBody>
          <a:bodyPr lIns="89956" tIns="71964" rIns="89956" bIns="71964" rtlCol="0" anchor="ctr"/>
          <a:lstStyle/>
          <a:p>
            <a:pPr algn="ctr" defTabSz="913943" fontAlgn="base">
              <a:spcBef>
                <a:spcPct val="50000"/>
              </a:spcBef>
              <a:spcAft>
                <a:spcPct val="0"/>
              </a:spcAft>
              <a:buClr>
                <a:srgbClr val="F0AB00"/>
              </a:buClr>
              <a:buSzPct val="80000"/>
            </a:pPr>
            <a:endParaRPr sz="1799" b="1" kern="0">
              <a:solidFill>
                <a:srgbClr val="000000"/>
              </a:solidFill>
              <a:ea typeface="Arial Unicode MS" pitchFamily="34" charset="-128"/>
              <a:cs typeface="Arial"/>
            </a:endParaRPr>
          </a:p>
        </p:txBody>
      </p:sp>
      <p:sp>
        <p:nvSpPr>
          <p:cNvPr id="67" name="TextBox 66">
            <a:extLst>
              <a:ext uri="{FF2B5EF4-FFF2-40B4-BE49-F238E27FC236}">
                <a16:creationId xmlns:a16="http://schemas.microsoft.com/office/drawing/2014/main" id="{B6FE6FFF-B7B9-4E8D-1D70-656A3E6633A4}"/>
              </a:ext>
            </a:extLst>
          </p:cNvPr>
          <p:cNvSpPr txBox="1"/>
          <p:nvPr/>
        </p:nvSpPr>
        <p:spPr>
          <a:xfrm>
            <a:off x="395758" y="1330990"/>
            <a:ext cx="7191188" cy="184618"/>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de-DE" sz="1200" b="1" kern="0" dirty="0">
                <a:ea typeface="Arial Unicode MS" pitchFamily="34" charset="-128"/>
                <a:cs typeface="Arial Unicode MS" pitchFamily="34" charset="-128"/>
              </a:rPr>
              <a:t>Processing </a:t>
            </a:r>
            <a:r>
              <a:rPr lang="de-DE" sz="1200" b="1" kern="0" dirty="0" err="1">
                <a:ea typeface="Arial Unicode MS" pitchFamily="34" charset="-128"/>
                <a:cs typeface="Arial Unicode MS" pitchFamily="34" charset="-128"/>
              </a:rPr>
              <a:t>Sequence</a:t>
            </a:r>
            <a:r>
              <a:rPr lang="de-DE" sz="1200" b="1" kern="0" dirty="0">
                <a:ea typeface="Arial Unicode MS" pitchFamily="34" charset="-128"/>
                <a:cs typeface="Arial Unicode MS" pitchFamily="34" charset="-128"/>
              </a:rPr>
              <a:t> </a:t>
            </a:r>
            <a:r>
              <a:rPr lang="de-DE" sz="1200" b="1" kern="0" dirty="0" err="1">
                <a:ea typeface="Arial Unicode MS" pitchFamily="34" charset="-128"/>
                <a:cs typeface="Arial Unicode MS" pitchFamily="34" charset="-128"/>
              </a:rPr>
              <a:t>within</a:t>
            </a:r>
            <a:r>
              <a:rPr lang="de-DE" sz="1200" b="1" kern="0" dirty="0">
                <a:ea typeface="Arial Unicode MS" pitchFamily="34" charset="-128"/>
                <a:cs typeface="Arial Unicode MS" pitchFamily="34" charset="-128"/>
              </a:rPr>
              <a:t> AIFEM </a:t>
            </a:r>
            <a:r>
              <a:rPr lang="de-DE" sz="1200" b="1" kern="0" dirty="0" err="1">
                <a:ea typeface="Arial Unicode MS" pitchFamily="34" charset="-128"/>
                <a:cs typeface="Arial Unicode MS" pitchFamily="34" charset="-128"/>
              </a:rPr>
              <a:t>Runtime</a:t>
            </a:r>
            <a:r>
              <a:rPr lang="de-DE" sz="1200" b="1" kern="0" dirty="0">
                <a:ea typeface="Arial Unicode MS" pitchFamily="34" charset="-128"/>
                <a:cs typeface="Arial Unicode MS" pitchFamily="34" charset="-128"/>
              </a:rPr>
              <a:t> (</a:t>
            </a:r>
            <a:r>
              <a:rPr lang="de-DE" sz="1200" b="1" kern="0" dirty="0" err="1">
                <a:ea typeface="Arial Unicode MS" pitchFamily="34" charset="-128"/>
                <a:cs typeface="Arial Unicode MS" pitchFamily="34" charset="-128"/>
              </a:rPr>
              <a:t>outbound</a:t>
            </a:r>
            <a:r>
              <a:rPr lang="de-DE" sz="1200" b="1" kern="0" dirty="0">
                <a:ea typeface="Arial Unicode MS" pitchFamily="34" charset="-128"/>
                <a:cs typeface="Arial Unicode MS" pitchFamily="34" charset="-128"/>
              </a:rPr>
              <a:t>, </a:t>
            </a:r>
            <a:r>
              <a:rPr lang="de-DE" sz="1200" b="1" kern="0" dirty="0" err="1">
                <a:ea typeface="Arial Unicode MS" pitchFamily="34" charset="-128"/>
                <a:cs typeface="Arial Unicode MS" pitchFamily="34" charset="-128"/>
              </a:rPr>
              <a:t>schematic</a:t>
            </a:r>
            <a:r>
              <a:rPr lang="de-DE" sz="1200" b="1" kern="0" dirty="0">
                <a:ea typeface="Arial Unicode MS" pitchFamily="34" charset="-128"/>
                <a:cs typeface="Arial Unicode MS" pitchFamily="34" charset="-128"/>
              </a:rPr>
              <a:t>):</a:t>
            </a:r>
          </a:p>
        </p:txBody>
      </p:sp>
      <p:sp>
        <p:nvSpPr>
          <p:cNvPr id="68" name="Chevron 5">
            <a:extLst>
              <a:ext uri="{FF2B5EF4-FFF2-40B4-BE49-F238E27FC236}">
                <a16:creationId xmlns:a16="http://schemas.microsoft.com/office/drawing/2014/main" id="{DCE8C4FD-127B-9E38-3845-1621C621C33B}"/>
              </a:ext>
            </a:extLst>
          </p:cNvPr>
          <p:cNvSpPr/>
          <p:nvPr/>
        </p:nvSpPr>
        <p:spPr bwMode="gray">
          <a:xfrm>
            <a:off x="8786341" y="2259261"/>
            <a:ext cx="395897" cy="355085"/>
          </a:xfrm>
          <a:prstGeom prst="chevron">
            <a:avLst>
              <a:gd name="adj" fmla="val 28130"/>
            </a:avLst>
          </a:prstGeom>
          <a:solidFill>
            <a:schemeClr val="accent3">
              <a:lumMod val="20000"/>
              <a:lumOff val="80000"/>
            </a:schemeClr>
          </a:solidFill>
          <a:ln w="6350" algn="ctr">
            <a:solidFill>
              <a:schemeClr val="tx1"/>
            </a:solidFill>
            <a:miter lim="800000"/>
            <a:headEnd/>
            <a:tailEnd/>
          </a:ln>
        </p:spPr>
        <p:txBody>
          <a:bodyPr lIns="107972" tIns="0" rIns="71981" bIns="0" rtlCol="0" anchor="ctr"/>
          <a:lstStyle/>
          <a:p>
            <a:pPr algn="ctr">
              <a:buClr>
                <a:schemeClr val="accent1"/>
              </a:buClr>
              <a:buSzPct val="80000"/>
              <a:tabLst>
                <a:tab pos="2172636" algn="l"/>
              </a:tabLst>
              <a:defRPr/>
            </a:pPr>
            <a:endParaRPr lang="en-US" sz="1000" b="1"/>
          </a:p>
        </p:txBody>
      </p:sp>
      <p:sp>
        <p:nvSpPr>
          <p:cNvPr id="69" name="Rectangle 68">
            <a:extLst>
              <a:ext uri="{FF2B5EF4-FFF2-40B4-BE49-F238E27FC236}">
                <a16:creationId xmlns:a16="http://schemas.microsoft.com/office/drawing/2014/main" id="{06473C5E-48F7-0CCC-6BCF-BF210040F4CF}"/>
              </a:ext>
            </a:extLst>
          </p:cNvPr>
          <p:cNvSpPr/>
          <p:nvPr/>
        </p:nvSpPr>
        <p:spPr bwMode="gray">
          <a:xfrm>
            <a:off x="2590672" y="4143859"/>
            <a:ext cx="811063" cy="267234"/>
          </a:xfrm>
          <a:prstGeom prst="rect">
            <a:avLst/>
          </a:prstGeom>
          <a:solidFill>
            <a:schemeClr val="accent1">
              <a:lumMod val="20000"/>
              <a:lumOff val="80000"/>
            </a:schemeClr>
          </a:solidFill>
          <a:ln w="6350" algn="ctr">
            <a:solidFill>
              <a:schemeClr val="tx1"/>
            </a:solidFill>
            <a:miter lim="800000"/>
            <a:headEnd/>
            <a:tailEnd/>
          </a:ln>
        </p:spPr>
        <p:txBody>
          <a:bodyPr lIns="89977" tIns="71981" rIns="89977" bIns="71981" rtlCol="0" anchor="ctr"/>
          <a:lstStyle/>
          <a:p>
            <a:pPr algn="ctr">
              <a:buClr>
                <a:schemeClr val="accent1"/>
              </a:buClr>
              <a:buSzPct val="80000"/>
              <a:tabLst>
                <a:tab pos="2172636" algn="l"/>
              </a:tabLst>
              <a:defRPr/>
            </a:pPr>
            <a:r>
              <a:rPr lang="en-US" sz="800"/>
              <a:t>AIF Enabler</a:t>
            </a:r>
          </a:p>
        </p:txBody>
      </p:sp>
      <p:sp>
        <p:nvSpPr>
          <p:cNvPr id="2" name="Flowchart: Magnetic Disk 1">
            <a:extLst>
              <a:ext uri="{FF2B5EF4-FFF2-40B4-BE49-F238E27FC236}">
                <a16:creationId xmlns:a16="http://schemas.microsoft.com/office/drawing/2014/main" id="{D734CE4B-50C9-1651-2083-2AE8C081F849}"/>
              </a:ext>
            </a:extLst>
          </p:cNvPr>
          <p:cNvSpPr/>
          <p:nvPr/>
        </p:nvSpPr>
        <p:spPr bwMode="gray">
          <a:xfrm>
            <a:off x="3619550" y="4110277"/>
            <a:ext cx="794755" cy="340336"/>
          </a:xfrm>
          <a:prstGeom prst="flowChartMagneticDisk">
            <a:avLst/>
          </a:prstGeom>
          <a:solidFill>
            <a:schemeClr val="accent1">
              <a:lumMod val="20000"/>
              <a:lumOff val="80000"/>
            </a:schemeClr>
          </a:solidFill>
          <a:ln w="6350" algn="ctr">
            <a:solidFill>
              <a:schemeClr val="tx1"/>
            </a:solidFill>
            <a:miter lim="800000"/>
            <a:headEnd/>
            <a:tailEnd/>
          </a:ln>
        </p:spPr>
        <p:txBody>
          <a:bodyPr lIns="89977" tIns="71981" rIns="89977" bIns="71981" rtlCol="0" anchor="ctr"/>
          <a:lstStyle/>
          <a:p>
            <a:pPr algn="ctr">
              <a:buClr>
                <a:schemeClr val="accent1"/>
              </a:buClr>
              <a:buSzPct val="80000"/>
              <a:tabLst>
                <a:tab pos="2172636" algn="l"/>
              </a:tabLst>
            </a:pPr>
            <a:r>
              <a:rPr lang="de-DE" sz="800"/>
              <a:t>Index </a:t>
            </a:r>
            <a:r>
              <a:rPr lang="de-DE" sz="800" err="1"/>
              <a:t>Tables</a:t>
            </a:r>
            <a:endParaRPr lang="de-DE" sz="800"/>
          </a:p>
        </p:txBody>
      </p:sp>
      <p:sp>
        <p:nvSpPr>
          <p:cNvPr id="70" name="Flowchart: Magnetic Disk 69">
            <a:extLst>
              <a:ext uri="{FF2B5EF4-FFF2-40B4-BE49-F238E27FC236}">
                <a16:creationId xmlns:a16="http://schemas.microsoft.com/office/drawing/2014/main" id="{55632B12-18E6-19FD-8CD1-73B773B51C29}"/>
              </a:ext>
            </a:extLst>
          </p:cNvPr>
          <p:cNvSpPr/>
          <p:nvPr/>
        </p:nvSpPr>
        <p:spPr bwMode="gray">
          <a:xfrm>
            <a:off x="4650692" y="4110277"/>
            <a:ext cx="794755" cy="340336"/>
          </a:xfrm>
          <a:prstGeom prst="flowChartMagneticDisk">
            <a:avLst/>
          </a:prstGeom>
          <a:solidFill>
            <a:schemeClr val="accent1">
              <a:lumMod val="20000"/>
              <a:lumOff val="80000"/>
            </a:schemeClr>
          </a:solidFill>
          <a:ln w="6350" algn="ctr">
            <a:solidFill>
              <a:schemeClr val="tx1"/>
            </a:solidFill>
            <a:miter lim="800000"/>
            <a:headEnd/>
            <a:tailEnd/>
          </a:ln>
        </p:spPr>
        <p:txBody>
          <a:bodyPr lIns="89977" tIns="71981" rIns="89977" bIns="71981" rtlCol="0" anchor="ctr"/>
          <a:lstStyle/>
          <a:p>
            <a:pPr algn="ctr">
              <a:buClr>
                <a:schemeClr val="accent1"/>
              </a:buClr>
              <a:buSzPct val="80000"/>
              <a:tabLst>
                <a:tab pos="2172636" algn="l"/>
              </a:tabLst>
            </a:pPr>
            <a:r>
              <a:rPr lang="de-DE" sz="800" err="1"/>
              <a:t>Statistics</a:t>
            </a:r>
            <a:endParaRPr lang="de-DE" sz="800"/>
          </a:p>
        </p:txBody>
      </p:sp>
      <p:sp>
        <p:nvSpPr>
          <p:cNvPr id="72" name="Rectangle 71">
            <a:extLst>
              <a:ext uri="{FF2B5EF4-FFF2-40B4-BE49-F238E27FC236}">
                <a16:creationId xmlns:a16="http://schemas.microsoft.com/office/drawing/2014/main" id="{99DF1A56-7F98-42E8-ACB7-8C719255C159}"/>
              </a:ext>
            </a:extLst>
          </p:cNvPr>
          <p:cNvSpPr/>
          <p:nvPr/>
        </p:nvSpPr>
        <p:spPr bwMode="gray">
          <a:xfrm>
            <a:off x="5706361" y="4137147"/>
            <a:ext cx="811063" cy="267234"/>
          </a:xfrm>
          <a:prstGeom prst="rect">
            <a:avLst/>
          </a:prstGeom>
          <a:solidFill>
            <a:schemeClr val="accent4">
              <a:lumMod val="20000"/>
              <a:lumOff val="80000"/>
            </a:schemeClr>
          </a:solidFill>
          <a:ln w="6350" algn="ctr">
            <a:solidFill>
              <a:schemeClr val="tx1"/>
            </a:solidFill>
            <a:miter lim="800000"/>
            <a:headEnd/>
            <a:tailEnd/>
          </a:ln>
        </p:spPr>
        <p:txBody>
          <a:bodyPr lIns="89977" tIns="71981" rIns="89977" bIns="71981" rtlCol="0" anchor="ctr"/>
          <a:lstStyle/>
          <a:p>
            <a:pPr algn="ctr">
              <a:buClr>
                <a:schemeClr val="accent1"/>
              </a:buClr>
              <a:buSzPct val="80000"/>
              <a:tabLst>
                <a:tab pos="2172636" algn="l"/>
              </a:tabLst>
              <a:defRPr/>
            </a:pPr>
            <a:r>
              <a:rPr lang="en-US" sz="800"/>
              <a:t>Application Engine</a:t>
            </a:r>
          </a:p>
        </p:txBody>
      </p:sp>
      <p:sp>
        <p:nvSpPr>
          <p:cNvPr id="73" name="Rectangle 72">
            <a:extLst>
              <a:ext uri="{FF2B5EF4-FFF2-40B4-BE49-F238E27FC236}">
                <a16:creationId xmlns:a16="http://schemas.microsoft.com/office/drawing/2014/main" id="{067AAAE3-4F36-45AA-FE72-10FE6E53BC45}"/>
              </a:ext>
            </a:extLst>
          </p:cNvPr>
          <p:cNvSpPr/>
          <p:nvPr/>
        </p:nvSpPr>
        <p:spPr bwMode="gray">
          <a:xfrm>
            <a:off x="6655471" y="4143859"/>
            <a:ext cx="811063" cy="267234"/>
          </a:xfrm>
          <a:prstGeom prst="rect">
            <a:avLst/>
          </a:prstGeom>
          <a:solidFill>
            <a:schemeClr val="accent4">
              <a:lumMod val="20000"/>
              <a:lumOff val="80000"/>
            </a:schemeClr>
          </a:solidFill>
          <a:ln w="6350" algn="ctr">
            <a:solidFill>
              <a:schemeClr val="tx1"/>
            </a:solidFill>
            <a:miter lim="800000"/>
            <a:headEnd/>
            <a:tailEnd/>
          </a:ln>
        </p:spPr>
        <p:txBody>
          <a:bodyPr lIns="89977" tIns="71981" rIns="89977" bIns="71981" rtlCol="0" anchor="ctr"/>
          <a:lstStyle/>
          <a:p>
            <a:pPr algn="ctr">
              <a:buClr>
                <a:schemeClr val="accent1"/>
              </a:buClr>
              <a:buSzPct val="80000"/>
              <a:tabLst>
                <a:tab pos="2172636" algn="l"/>
              </a:tabLst>
              <a:defRPr/>
            </a:pPr>
            <a:r>
              <a:rPr lang="en-US" sz="800"/>
              <a:t>Selection Engine</a:t>
            </a:r>
          </a:p>
        </p:txBody>
      </p:sp>
      <p:sp>
        <p:nvSpPr>
          <p:cNvPr id="74" name="Rectangle 73">
            <a:extLst>
              <a:ext uri="{FF2B5EF4-FFF2-40B4-BE49-F238E27FC236}">
                <a16:creationId xmlns:a16="http://schemas.microsoft.com/office/drawing/2014/main" id="{B4431D5A-F185-81F3-E8D3-0A4405F8C882}"/>
              </a:ext>
            </a:extLst>
          </p:cNvPr>
          <p:cNvSpPr/>
          <p:nvPr/>
        </p:nvSpPr>
        <p:spPr bwMode="gray">
          <a:xfrm>
            <a:off x="7600868" y="4146812"/>
            <a:ext cx="811063" cy="267234"/>
          </a:xfrm>
          <a:prstGeom prst="rect">
            <a:avLst/>
          </a:prstGeom>
          <a:solidFill>
            <a:schemeClr val="accent4">
              <a:lumMod val="20000"/>
              <a:lumOff val="80000"/>
            </a:schemeClr>
          </a:solidFill>
          <a:ln w="6350" algn="ctr">
            <a:solidFill>
              <a:schemeClr val="tx1"/>
            </a:solidFill>
            <a:miter lim="800000"/>
            <a:headEnd/>
            <a:tailEnd/>
          </a:ln>
        </p:spPr>
        <p:txBody>
          <a:bodyPr lIns="89977" tIns="71981" rIns="89977" bIns="71981" rtlCol="0" anchor="ctr"/>
          <a:lstStyle/>
          <a:p>
            <a:pPr algn="ctr">
              <a:buClr>
                <a:schemeClr val="accent1"/>
              </a:buClr>
              <a:buSzPct val="80000"/>
              <a:tabLst>
                <a:tab pos="2172636" algn="l"/>
              </a:tabLst>
              <a:defRPr/>
            </a:pPr>
            <a:r>
              <a:rPr lang="en-US" sz="800"/>
              <a:t>Persistence Engine</a:t>
            </a:r>
          </a:p>
        </p:txBody>
      </p:sp>
      <p:sp>
        <p:nvSpPr>
          <p:cNvPr id="75" name="Rectangle 74">
            <a:extLst>
              <a:ext uri="{FF2B5EF4-FFF2-40B4-BE49-F238E27FC236}">
                <a16:creationId xmlns:a16="http://schemas.microsoft.com/office/drawing/2014/main" id="{735B844A-3F15-A8AE-21AB-F22B3FE5ABAF}"/>
              </a:ext>
            </a:extLst>
          </p:cNvPr>
          <p:cNvSpPr/>
          <p:nvPr/>
        </p:nvSpPr>
        <p:spPr bwMode="gray">
          <a:xfrm>
            <a:off x="8546266" y="4143859"/>
            <a:ext cx="811063" cy="267234"/>
          </a:xfrm>
          <a:prstGeom prst="rect">
            <a:avLst/>
          </a:prstGeom>
          <a:solidFill>
            <a:schemeClr val="accent4">
              <a:lumMod val="20000"/>
              <a:lumOff val="80000"/>
            </a:schemeClr>
          </a:solidFill>
          <a:ln w="6350" algn="ctr">
            <a:solidFill>
              <a:schemeClr val="tx1"/>
            </a:solidFill>
            <a:miter lim="800000"/>
            <a:headEnd/>
            <a:tailEnd/>
          </a:ln>
        </p:spPr>
        <p:txBody>
          <a:bodyPr lIns="89977" tIns="71981" rIns="89977" bIns="71981" rtlCol="0" anchor="ctr"/>
          <a:lstStyle/>
          <a:p>
            <a:pPr algn="ctr">
              <a:buClr>
                <a:schemeClr val="accent1"/>
              </a:buClr>
              <a:buSzPct val="80000"/>
              <a:tabLst>
                <a:tab pos="2172636" algn="l"/>
              </a:tabLst>
              <a:defRPr/>
            </a:pPr>
            <a:r>
              <a:rPr lang="en-US" sz="800"/>
              <a:t>Logging Engine</a:t>
            </a:r>
          </a:p>
        </p:txBody>
      </p:sp>
      <p:cxnSp>
        <p:nvCxnSpPr>
          <p:cNvPr id="76" name="Straight Connector 75">
            <a:extLst>
              <a:ext uri="{FF2B5EF4-FFF2-40B4-BE49-F238E27FC236}">
                <a16:creationId xmlns:a16="http://schemas.microsoft.com/office/drawing/2014/main" id="{75FFA169-FA16-F392-1908-82E782ECC57D}"/>
              </a:ext>
            </a:extLst>
          </p:cNvPr>
          <p:cNvCxnSpPr/>
          <p:nvPr/>
        </p:nvCxnSpPr>
        <p:spPr>
          <a:xfrm>
            <a:off x="2572205" y="3963284"/>
            <a:ext cx="6766657" cy="0"/>
          </a:xfrm>
          <a:prstGeom prst="line">
            <a:avLst/>
          </a:prstGeom>
          <a:noFill/>
          <a:ln w="19050" algn="ctr">
            <a:solidFill>
              <a:schemeClr val="tx1">
                <a:lumMod val="50000"/>
                <a:lumOff val="50000"/>
              </a:schemeClr>
            </a:solidFill>
            <a:prstDash val="dash"/>
            <a:miter lim="800000"/>
            <a:headEnd/>
            <a:tailEnd/>
          </a:ln>
        </p:spPr>
      </p:cxnSp>
      <p:cxnSp>
        <p:nvCxnSpPr>
          <p:cNvPr id="71" name="Gerade Verbindung 70">
            <a:extLst>
              <a:ext uri="{FF2B5EF4-FFF2-40B4-BE49-F238E27FC236}">
                <a16:creationId xmlns:a16="http://schemas.microsoft.com/office/drawing/2014/main" id="{CF2DC059-EE37-D917-A90E-BA2397667257}"/>
              </a:ext>
            </a:extLst>
          </p:cNvPr>
          <p:cNvCxnSpPr>
            <a:cxnSpLocks/>
          </p:cNvCxnSpPr>
          <p:nvPr/>
        </p:nvCxnSpPr>
        <p:spPr>
          <a:xfrm>
            <a:off x="247709" y="5450705"/>
            <a:ext cx="10846882" cy="0"/>
          </a:xfrm>
          <a:prstGeom prst="line">
            <a:avLst/>
          </a:prstGeom>
          <a:ln w="25400">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83" name="Rectangle 68">
            <a:extLst>
              <a:ext uri="{FF2B5EF4-FFF2-40B4-BE49-F238E27FC236}">
                <a16:creationId xmlns:a16="http://schemas.microsoft.com/office/drawing/2014/main" id="{74E3168C-3A94-2F3E-CF85-A10396FE1238}"/>
              </a:ext>
            </a:extLst>
          </p:cNvPr>
          <p:cNvSpPr/>
          <p:nvPr/>
        </p:nvSpPr>
        <p:spPr bwMode="gray">
          <a:xfrm>
            <a:off x="121442" y="4754929"/>
            <a:ext cx="811063" cy="267234"/>
          </a:xfrm>
          <a:prstGeom prst="rect">
            <a:avLst/>
          </a:prstGeom>
          <a:solidFill>
            <a:schemeClr val="accent1">
              <a:lumMod val="20000"/>
              <a:lumOff val="80000"/>
            </a:schemeClr>
          </a:solidFill>
          <a:ln w="6350" algn="ctr">
            <a:solidFill>
              <a:schemeClr val="tx1"/>
            </a:solidFill>
            <a:miter lim="800000"/>
            <a:headEnd/>
            <a:tailEnd/>
          </a:ln>
        </p:spPr>
        <p:txBody>
          <a:bodyPr lIns="89977" tIns="71981" rIns="89977" bIns="71981" rtlCol="0" anchor="ctr"/>
          <a:lstStyle/>
          <a:p>
            <a:pPr algn="ctr">
              <a:buClr>
                <a:schemeClr val="accent1"/>
              </a:buClr>
              <a:buSzPct val="80000"/>
              <a:tabLst>
                <a:tab pos="2172636" algn="l"/>
              </a:tabLst>
              <a:defRPr/>
            </a:pPr>
            <a:r>
              <a:rPr lang="en-US" sz="800" dirty="0"/>
              <a:t>Standard Content</a:t>
            </a:r>
          </a:p>
        </p:txBody>
      </p:sp>
      <p:sp>
        <p:nvSpPr>
          <p:cNvPr id="84" name="Rectangle 68">
            <a:extLst>
              <a:ext uri="{FF2B5EF4-FFF2-40B4-BE49-F238E27FC236}">
                <a16:creationId xmlns:a16="http://schemas.microsoft.com/office/drawing/2014/main" id="{6A86D17B-F9D1-2771-3243-E0F29A0988B1}"/>
              </a:ext>
            </a:extLst>
          </p:cNvPr>
          <p:cNvSpPr/>
          <p:nvPr/>
        </p:nvSpPr>
        <p:spPr bwMode="gray">
          <a:xfrm>
            <a:off x="121443" y="5795820"/>
            <a:ext cx="811063" cy="267234"/>
          </a:xfrm>
          <a:prstGeom prst="rect">
            <a:avLst/>
          </a:prstGeom>
          <a:solidFill>
            <a:schemeClr val="accent1">
              <a:lumMod val="20000"/>
              <a:lumOff val="80000"/>
            </a:schemeClr>
          </a:solidFill>
          <a:ln w="6350" algn="ctr">
            <a:solidFill>
              <a:schemeClr val="tx1"/>
            </a:solidFill>
            <a:miter lim="800000"/>
            <a:headEnd/>
            <a:tailEnd/>
          </a:ln>
        </p:spPr>
        <p:txBody>
          <a:bodyPr lIns="89977" tIns="71981" rIns="89977" bIns="71981" rtlCol="0" anchor="ctr"/>
          <a:lstStyle/>
          <a:p>
            <a:pPr algn="ctr">
              <a:buClr>
                <a:schemeClr val="accent1"/>
              </a:buClr>
              <a:buSzPct val="80000"/>
              <a:tabLst>
                <a:tab pos="2172636" algn="l"/>
              </a:tabLst>
              <a:defRPr/>
            </a:pPr>
            <a:r>
              <a:rPr lang="en-US" sz="800" dirty="0"/>
              <a:t>Activities</a:t>
            </a:r>
          </a:p>
        </p:txBody>
      </p:sp>
      <p:sp>
        <p:nvSpPr>
          <p:cNvPr id="86" name="Textfeld 85">
            <a:extLst>
              <a:ext uri="{FF2B5EF4-FFF2-40B4-BE49-F238E27FC236}">
                <a16:creationId xmlns:a16="http://schemas.microsoft.com/office/drawing/2014/main" id="{851B7739-BE6A-29D9-23E5-8AAC059DAAFB}"/>
              </a:ext>
            </a:extLst>
          </p:cNvPr>
          <p:cNvSpPr txBox="1"/>
          <p:nvPr/>
        </p:nvSpPr>
        <p:spPr>
          <a:xfrm flipH="1">
            <a:off x="1181790" y="4734658"/>
            <a:ext cx="978330" cy="307777"/>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000" b="1" kern="0" dirty="0">
                <a:ea typeface="Arial Unicode MS" pitchFamily="34" charset="-128"/>
                <a:cs typeface="Arial Unicode MS" pitchFamily="34" charset="-128"/>
                <a:hlinkClick r:id="rId3"/>
              </a:rPr>
              <a:t>AIFAEM Add-On</a:t>
            </a:r>
            <a:endParaRPr lang="en-US" sz="1000" b="1" kern="0" dirty="0">
              <a:ea typeface="Arial Unicode MS" pitchFamily="34" charset="-128"/>
              <a:cs typeface="Arial Unicode MS" pitchFamily="34" charset="-128"/>
            </a:endParaRPr>
          </a:p>
        </p:txBody>
      </p:sp>
      <p:sp>
        <p:nvSpPr>
          <p:cNvPr id="88" name="Textfeld 87">
            <a:extLst>
              <a:ext uri="{FF2B5EF4-FFF2-40B4-BE49-F238E27FC236}">
                <a16:creationId xmlns:a16="http://schemas.microsoft.com/office/drawing/2014/main" id="{719E00BE-934E-6EF0-AB24-04E48F50734B}"/>
              </a:ext>
            </a:extLst>
          </p:cNvPr>
          <p:cNvSpPr txBox="1"/>
          <p:nvPr/>
        </p:nvSpPr>
        <p:spPr>
          <a:xfrm>
            <a:off x="2374806" y="4677804"/>
            <a:ext cx="1292589" cy="707886"/>
          </a:xfrm>
          <a:prstGeom prst="rect">
            <a:avLst/>
          </a:prstGeom>
          <a:noFill/>
        </p:spPr>
        <p:txBody>
          <a:bodyPr wrap="square">
            <a:spAutoFit/>
          </a:bodyPr>
          <a:lstStyle/>
          <a:p>
            <a:r>
              <a:rPr lang="de-DE" sz="1000" b="1" dirty="0">
                <a:solidFill>
                  <a:srgbClr val="1D2D3E"/>
                </a:solidFill>
                <a:latin typeface="Arial" panose="020B0604020202020204" pitchFamily="34" charset="0"/>
              </a:rPr>
              <a:t>BOR Linkage Function Module</a:t>
            </a:r>
          </a:p>
          <a:p>
            <a:r>
              <a:rPr lang="de-DE" sz="1000" dirty="0">
                <a:solidFill>
                  <a:srgbClr val="1D2D3E"/>
                </a:solidFill>
                <a:latin typeface="Arial" panose="020B0604020202020204" pitchFamily="34" charset="0"/>
              </a:rPr>
              <a:t>/AIF/TRANSFER_TO_AIF_RECEIVER</a:t>
            </a:r>
            <a:endParaRPr lang="en-US" sz="1000" dirty="0"/>
          </a:p>
        </p:txBody>
      </p:sp>
      <p:sp>
        <p:nvSpPr>
          <p:cNvPr id="90" name="Textfeld 89">
            <a:extLst>
              <a:ext uri="{FF2B5EF4-FFF2-40B4-BE49-F238E27FC236}">
                <a16:creationId xmlns:a16="http://schemas.microsoft.com/office/drawing/2014/main" id="{8DD9B8FD-460E-125E-5858-F9B8AF335627}"/>
              </a:ext>
            </a:extLst>
          </p:cNvPr>
          <p:cNvSpPr txBox="1"/>
          <p:nvPr/>
        </p:nvSpPr>
        <p:spPr>
          <a:xfrm>
            <a:off x="7970690" y="4671526"/>
            <a:ext cx="1301279" cy="707886"/>
          </a:xfrm>
          <a:prstGeom prst="rect">
            <a:avLst/>
          </a:prstGeom>
          <a:noFill/>
        </p:spPr>
        <p:txBody>
          <a:bodyPr wrap="square">
            <a:spAutoFit/>
          </a:bodyPr>
          <a:lstStyle/>
          <a:p>
            <a:r>
              <a:rPr lang="de-DE" sz="1000" b="1" dirty="0">
                <a:solidFill>
                  <a:srgbClr val="1D2D3E"/>
                </a:solidFill>
                <a:latin typeface="Arial" panose="020B0604020202020204" pitchFamily="34" charset="0"/>
              </a:rPr>
              <a:t>Action Function Module </a:t>
            </a:r>
          </a:p>
          <a:p>
            <a:r>
              <a:rPr lang="de-DE" sz="1000" dirty="0">
                <a:solidFill>
                  <a:srgbClr val="1D2D3E"/>
                </a:solidFill>
                <a:latin typeface="Arial" panose="020B0604020202020204" pitchFamily="34" charset="0"/>
              </a:rPr>
              <a:t>/AIF/AIF_ACTION_CALL_AEM</a:t>
            </a:r>
            <a:endParaRPr lang="en-US" sz="1000" dirty="0">
              <a:solidFill>
                <a:srgbClr val="1D2D3E"/>
              </a:solidFill>
              <a:latin typeface="Arial" panose="020B0604020202020204" pitchFamily="34" charset="0"/>
            </a:endParaRPr>
          </a:p>
        </p:txBody>
      </p:sp>
      <p:sp>
        <p:nvSpPr>
          <p:cNvPr id="92" name="Textfeld 91">
            <a:extLst>
              <a:ext uri="{FF2B5EF4-FFF2-40B4-BE49-F238E27FC236}">
                <a16:creationId xmlns:a16="http://schemas.microsoft.com/office/drawing/2014/main" id="{11ADFFBA-333F-5C59-F599-842F889ED344}"/>
              </a:ext>
            </a:extLst>
          </p:cNvPr>
          <p:cNvSpPr txBox="1"/>
          <p:nvPr/>
        </p:nvSpPr>
        <p:spPr>
          <a:xfrm>
            <a:off x="4508557" y="4677338"/>
            <a:ext cx="1794780" cy="707886"/>
          </a:xfrm>
          <a:prstGeom prst="rect">
            <a:avLst/>
          </a:prstGeom>
          <a:noFill/>
        </p:spPr>
        <p:txBody>
          <a:bodyPr wrap="square">
            <a:spAutoFit/>
          </a:bodyPr>
          <a:lstStyle/>
          <a:p>
            <a:r>
              <a:rPr lang="de-DE" sz="1000" b="1" dirty="0">
                <a:solidFill>
                  <a:srgbClr val="1D2D3E"/>
                </a:solidFill>
                <a:latin typeface="Arial" panose="020B0604020202020204" pitchFamily="34" charset="0"/>
              </a:rPr>
              <a:t>Value Mapping Functions</a:t>
            </a:r>
          </a:p>
          <a:p>
            <a:r>
              <a:rPr lang="de-DE" sz="1000" dirty="0">
                <a:solidFill>
                  <a:srgbClr val="1D2D3E"/>
                </a:solidFill>
                <a:latin typeface="Arial" panose="020B0604020202020204" pitchFamily="34" charset="0"/>
              </a:rPr>
              <a:t>/AIF/AEM_GET_ID, </a:t>
            </a:r>
          </a:p>
          <a:p>
            <a:r>
              <a:rPr lang="de-DE" sz="1000" dirty="0">
                <a:solidFill>
                  <a:srgbClr val="1D2D3E"/>
                </a:solidFill>
                <a:latin typeface="Arial" panose="020B0604020202020204" pitchFamily="34" charset="0"/>
              </a:rPr>
              <a:t>/AIF/AEM_GET_SOURCE,</a:t>
            </a:r>
          </a:p>
          <a:p>
            <a:r>
              <a:rPr lang="de-DE" sz="1000" dirty="0">
                <a:solidFill>
                  <a:srgbClr val="1D2D3E"/>
                </a:solidFill>
                <a:latin typeface="Arial" panose="020B0604020202020204" pitchFamily="34" charset="0"/>
              </a:rPr>
              <a:t>/AIF/AEM_GET_TIME</a:t>
            </a:r>
          </a:p>
        </p:txBody>
      </p:sp>
      <p:sp>
        <p:nvSpPr>
          <p:cNvPr id="94" name="Textfeld 93">
            <a:extLst>
              <a:ext uri="{FF2B5EF4-FFF2-40B4-BE49-F238E27FC236}">
                <a16:creationId xmlns:a16="http://schemas.microsoft.com/office/drawing/2014/main" id="{6D914E02-A870-2A4F-8857-DE6316791175}"/>
              </a:ext>
            </a:extLst>
          </p:cNvPr>
          <p:cNvSpPr txBox="1"/>
          <p:nvPr/>
        </p:nvSpPr>
        <p:spPr>
          <a:xfrm>
            <a:off x="3585120" y="4677816"/>
            <a:ext cx="1015156" cy="707862"/>
          </a:xfrm>
          <a:prstGeom prst="rect">
            <a:avLst/>
          </a:prstGeom>
          <a:noFill/>
        </p:spPr>
        <p:txBody>
          <a:bodyPr wrap="square" lIns="91416" tIns="45708" rIns="91416" bIns="45708" anchor="t">
            <a:spAutoFit/>
          </a:bodyPr>
          <a:lstStyle/>
          <a:p>
            <a:r>
              <a:rPr lang="en-US" sz="1000" b="1" dirty="0">
                <a:solidFill>
                  <a:srgbClr val="000000"/>
                </a:solidFill>
                <a:cs typeface="Arial"/>
              </a:rPr>
              <a:t>Generic RAW Structure</a:t>
            </a:r>
          </a:p>
          <a:p>
            <a:r>
              <a:rPr lang="en-US" sz="1000" dirty="0">
                <a:solidFill>
                  <a:srgbClr val="000000"/>
                </a:solidFill>
                <a:cs typeface="Arial"/>
              </a:rPr>
              <a:t>/AIF/EVENT_RAW</a:t>
            </a:r>
            <a:endParaRPr lang="en-US" sz="2099" dirty="0"/>
          </a:p>
        </p:txBody>
      </p:sp>
      <p:sp>
        <p:nvSpPr>
          <p:cNvPr id="95" name="Textfeld 94">
            <a:extLst>
              <a:ext uri="{FF2B5EF4-FFF2-40B4-BE49-F238E27FC236}">
                <a16:creationId xmlns:a16="http://schemas.microsoft.com/office/drawing/2014/main" id="{5D59E9A9-55B7-C93E-3AA4-BFC0FC509F4A}"/>
              </a:ext>
            </a:extLst>
          </p:cNvPr>
          <p:cNvSpPr txBox="1"/>
          <p:nvPr/>
        </p:nvSpPr>
        <p:spPr>
          <a:xfrm>
            <a:off x="2425862" y="5548921"/>
            <a:ext cx="1241532" cy="1477328"/>
          </a:xfrm>
          <a:prstGeom prst="rect">
            <a:avLst/>
          </a:prstGeom>
          <a:noFill/>
        </p:spPr>
        <p:txBody>
          <a:bodyPr wrap="square">
            <a:spAutoFit/>
          </a:bodyPr>
          <a:lstStyle/>
          <a:p>
            <a:pPr marL="171450" indent="-171450">
              <a:buFont typeface="Arial" panose="020B0604020202020204" pitchFamily="34" charset="0"/>
              <a:buChar char="•"/>
            </a:pPr>
            <a:r>
              <a:rPr lang="de-DE" sz="1000" dirty="0">
                <a:solidFill>
                  <a:srgbClr val="1D2D3E"/>
                </a:solidFill>
                <a:latin typeface="Arial" panose="020B0604020202020204" pitchFamily="34" charset="0"/>
              </a:rPr>
              <a:t>Create AEM namespace</a:t>
            </a:r>
          </a:p>
          <a:p>
            <a:pPr marL="171450" indent="-171450">
              <a:buFont typeface="Arial" panose="020B0604020202020204" pitchFamily="34" charset="0"/>
              <a:buChar char="•"/>
            </a:pPr>
            <a:r>
              <a:rPr lang="de-DE" sz="1000" dirty="0">
                <a:solidFill>
                  <a:srgbClr val="1D2D3E"/>
                </a:solidFill>
                <a:latin typeface="Arial" panose="020B0604020202020204" pitchFamily="34" charset="0"/>
              </a:rPr>
              <a:t>Link BOR Event (SWE2) to AIF</a:t>
            </a:r>
          </a:p>
          <a:p>
            <a:pPr marL="171450" indent="-171450">
              <a:buFont typeface="Arial" panose="020B0604020202020204" pitchFamily="34" charset="0"/>
              <a:buChar char="•"/>
            </a:pPr>
            <a:r>
              <a:rPr lang="de-DE" sz="1000" dirty="0">
                <a:solidFill>
                  <a:srgbClr val="1D2D3E"/>
                </a:solidFill>
                <a:latin typeface="Arial" panose="020B0604020202020204" pitchFamily="34" charset="0"/>
              </a:rPr>
              <a:t>Define Interface Determination</a:t>
            </a:r>
          </a:p>
          <a:p>
            <a:endParaRPr lang="en-US" sz="1000" dirty="0"/>
          </a:p>
        </p:txBody>
      </p:sp>
      <p:sp>
        <p:nvSpPr>
          <p:cNvPr id="96" name="Textfeld 95">
            <a:extLst>
              <a:ext uri="{FF2B5EF4-FFF2-40B4-BE49-F238E27FC236}">
                <a16:creationId xmlns:a16="http://schemas.microsoft.com/office/drawing/2014/main" id="{2DC0853C-FCC1-BF27-ECC8-7868C02B4ACF}"/>
              </a:ext>
            </a:extLst>
          </p:cNvPr>
          <p:cNvSpPr txBox="1"/>
          <p:nvPr/>
        </p:nvSpPr>
        <p:spPr>
          <a:xfrm>
            <a:off x="3575070" y="5503885"/>
            <a:ext cx="1424989" cy="1015399"/>
          </a:xfrm>
          <a:prstGeom prst="rect">
            <a:avLst/>
          </a:prstGeom>
          <a:noFill/>
        </p:spPr>
        <p:txBody>
          <a:bodyPr wrap="square">
            <a:spAutoFit/>
          </a:bodyPr>
          <a:lstStyle/>
          <a:p>
            <a:r>
              <a:rPr lang="de-DE" sz="1000" dirty="0">
                <a:solidFill>
                  <a:srgbClr val="1D2D3E"/>
                </a:solidFill>
                <a:latin typeface="Arial" panose="020B0604020202020204" pitchFamily="34" charset="0"/>
              </a:rPr>
              <a:t>Create an interface </a:t>
            </a:r>
            <a:r>
              <a:rPr lang="de-DE" sz="1000" dirty="0" err="1">
                <a:solidFill>
                  <a:srgbClr val="1D2D3E"/>
                </a:solidFill>
                <a:latin typeface="Arial" panose="020B0604020202020204" pitchFamily="34" charset="0"/>
              </a:rPr>
              <a:t>with</a:t>
            </a:r>
            <a:r>
              <a:rPr lang="de-DE" sz="1000" dirty="0">
                <a:solidFill>
                  <a:srgbClr val="1D2D3E"/>
                </a:solidFill>
                <a:latin typeface="Arial" panose="020B0604020202020204" pitchFamily="34" charset="0"/>
              </a:rPr>
              <a:t> at least:</a:t>
            </a:r>
          </a:p>
          <a:p>
            <a:pPr marL="171399" indent="-171399">
              <a:buFont typeface="Arial" panose="020B0604020202020204" pitchFamily="34" charset="0"/>
              <a:buChar char="•"/>
            </a:pPr>
            <a:r>
              <a:rPr lang="de-DE" sz="1000" dirty="0">
                <a:solidFill>
                  <a:srgbClr val="1D2D3E"/>
                </a:solidFill>
                <a:latin typeface="Arial" panose="020B0604020202020204" pitchFamily="34" charset="0"/>
              </a:rPr>
              <a:t>Interface </a:t>
            </a:r>
            <a:r>
              <a:rPr lang="de-DE" sz="1000" dirty="0" err="1">
                <a:solidFill>
                  <a:srgbClr val="1D2D3E"/>
                </a:solidFill>
                <a:latin typeface="Arial" panose="020B0604020202020204" pitchFamily="34" charset="0"/>
              </a:rPr>
              <a:t>name</a:t>
            </a:r>
            <a:endParaRPr lang="de-DE" sz="1000" dirty="0">
              <a:solidFill>
                <a:srgbClr val="1D2D3E"/>
              </a:solidFill>
              <a:latin typeface="Arial" panose="020B0604020202020204" pitchFamily="34" charset="0"/>
            </a:endParaRPr>
          </a:p>
          <a:p>
            <a:pPr marL="171399" indent="-171399">
              <a:buFont typeface="Arial" panose="020B0604020202020204" pitchFamily="34" charset="0"/>
              <a:buChar char="•"/>
            </a:pPr>
            <a:r>
              <a:rPr lang="de-DE" sz="1000" dirty="0">
                <a:solidFill>
                  <a:srgbClr val="1D2D3E"/>
                </a:solidFill>
                <a:latin typeface="Arial" panose="020B0604020202020204" pitchFamily="34" charset="0"/>
              </a:rPr>
              <a:t>Interface </a:t>
            </a:r>
            <a:r>
              <a:rPr lang="de-DE" sz="1000" dirty="0" err="1">
                <a:solidFill>
                  <a:srgbClr val="1D2D3E"/>
                </a:solidFill>
                <a:latin typeface="Arial" panose="020B0604020202020204" pitchFamily="34" charset="0"/>
              </a:rPr>
              <a:t>version</a:t>
            </a:r>
            <a:endParaRPr lang="de-DE" sz="1000" dirty="0">
              <a:solidFill>
                <a:srgbClr val="1D2D3E"/>
              </a:solidFill>
              <a:latin typeface="Arial" panose="020B0604020202020204" pitchFamily="34" charset="0"/>
            </a:endParaRPr>
          </a:p>
          <a:p>
            <a:pPr marL="171399" indent="-171399">
              <a:buFont typeface="Arial" panose="020B0604020202020204" pitchFamily="34" charset="0"/>
              <a:buChar char="•"/>
            </a:pPr>
            <a:r>
              <a:rPr lang="de-DE" sz="1000" dirty="0">
                <a:solidFill>
                  <a:srgbClr val="1D2D3E"/>
                </a:solidFill>
                <a:latin typeface="Arial" panose="020B0604020202020204" pitchFamily="34" charset="0"/>
              </a:rPr>
              <a:t>RAW </a:t>
            </a:r>
            <a:r>
              <a:rPr lang="de-DE" sz="1000" dirty="0" err="1">
                <a:solidFill>
                  <a:srgbClr val="1D2D3E"/>
                </a:solidFill>
                <a:latin typeface="Arial" panose="020B0604020202020204" pitchFamily="34" charset="0"/>
              </a:rPr>
              <a:t>structure</a:t>
            </a:r>
            <a:r>
              <a:rPr lang="de-DE" sz="1000" dirty="0">
                <a:solidFill>
                  <a:srgbClr val="1D2D3E"/>
                </a:solidFill>
                <a:latin typeface="Arial" panose="020B0604020202020204" pitchFamily="34" charset="0"/>
              </a:rPr>
              <a:t> SAP </a:t>
            </a:r>
            <a:r>
              <a:rPr lang="de-DE" sz="1000" dirty="0" err="1">
                <a:solidFill>
                  <a:srgbClr val="1D2D3E"/>
                </a:solidFill>
                <a:latin typeface="Arial" panose="020B0604020202020204" pitchFamily="34" charset="0"/>
              </a:rPr>
              <a:t>structure</a:t>
            </a:r>
            <a:endParaRPr lang="en-US" sz="1000" dirty="0"/>
          </a:p>
        </p:txBody>
      </p:sp>
      <p:sp>
        <p:nvSpPr>
          <p:cNvPr id="97" name="Textfeld 96">
            <a:extLst>
              <a:ext uri="{FF2B5EF4-FFF2-40B4-BE49-F238E27FC236}">
                <a16:creationId xmlns:a16="http://schemas.microsoft.com/office/drawing/2014/main" id="{AA3DD9B3-D5B6-2E5D-9A7D-63A7B4700F5C}"/>
              </a:ext>
            </a:extLst>
          </p:cNvPr>
          <p:cNvSpPr txBox="1"/>
          <p:nvPr/>
        </p:nvSpPr>
        <p:spPr>
          <a:xfrm>
            <a:off x="1030035" y="5547332"/>
            <a:ext cx="1442333" cy="1323439"/>
          </a:xfrm>
          <a:prstGeom prst="rect">
            <a:avLst/>
          </a:prstGeom>
          <a:noFill/>
        </p:spPr>
        <p:txBody>
          <a:bodyPr wrap="square">
            <a:spAutoFit/>
          </a:bodyPr>
          <a:lstStyle/>
          <a:p>
            <a:pPr marL="171399" indent="-171399">
              <a:buFont typeface="Arial" panose="020B0604020202020204" pitchFamily="34" charset="0"/>
              <a:buChar char="•"/>
            </a:pPr>
            <a:r>
              <a:rPr lang="de-DE" sz="1000" dirty="0">
                <a:solidFill>
                  <a:srgbClr val="1D2D3E"/>
                </a:solidFill>
                <a:latin typeface="Arial" panose="020B0604020202020204" pitchFamily="34" charset="0"/>
              </a:rPr>
              <a:t>Install AIFAEM Add-On</a:t>
            </a:r>
          </a:p>
          <a:p>
            <a:pPr marL="171399" indent="-171399">
              <a:buFont typeface="Arial" panose="020B0604020202020204" pitchFamily="34" charset="0"/>
              <a:buChar char="•"/>
            </a:pPr>
            <a:r>
              <a:rPr lang="de-DE" sz="1000" dirty="0">
                <a:solidFill>
                  <a:srgbClr val="1D2D3E"/>
                </a:solidFill>
                <a:latin typeface="Arial" panose="020B0604020202020204" pitchFamily="34" charset="0"/>
              </a:rPr>
              <a:t>Setup SM59 connection to SAP AEM </a:t>
            </a:r>
          </a:p>
          <a:p>
            <a:pPr marL="171399" indent="-171399">
              <a:buFont typeface="Arial" panose="020B0604020202020204" pitchFamily="34" charset="0"/>
              <a:buChar char="•"/>
            </a:pPr>
            <a:r>
              <a:rPr lang="de-DE" sz="1000" dirty="0" err="1">
                <a:solidFill>
                  <a:srgbClr val="1D2D3E"/>
                </a:solidFill>
                <a:latin typeface="Arial" panose="020B0604020202020204" pitchFamily="34" charset="0"/>
              </a:rPr>
              <a:t>Define</a:t>
            </a:r>
            <a:r>
              <a:rPr lang="de-DE" sz="1000" dirty="0">
                <a:solidFill>
                  <a:srgbClr val="1D2D3E"/>
                </a:solidFill>
                <a:latin typeface="Arial" panose="020B0604020202020204" pitchFamily="34" charset="0"/>
              </a:rPr>
              <a:t> </a:t>
            </a:r>
            <a:r>
              <a:rPr lang="de-DE" sz="1000" dirty="0" err="1">
                <a:solidFill>
                  <a:srgbClr val="1D2D3E"/>
                </a:solidFill>
                <a:latin typeface="Arial" panose="020B0604020202020204" pitchFamily="34" charset="0"/>
              </a:rPr>
              <a:t>naming</a:t>
            </a:r>
            <a:r>
              <a:rPr lang="de-DE" sz="1000" dirty="0">
                <a:solidFill>
                  <a:srgbClr val="1D2D3E"/>
                </a:solidFill>
                <a:latin typeface="Arial" panose="020B0604020202020204" pitchFamily="34" charset="0"/>
              </a:rPr>
              <a:t> </a:t>
            </a:r>
            <a:r>
              <a:rPr lang="de-DE" sz="1000" dirty="0" err="1">
                <a:solidFill>
                  <a:srgbClr val="1D2D3E"/>
                </a:solidFill>
                <a:latin typeface="Arial" panose="020B0604020202020204" pitchFamily="34" charset="0"/>
              </a:rPr>
              <a:t>convention</a:t>
            </a:r>
            <a:endParaRPr lang="de-DE" sz="1000" dirty="0">
              <a:solidFill>
                <a:srgbClr val="1D2D3E"/>
              </a:solidFill>
              <a:latin typeface="Arial" panose="020B0604020202020204" pitchFamily="34" charset="0"/>
            </a:endParaRPr>
          </a:p>
          <a:p>
            <a:pPr marL="171399" indent="-171399">
              <a:buFont typeface="Arial" panose="020B0604020202020204" pitchFamily="34" charset="0"/>
              <a:buChar char="•"/>
            </a:pPr>
            <a:r>
              <a:rPr lang="de-DE" sz="1000" dirty="0">
                <a:solidFill>
                  <a:srgbClr val="1D2D3E"/>
                </a:solidFill>
                <a:latin typeface="Arial" panose="020B0604020202020204" pitchFamily="34" charset="0"/>
              </a:rPr>
              <a:t>Receiver Concept</a:t>
            </a:r>
            <a:endParaRPr lang="en-US" sz="1000" dirty="0"/>
          </a:p>
        </p:txBody>
      </p:sp>
      <p:sp>
        <p:nvSpPr>
          <p:cNvPr id="98" name="Textfeld 97">
            <a:extLst>
              <a:ext uri="{FF2B5EF4-FFF2-40B4-BE49-F238E27FC236}">
                <a16:creationId xmlns:a16="http://schemas.microsoft.com/office/drawing/2014/main" id="{25F6C6CE-5A76-9BC6-7B90-6D36A1CD63FA}"/>
              </a:ext>
            </a:extLst>
          </p:cNvPr>
          <p:cNvSpPr txBox="1"/>
          <p:nvPr/>
        </p:nvSpPr>
        <p:spPr>
          <a:xfrm>
            <a:off x="6100195" y="5518751"/>
            <a:ext cx="1424989" cy="400006"/>
          </a:xfrm>
          <a:prstGeom prst="rect">
            <a:avLst/>
          </a:prstGeom>
          <a:noFill/>
        </p:spPr>
        <p:txBody>
          <a:bodyPr wrap="square">
            <a:spAutoFit/>
          </a:bodyPr>
          <a:lstStyle/>
          <a:p>
            <a:r>
              <a:rPr lang="de-DE" sz="1000" dirty="0" err="1">
                <a:solidFill>
                  <a:srgbClr val="1D2D3E"/>
                </a:solidFill>
                <a:latin typeface="Arial" panose="020B0604020202020204" pitchFamily="34" charset="0"/>
              </a:rPr>
              <a:t>Maintain</a:t>
            </a:r>
            <a:r>
              <a:rPr lang="de-DE" sz="1000" dirty="0">
                <a:solidFill>
                  <a:srgbClr val="1D2D3E"/>
                </a:solidFill>
                <a:latin typeface="Arial" panose="020B0604020202020204" pitchFamily="34" charset="0"/>
              </a:rPr>
              <a:t> XML Engine </a:t>
            </a:r>
            <a:r>
              <a:rPr lang="de-DE" sz="1000" dirty="0" err="1">
                <a:solidFill>
                  <a:srgbClr val="1D2D3E"/>
                </a:solidFill>
                <a:latin typeface="Arial" panose="020B0604020202020204" pitchFamily="34" charset="0"/>
              </a:rPr>
              <a:t>as</a:t>
            </a:r>
            <a:r>
              <a:rPr lang="de-DE" sz="1000" dirty="0">
                <a:solidFill>
                  <a:srgbClr val="1D2D3E"/>
                </a:solidFill>
                <a:latin typeface="Arial" panose="020B0604020202020204" pitchFamily="34" charset="0"/>
              </a:rPr>
              <a:t> </a:t>
            </a:r>
            <a:r>
              <a:rPr lang="de-DE" sz="1000" dirty="0" err="1">
                <a:solidFill>
                  <a:srgbClr val="1D2D3E"/>
                </a:solidFill>
                <a:latin typeface="Arial" panose="020B0604020202020204" pitchFamily="34" charset="0"/>
              </a:rPr>
              <a:t>Application</a:t>
            </a:r>
            <a:r>
              <a:rPr lang="de-DE" sz="1000" dirty="0">
                <a:solidFill>
                  <a:srgbClr val="1D2D3E"/>
                </a:solidFill>
                <a:latin typeface="Arial" panose="020B0604020202020204" pitchFamily="34" charset="0"/>
              </a:rPr>
              <a:t> Engine</a:t>
            </a:r>
            <a:endParaRPr lang="en-US" sz="1000" dirty="0"/>
          </a:p>
        </p:txBody>
      </p:sp>
      <p:sp>
        <p:nvSpPr>
          <p:cNvPr id="99" name="Textfeld 98">
            <a:extLst>
              <a:ext uri="{FF2B5EF4-FFF2-40B4-BE49-F238E27FC236}">
                <a16:creationId xmlns:a16="http://schemas.microsoft.com/office/drawing/2014/main" id="{774D0151-4C12-866C-3562-C384B82C5762}"/>
              </a:ext>
            </a:extLst>
          </p:cNvPr>
          <p:cNvSpPr txBox="1"/>
          <p:nvPr/>
        </p:nvSpPr>
        <p:spPr>
          <a:xfrm>
            <a:off x="4770097" y="5524206"/>
            <a:ext cx="1424989" cy="1323439"/>
          </a:xfrm>
          <a:prstGeom prst="rect">
            <a:avLst/>
          </a:prstGeom>
          <a:noFill/>
        </p:spPr>
        <p:txBody>
          <a:bodyPr wrap="square">
            <a:spAutoFit/>
          </a:bodyPr>
          <a:lstStyle/>
          <a:p>
            <a:r>
              <a:rPr lang="de-DE" sz="1000" dirty="0">
                <a:solidFill>
                  <a:srgbClr val="1D2D3E"/>
                </a:solidFill>
                <a:latin typeface="Arial" panose="020B0604020202020204" pitchFamily="34" charset="0"/>
              </a:rPr>
              <a:t>Create </a:t>
            </a:r>
            <a:r>
              <a:rPr lang="de-DE" sz="1000" dirty="0" err="1">
                <a:solidFill>
                  <a:srgbClr val="1D2D3E"/>
                </a:solidFill>
                <a:latin typeface="Arial" panose="020B0604020202020204" pitchFamily="34" charset="0"/>
              </a:rPr>
              <a:t>strucure</a:t>
            </a:r>
            <a:r>
              <a:rPr lang="de-DE" sz="1000" dirty="0">
                <a:solidFill>
                  <a:srgbClr val="1D2D3E"/>
                </a:solidFill>
                <a:latin typeface="Arial" panose="020B0604020202020204" pitchFamily="34" charset="0"/>
              </a:rPr>
              <a:t> </a:t>
            </a:r>
            <a:r>
              <a:rPr lang="de-DE" sz="1000" dirty="0" err="1">
                <a:solidFill>
                  <a:srgbClr val="1D2D3E"/>
                </a:solidFill>
                <a:latin typeface="Arial" panose="020B0604020202020204" pitchFamily="34" charset="0"/>
              </a:rPr>
              <a:t>mappings</a:t>
            </a:r>
            <a:r>
              <a:rPr lang="de-DE" sz="1000" dirty="0">
                <a:solidFill>
                  <a:srgbClr val="1D2D3E"/>
                </a:solidFill>
                <a:latin typeface="Arial" panose="020B0604020202020204" pitchFamily="34" charset="0"/>
              </a:rPr>
              <a:t>:</a:t>
            </a:r>
          </a:p>
          <a:p>
            <a:pPr marL="171399" indent="-171399">
              <a:buFont typeface="Arial" panose="020B0604020202020204" pitchFamily="34" charset="0"/>
              <a:buChar char="•"/>
            </a:pPr>
            <a:r>
              <a:rPr lang="de-DE" sz="1000" dirty="0">
                <a:solidFill>
                  <a:srgbClr val="1D2D3E"/>
                </a:solidFill>
                <a:latin typeface="Arial" panose="020B0604020202020204" pitchFamily="34" charset="0"/>
              </a:rPr>
              <a:t>Source &lt;&gt; Target</a:t>
            </a:r>
            <a:endParaRPr lang="en-DE" sz="1000" dirty="0">
              <a:solidFill>
                <a:srgbClr val="1D2D3E"/>
              </a:solidFill>
              <a:latin typeface="Arial" panose="020B0604020202020204" pitchFamily="34" charset="0"/>
            </a:endParaRPr>
          </a:p>
          <a:p>
            <a:pPr marL="171399" indent="-171399">
              <a:buFont typeface="Arial" panose="020B0604020202020204" pitchFamily="34" charset="0"/>
              <a:buChar char="•"/>
            </a:pPr>
            <a:r>
              <a:rPr lang="en-DE" sz="1000" dirty="0">
                <a:solidFill>
                  <a:srgbClr val="1D2D3E"/>
                </a:solidFill>
                <a:latin typeface="Arial" panose="020B0604020202020204" pitchFamily="34" charset="0"/>
              </a:rPr>
              <a:t>Assign AEM Destination as Fixed Value</a:t>
            </a:r>
            <a:endParaRPr lang="de-DE" sz="1000" dirty="0">
              <a:solidFill>
                <a:srgbClr val="1D2D3E"/>
              </a:solidFill>
              <a:latin typeface="Arial" panose="020B0604020202020204" pitchFamily="34" charset="0"/>
            </a:endParaRPr>
          </a:p>
          <a:p>
            <a:pPr marL="171399" indent="-171399">
              <a:buFont typeface="Arial" panose="020B0604020202020204" pitchFamily="34" charset="0"/>
              <a:buChar char="•"/>
            </a:pPr>
            <a:r>
              <a:rPr lang="de-DE" sz="1000" dirty="0">
                <a:solidFill>
                  <a:srgbClr val="1D2D3E"/>
                </a:solidFill>
                <a:latin typeface="Arial" panose="020B0604020202020204" pitchFamily="34" charset="0"/>
              </a:rPr>
              <a:t>Value Mapping</a:t>
            </a:r>
          </a:p>
          <a:p>
            <a:pPr marL="171399" indent="-171399">
              <a:buFont typeface="Arial" panose="020B0604020202020204" pitchFamily="34" charset="0"/>
              <a:buChar char="•"/>
            </a:pPr>
            <a:r>
              <a:rPr lang="de-DE" sz="1000" dirty="0" err="1">
                <a:solidFill>
                  <a:srgbClr val="1D2D3E"/>
                </a:solidFill>
                <a:latin typeface="Arial" panose="020B0604020202020204" pitchFamily="34" charset="0"/>
              </a:rPr>
              <a:t>Assign</a:t>
            </a:r>
            <a:r>
              <a:rPr lang="de-DE" sz="1000" dirty="0">
                <a:solidFill>
                  <a:srgbClr val="1D2D3E"/>
                </a:solidFill>
                <a:latin typeface="Arial" panose="020B0604020202020204" pitchFamily="34" charset="0"/>
              </a:rPr>
              <a:t> Checks</a:t>
            </a:r>
          </a:p>
        </p:txBody>
      </p:sp>
      <p:sp>
        <p:nvSpPr>
          <p:cNvPr id="100" name="Textfeld 99">
            <a:extLst>
              <a:ext uri="{FF2B5EF4-FFF2-40B4-BE49-F238E27FC236}">
                <a16:creationId xmlns:a16="http://schemas.microsoft.com/office/drawing/2014/main" id="{1BF9F8E4-6514-A3E4-EACC-3017541B4342}"/>
              </a:ext>
            </a:extLst>
          </p:cNvPr>
          <p:cNvSpPr txBox="1"/>
          <p:nvPr/>
        </p:nvSpPr>
        <p:spPr>
          <a:xfrm>
            <a:off x="7944544" y="5518751"/>
            <a:ext cx="1424989" cy="400006"/>
          </a:xfrm>
          <a:prstGeom prst="rect">
            <a:avLst/>
          </a:prstGeom>
          <a:noFill/>
        </p:spPr>
        <p:txBody>
          <a:bodyPr wrap="square">
            <a:spAutoFit/>
          </a:bodyPr>
          <a:lstStyle/>
          <a:p>
            <a:r>
              <a:rPr lang="de-DE" sz="1000" dirty="0" err="1">
                <a:solidFill>
                  <a:srgbClr val="1D2D3E"/>
                </a:solidFill>
                <a:latin typeface="Arial" panose="020B0604020202020204" pitchFamily="34" charset="0"/>
              </a:rPr>
              <a:t>Maintain</a:t>
            </a:r>
            <a:r>
              <a:rPr lang="de-DE" sz="1000" dirty="0">
                <a:solidFill>
                  <a:srgbClr val="1D2D3E"/>
                </a:solidFill>
                <a:latin typeface="Arial" panose="020B0604020202020204" pitchFamily="34" charset="0"/>
              </a:rPr>
              <a:t> </a:t>
            </a:r>
            <a:r>
              <a:rPr lang="de-DE" sz="1000" dirty="0" err="1">
                <a:solidFill>
                  <a:srgbClr val="1D2D3E"/>
                </a:solidFill>
                <a:latin typeface="Arial" panose="020B0604020202020204" pitchFamily="34" charset="0"/>
              </a:rPr>
              <a:t>the</a:t>
            </a:r>
            <a:r>
              <a:rPr lang="de-DE" sz="1000" dirty="0">
                <a:solidFill>
                  <a:srgbClr val="1D2D3E"/>
                </a:solidFill>
                <a:latin typeface="Arial" panose="020B0604020202020204" pitchFamily="34" charset="0"/>
              </a:rPr>
              <a:t> </a:t>
            </a:r>
            <a:r>
              <a:rPr lang="de-DE" sz="1000" dirty="0" err="1">
                <a:solidFill>
                  <a:srgbClr val="1D2D3E"/>
                </a:solidFill>
                <a:latin typeface="Arial" panose="020B0604020202020204" pitchFamily="34" charset="0"/>
              </a:rPr>
              <a:t>provided</a:t>
            </a:r>
            <a:r>
              <a:rPr lang="de-DE" sz="1000" dirty="0">
                <a:solidFill>
                  <a:srgbClr val="1D2D3E"/>
                </a:solidFill>
                <a:latin typeface="Arial" panose="020B0604020202020204" pitchFamily="34" charset="0"/>
              </a:rPr>
              <a:t> AIFAEM </a:t>
            </a:r>
            <a:r>
              <a:rPr lang="de-DE" sz="1000" dirty="0" err="1">
                <a:solidFill>
                  <a:srgbClr val="1D2D3E"/>
                </a:solidFill>
                <a:latin typeface="Arial" panose="020B0604020202020204" pitchFamily="34" charset="0"/>
              </a:rPr>
              <a:t>action</a:t>
            </a:r>
            <a:endParaRPr lang="en-US" sz="1000" dirty="0"/>
          </a:p>
        </p:txBody>
      </p:sp>
      <p:sp>
        <p:nvSpPr>
          <p:cNvPr id="101" name="Textfeld 100">
            <a:extLst>
              <a:ext uri="{FF2B5EF4-FFF2-40B4-BE49-F238E27FC236}">
                <a16:creationId xmlns:a16="http://schemas.microsoft.com/office/drawing/2014/main" id="{B3CFC57F-CA4E-5761-8752-2A40F56034C9}"/>
              </a:ext>
            </a:extLst>
          </p:cNvPr>
          <p:cNvSpPr txBox="1"/>
          <p:nvPr/>
        </p:nvSpPr>
        <p:spPr>
          <a:xfrm>
            <a:off x="9672990" y="5510261"/>
            <a:ext cx="1114633" cy="707702"/>
          </a:xfrm>
          <a:prstGeom prst="rect">
            <a:avLst/>
          </a:prstGeom>
          <a:noFill/>
        </p:spPr>
        <p:txBody>
          <a:bodyPr wrap="square">
            <a:spAutoFit/>
          </a:bodyPr>
          <a:lstStyle/>
          <a:p>
            <a:pPr marL="171399" indent="-171399">
              <a:buFont typeface="Arial" panose="020B0604020202020204" pitchFamily="34" charset="0"/>
              <a:buChar char="•"/>
            </a:pPr>
            <a:r>
              <a:rPr lang="en-US" sz="1000" dirty="0"/>
              <a:t>Test Event</a:t>
            </a:r>
          </a:p>
          <a:p>
            <a:pPr marL="171399" indent="-171399">
              <a:buFont typeface="Arial" panose="020B0604020202020204" pitchFamily="34" charset="0"/>
              <a:buChar char="•"/>
            </a:pPr>
            <a:r>
              <a:rPr lang="en-US" sz="1000" dirty="0"/>
              <a:t>Check AIF Monitoring &amp; Alerting</a:t>
            </a:r>
          </a:p>
        </p:txBody>
      </p:sp>
      <p:sp>
        <p:nvSpPr>
          <p:cNvPr id="102" name="Flowchart: Magnetic Disk 69">
            <a:extLst>
              <a:ext uri="{FF2B5EF4-FFF2-40B4-BE49-F238E27FC236}">
                <a16:creationId xmlns:a16="http://schemas.microsoft.com/office/drawing/2014/main" id="{0907F16B-9CFE-3B51-29D8-89B91ADD4FA8}"/>
              </a:ext>
            </a:extLst>
          </p:cNvPr>
          <p:cNvSpPr/>
          <p:nvPr/>
        </p:nvSpPr>
        <p:spPr bwMode="gray">
          <a:xfrm>
            <a:off x="9702219" y="3281864"/>
            <a:ext cx="736795" cy="352346"/>
          </a:xfrm>
          <a:prstGeom prst="flowChartMagneticDisk">
            <a:avLst/>
          </a:prstGeom>
          <a:solidFill>
            <a:schemeClr val="accent1">
              <a:lumMod val="20000"/>
              <a:lumOff val="80000"/>
            </a:schemeClr>
          </a:solidFill>
          <a:ln w="6350" algn="ctr">
            <a:solidFill>
              <a:schemeClr val="tx1"/>
            </a:solidFill>
            <a:miter lim="800000"/>
            <a:headEnd/>
            <a:tailEnd/>
          </a:ln>
        </p:spPr>
        <p:txBody>
          <a:bodyPr lIns="89977" tIns="71981" rIns="89977" bIns="71981" rtlCol="0" anchor="ctr"/>
          <a:lstStyle/>
          <a:p>
            <a:pPr algn="ctr">
              <a:buClr>
                <a:schemeClr val="accent1"/>
              </a:buClr>
              <a:buSzPct val="80000"/>
              <a:tabLst>
                <a:tab pos="2172636" algn="l"/>
              </a:tabLst>
            </a:pPr>
            <a:r>
              <a:rPr lang="de-DE" sz="800" dirty="0"/>
              <a:t>Queue</a:t>
            </a:r>
          </a:p>
        </p:txBody>
      </p:sp>
      <p:sp>
        <p:nvSpPr>
          <p:cNvPr id="103" name="Flowchart: Magnetic Disk 69">
            <a:extLst>
              <a:ext uri="{FF2B5EF4-FFF2-40B4-BE49-F238E27FC236}">
                <a16:creationId xmlns:a16="http://schemas.microsoft.com/office/drawing/2014/main" id="{9F1DC2D2-ACBD-C40C-C326-C6A4F688C151}"/>
              </a:ext>
            </a:extLst>
          </p:cNvPr>
          <p:cNvSpPr/>
          <p:nvPr/>
        </p:nvSpPr>
        <p:spPr bwMode="gray">
          <a:xfrm>
            <a:off x="9898712" y="3395729"/>
            <a:ext cx="736795" cy="352346"/>
          </a:xfrm>
          <a:prstGeom prst="flowChartMagneticDisk">
            <a:avLst/>
          </a:prstGeom>
          <a:solidFill>
            <a:schemeClr val="accent1">
              <a:lumMod val="20000"/>
              <a:lumOff val="80000"/>
            </a:schemeClr>
          </a:solidFill>
          <a:ln w="6350" algn="ctr">
            <a:solidFill>
              <a:schemeClr val="tx1"/>
            </a:solidFill>
            <a:miter lim="800000"/>
            <a:headEnd/>
            <a:tailEnd/>
          </a:ln>
        </p:spPr>
        <p:txBody>
          <a:bodyPr lIns="89977" tIns="71981" rIns="89977" bIns="71981" rtlCol="0" anchor="ctr"/>
          <a:lstStyle/>
          <a:p>
            <a:pPr algn="ctr">
              <a:buClr>
                <a:schemeClr val="accent1"/>
              </a:buClr>
              <a:buSzPct val="80000"/>
              <a:tabLst>
                <a:tab pos="2172636" algn="l"/>
              </a:tabLst>
            </a:pPr>
            <a:r>
              <a:rPr lang="de-DE" sz="800" dirty="0"/>
              <a:t>Queue</a:t>
            </a:r>
          </a:p>
        </p:txBody>
      </p:sp>
      <p:sp>
        <p:nvSpPr>
          <p:cNvPr id="104" name="Flowchart: Magnetic Disk 69">
            <a:extLst>
              <a:ext uri="{FF2B5EF4-FFF2-40B4-BE49-F238E27FC236}">
                <a16:creationId xmlns:a16="http://schemas.microsoft.com/office/drawing/2014/main" id="{A98BEDBC-4961-9F4B-2C0B-C33F71E52353}"/>
              </a:ext>
            </a:extLst>
          </p:cNvPr>
          <p:cNvSpPr/>
          <p:nvPr/>
        </p:nvSpPr>
        <p:spPr bwMode="gray">
          <a:xfrm>
            <a:off x="10156011" y="3534826"/>
            <a:ext cx="736795" cy="352346"/>
          </a:xfrm>
          <a:prstGeom prst="flowChartMagneticDisk">
            <a:avLst/>
          </a:prstGeom>
          <a:solidFill>
            <a:schemeClr val="accent1">
              <a:lumMod val="20000"/>
              <a:lumOff val="80000"/>
            </a:schemeClr>
          </a:solidFill>
          <a:ln w="6350" algn="ctr">
            <a:solidFill>
              <a:schemeClr val="tx1"/>
            </a:solidFill>
            <a:miter lim="800000"/>
            <a:headEnd/>
            <a:tailEnd/>
          </a:ln>
        </p:spPr>
        <p:txBody>
          <a:bodyPr lIns="89977" tIns="71981" rIns="89977" bIns="71981" rtlCol="0" anchor="ctr"/>
          <a:lstStyle/>
          <a:p>
            <a:pPr algn="ctr">
              <a:buClr>
                <a:schemeClr val="accent1"/>
              </a:buClr>
              <a:buSzPct val="80000"/>
              <a:tabLst>
                <a:tab pos="2172636" algn="l"/>
              </a:tabLst>
            </a:pPr>
            <a:r>
              <a:rPr lang="de-DE" sz="800" dirty="0"/>
              <a:t>Queue</a:t>
            </a:r>
          </a:p>
        </p:txBody>
      </p:sp>
      <p:sp>
        <p:nvSpPr>
          <p:cNvPr id="77" name="Textfeld 91">
            <a:extLst>
              <a:ext uri="{FF2B5EF4-FFF2-40B4-BE49-F238E27FC236}">
                <a16:creationId xmlns:a16="http://schemas.microsoft.com/office/drawing/2014/main" id="{251C56CD-737B-D0F8-29D6-32AB49AE9ADD}"/>
              </a:ext>
            </a:extLst>
          </p:cNvPr>
          <p:cNvSpPr txBox="1"/>
          <p:nvPr/>
        </p:nvSpPr>
        <p:spPr>
          <a:xfrm>
            <a:off x="6241741" y="4675497"/>
            <a:ext cx="1709003" cy="400110"/>
          </a:xfrm>
          <a:prstGeom prst="rect">
            <a:avLst/>
          </a:prstGeom>
          <a:noFill/>
        </p:spPr>
        <p:txBody>
          <a:bodyPr wrap="square">
            <a:spAutoFit/>
          </a:bodyPr>
          <a:lstStyle/>
          <a:p>
            <a:r>
              <a:rPr lang="de-DE" sz="1000" b="1" dirty="0">
                <a:solidFill>
                  <a:srgbClr val="1D2D3E"/>
                </a:solidFill>
                <a:latin typeface="Arial" panose="020B0604020202020204" pitchFamily="34" charset="0"/>
              </a:rPr>
              <a:t>Name Mapping Table</a:t>
            </a:r>
          </a:p>
          <a:p>
            <a:r>
              <a:rPr lang="de-DE" sz="1000" dirty="0">
                <a:solidFill>
                  <a:srgbClr val="1D2D3E"/>
                </a:solidFill>
                <a:latin typeface="Arial" panose="020B0604020202020204" pitchFamily="34" charset="0"/>
              </a:rPr>
              <a:t>/AIF/NAME_MAP</a:t>
            </a:r>
            <a:endParaRPr lang="en-DE" sz="1000" dirty="0"/>
          </a:p>
        </p:txBody>
      </p:sp>
    </p:spTree>
    <p:extLst>
      <p:ext uri="{BB962C8B-B14F-4D97-AF65-F5344CB8AC3E}">
        <p14:creationId xmlns:p14="http://schemas.microsoft.com/office/powerpoint/2010/main" val="3796314771"/>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841AF2EE-74FC-472C-8B32-F66FA8FA3B32}"/>
              </a:ext>
            </a:extLst>
          </p:cNvPr>
          <p:cNvSpPr/>
          <p:nvPr/>
        </p:nvSpPr>
        <p:spPr bwMode="gray">
          <a:xfrm>
            <a:off x="0" y="-64967"/>
            <a:ext cx="3492965" cy="6846905"/>
          </a:xfrm>
          <a:prstGeom prst="rect">
            <a:avLst/>
          </a:prstGeom>
          <a:solidFill>
            <a:schemeClr val="accent3"/>
          </a:solidFill>
          <a:ln w="25400" algn="ctr">
            <a:solidFill>
              <a:schemeClr val="accent4"/>
            </a:solidFill>
            <a:miter lim="800000"/>
            <a:headEnd/>
            <a:tailEnd/>
          </a:ln>
        </p:spPr>
        <p:txBody>
          <a:bodyPr lIns="89854" tIns="71884" rIns="89854" bIns="71884" rtlCol="0" anchor="ctr"/>
          <a:lstStyle/>
          <a:p>
            <a:pPr algn="ctr" defTabSz="912937" fontAlgn="base">
              <a:spcBef>
                <a:spcPct val="50000"/>
              </a:spcBef>
              <a:spcAft>
                <a:spcPct val="0"/>
              </a:spcAft>
              <a:buClr>
                <a:srgbClr val="F0AB00"/>
              </a:buClr>
              <a:buSzPct val="80000"/>
            </a:pPr>
            <a:endParaRPr lang="de-DE" sz="1797" kern="0">
              <a:solidFill>
                <a:srgbClr val="000000"/>
              </a:solidFill>
              <a:ea typeface="Arial Unicode MS" pitchFamily="34" charset="-128"/>
              <a:cs typeface="Arial Unicode MS" pitchFamily="34" charset="-128"/>
            </a:endParaRPr>
          </a:p>
        </p:txBody>
      </p:sp>
      <p:sp>
        <p:nvSpPr>
          <p:cNvPr id="4" name="Title"/>
          <p:cNvSpPr>
            <a:spLocks noGrp="1"/>
          </p:cNvSpPr>
          <p:nvPr>
            <p:ph type="title"/>
          </p:nvPr>
        </p:nvSpPr>
        <p:spPr bwMode="gray">
          <a:xfrm>
            <a:off x="234529" y="454570"/>
            <a:ext cx="3058346" cy="2000548"/>
          </a:xfrm>
        </p:spPr>
        <p:txBody>
          <a:bodyPr/>
          <a:lstStyle/>
          <a:p>
            <a:r>
              <a:rPr lang="en-US" sz="3200" dirty="0">
                <a:solidFill>
                  <a:schemeClr val="bg1"/>
                </a:solidFill>
              </a:rPr>
              <a:t>Exercise Flow</a:t>
            </a:r>
            <a:br>
              <a:rPr lang="en-US" sz="3200" dirty="0"/>
            </a:br>
            <a:r>
              <a:rPr lang="en-US" sz="1600" b="1" noProof="0" dirty="0"/>
              <a:t>Digital Integration Hub </a:t>
            </a:r>
            <a:br>
              <a:rPr lang="en-US" sz="1600" b="1" noProof="0" dirty="0"/>
            </a:br>
            <a:br>
              <a:rPr lang="en-US" sz="900" b="1" dirty="0">
                <a:solidFill>
                  <a:srgbClr val="427CAC"/>
                </a:solidFill>
                <a:latin typeface="Arial" charset="0"/>
                <a:ea typeface="Arial" charset="0"/>
                <a:cs typeface="Arial" charset="0"/>
              </a:rPr>
            </a:br>
            <a:br>
              <a:rPr lang="en-US" sz="900" b="1" dirty="0">
                <a:solidFill>
                  <a:srgbClr val="427CAC"/>
                </a:solidFill>
                <a:latin typeface="Arial" charset="0"/>
                <a:ea typeface="Arial" charset="0"/>
                <a:cs typeface="Arial" charset="0"/>
              </a:rPr>
            </a:br>
            <a:r>
              <a:rPr lang="en-US" sz="1600" b="1" dirty="0"/>
              <a:t>Topic </a:t>
            </a:r>
            <a:r>
              <a:rPr lang="en-DE" sz="1600" b="1" dirty="0"/>
              <a:t>5 - AIF</a:t>
            </a:r>
            <a:br>
              <a:rPr lang="en-US" sz="900" noProof="0" dirty="0"/>
            </a:br>
            <a:br>
              <a:rPr lang="en-US" sz="1200" b="0" noProof="0" dirty="0"/>
            </a:br>
            <a:br>
              <a:rPr lang="en-US" sz="900" b="0" dirty="0"/>
            </a:br>
            <a:br>
              <a:rPr lang="en-US" sz="900" b="0" dirty="0"/>
            </a:br>
            <a:br>
              <a:rPr lang="en-US" sz="900" b="0" dirty="0"/>
            </a:br>
            <a:endParaRPr lang="en-US" sz="900" b="0" dirty="0"/>
          </a:p>
        </p:txBody>
      </p:sp>
      <p:sp>
        <p:nvSpPr>
          <p:cNvPr id="33" name="Rechteck 9">
            <a:extLst>
              <a:ext uri="{FF2B5EF4-FFF2-40B4-BE49-F238E27FC236}">
                <a16:creationId xmlns:a16="http://schemas.microsoft.com/office/drawing/2014/main" id="{ECD4176E-3307-4AEE-B858-A8911D07832D}"/>
              </a:ext>
            </a:extLst>
          </p:cNvPr>
          <p:cNvSpPr/>
          <p:nvPr/>
        </p:nvSpPr>
        <p:spPr>
          <a:xfrm>
            <a:off x="3891664" y="5963992"/>
            <a:ext cx="7621001" cy="718835"/>
          </a:xfrm>
          <a:prstGeom prst="rect">
            <a:avLst/>
          </a:prstGeom>
          <a:solidFill>
            <a:schemeClr val="bg1"/>
          </a:solidFill>
          <a:ln w="19050" cap="rnd">
            <a:solidFill>
              <a:srgbClr val="427CAC"/>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71884" tIns="71884" rIns="71884" bIns="71884" rtlCol="0" anchor="t"/>
          <a:lstStyle/>
          <a:p>
            <a:pPr defTabSz="1087034"/>
            <a:r>
              <a:rPr lang="en-US" sz="998" dirty="0">
                <a:solidFill>
                  <a:srgbClr val="000000">
                    <a:lumMod val="65000"/>
                    <a:lumOff val="35000"/>
                  </a:srgbClr>
                </a:solidFill>
                <a:latin typeface="Arial" charset="0"/>
                <a:ea typeface="Arial" charset="0"/>
                <a:cs typeface="Arial" charset="0"/>
              </a:rPr>
              <a:t>On Premise </a:t>
            </a:r>
            <a:br>
              <a:rPr lang="en-US" sz="998" dirty="0">
                <a:solidFill>
                  <a:srgbClr val="000000">
                    <a:lumMod val="65000"/>
                    <a:lumOff val="35000"/>
                  </a:srgbClr>
                </a:solidFill>
                <a:latin typeface="Arial" charset="0"/>
                <a:ea typeface="Arial" charset="0"/>
                <a:cs typeface="Arial" charset="0"/>
              </a:rPr>
            </a:br>
            <a:r>
              <a:rPr lang="en-US" sz="998" dirty="0">
                <a:solidFill>
                  <a:srgbClr val="000000">
                    <a:lumMod val="65000"/>
                    <a:lumOff val="35000"/>
                  </a:srgbClr>
                </a:solidFill>
                <a:latin typeface="Arial" charset="0"/>
                <a:ea typeface="Arial" charset="0"/>
                <a:cs typeface="Arial" charset="0"/>
              </a:rPr>
              <a:t>Apps I Data I Users | Things </a:t>
            </a:r>
          </a:p>
        </p:txBody>
      </p:sp>
      <p:sp>
        <p:nvSpPr>
          <p:cNvPr id="38" name="Rechteck 9">
            <a:extLst>
              <a:ext uri="{FF2B5EF4-FFF2-40B4-BE49-F238E27FC236}">
                <a16:creationId xmlns:a16="http://schemas.microsoft.com/office/drawing/2014/main" id="{EAD16E8C-38D0-4B49-8EF7-A47E41270DB8}"/>
              </a:ext>
            </a:extLst>
          </p:cNvPr>
          <p:cNvSpPr/>
          <p:nvPr/>
        </p:nvSpPr>
        <p:spPr>
          <a:xfrm>
            <a:off x="3915613" y="424256"/>
            <a:ext cx="7597053" cy="814181"/>
          </a:xfrm>
          <a:prstGeom prst="rect">
            <a:avLst/>
          </a:prstGeom>
          <a:noFill/>
          <a:ln w="19050" cap="rnd">
            <a:solidFill>
              <a:srgbClr val="427CAC"/>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71884" tIns="71884" rIns="71884" bIns="71884" rtlCol="0" anchor="t"/>
          <a:lstStyle/>
          <a:p>
            <a:pPr defTabSz="1087034"/>
            <a:r>
              <a:rPr lang="en-US" sz="998">
                <a:solidFill>
                  <a:srgbClr val="000000">
                    <a:lumMod val="65000"/>
                    <a:lumOff val="35000"/>
                  </a:srgbClr>
                </a:solidFill>
                <a:latin typeface="Arial" charset="0"/>
                <a:ea typeface="Arial" charset="0"/>
                <a:cs typeface="Arial" charset="0"/>
              </a:rPr>
              <a:t>Public Cloud </a:t>
            </a:r>
            <a:br>
              <a:rPr lang="en-US" sz="998">
                <a:solidFill>
                  <a:srgbClr val="000000">
                    <a:lumMod val="65000"/>
                    <a:lumOff val="35000"/>
                  </a:srgbClr>
                </a:solidFill>
                <a:latin typeface="Arial" charset="0"/>
                <a:ea typeface="Arial" charset="0"/>
                <a:cs typeface="Arial" charset="0"/>
              </a:rPr>
            </a:br>
            <a:r>
              <a:rPr lang="en-US" sz="998">
                <a:solidFill>
                  <a:srgbClr val="000000">
                    <a:lumMod val="65000"/>
                    <a:lumOff val="35000"/>
                  </a:srgbClr>
                </a:solidFill>
                <a:latin typeface="Arial" charset="0"/>
                <a:ea typeface="Arial" charset="0"/>
                <a:cs typeface="Arial" charset="0"/>
              </a:rPr>
              <a:t>Apps I Data I Users | Things </a:t>
            </a:r>
          </a:p>
        </p:txBody>
      </p:sp>
      <p:sp>
        <p:nvSpPr>
          <p:cNvPr id="51" name="Rectangle 50">
            <a:extLst>
              <a:ext uri="{FF2B5EF4-FFF2-40B4-BE49-F238E27FC236}">
                <a16:creationId xmlns:a16="http://schemas.microsoft.com/office/drawing/2014/main" id="{598E4FEB-2843-4C1C-B954-8794B2126AB9}"/>
              </a:ext>
            </a:extLst>
          </p:cNvPr>
          <p:cNvSpPr/>
          <p:nvPr/>
        </p:nvSpPr>
        <p:spPr bwMode="gray">
          <a:xfrm>
            <a:off x="3891663" y="4117414"/>
            <a:ext cx="7621001" cy="1437670"/>
          </a:xfrm>
          <a:prstGeom prst="rect">
            <a:avLst/>
          </a:prstGeom>
          <a:solidFill>
            <a:schemeClr val="bg1">
              <a:lumMod val="95000"/>
            </a:schemeClr>
          </a:solidFill>
          <a:ln w="12700" algn="ctr">
            <a:noFill/>
            <a:prstDash val="solid"/>
            <a:miter lim="800000"/>
            <a:headEnd/>
            <a:tailEnd/>
          </a:ln>
        </p:spPr>
        <p:txBody>
          <a:bodyPr lIns="89854" tIns="71884" rIns="89854" bIns="71884" rtlCol="0" anchor="t"/>
          <a:lstStyle/>
          <a:p>
            <a:pPr defTabSz="912937" fontAlgn="base">
              <a:spcBef>
                <a:spcPct val="50000"/>
              </a:spcBef>
              <a:spcAft>
                <a:spcPct val="0"/>
              </a:spcAft>
              <a:buClr>
                <a:srgbClr val="F0AB00"/>
              </a:buClr>
              <a:buSzPct val="80000"/>
            </a:pPr>
            <a:r>
              <a:rPr lang="en-US" sz="1098" kern="0">
                <a:solidFill>
                  <a:srgbClr val="427CAC"/>
                </a:solidFill>
                <a:ea typeface="Arial Unicode MS" pitchFamily="34" charset="-128"/>
                <a:cs typeface="Arial"/>
              </a:rPr>
              <a:t>On-Premise</a:t>
            </a:r>
            <a:br>
              <a:rPr lang="en-US" sz="1098" kern="0">
                <a:solidFill>
                  <a:srgbClr val="427CAC"/>
                </a:solidFill>
                <a:ea typeface="Arial Unicode MS" pitchFamily="34" charset="-128"/>
                <a:cs typeface="Arial"/>
              </a:rPr>
            </a:br>
            <a:r>
              <a:rPr lang="en-US" sz="1098" kern="0">
                <a:solidFill>
                  <a:srgbClr val="427CAC"/>
                </a:solidFill>
                <a:ea typeface="Arial Unicode MS" pitchFamily="34" charset="-128"/>
                <a:cs typeface="Arial"/>
              </a:rPr>
              <a:t>Integration </a:t>
            </a:r>
            <a:br>
              <a:rPr lang="en-US" sz="1098" kern="0">
                <a:solidFill>
                  <a:srgbClr val="427CAC"/>
                </a:solidFill>
                <a:ea typeface="Arial Unicode MS" pitchFamily="34" charset="-128"/>
                <a:cs typeface="Arial"/>
              </a:rPr>
            </a:br>
            <a:r>
              <a:rPr lang="en-US" sz="1098" kern="0">
                <a:solidFill>
                  <a:srgbClr val="427CAC"/>
                </a:solidFill>
                <a:ea typeface="Arial Unicode MS" pitchFamily="34" charset="-128"/>
                <a:cs typeface="Arial"/>
              </a:rPr>
              <a:t>Components </a:t>
            </a:r>
          </a:p>
        </p:txBody>
      </p:sp>
      <p:sp>
        <p:nvSpPr>
          <p:cNvPr id="72" name="Rectangle 71">
            <a:extLst>
              <a:ext uri="{FF2B5EF4-FFF2-40B4-BE49-F238E27FC236}">
                <a16:creationId xmlns:a16="http://schemas.microsoft.com/office/drawing/2014/main" id="{975858A8-7A1E-480C-A754-9B42AA1B2D0D}"/>
              </a:ext>
            </a:extLst>
          </p:cNvPr>
          <p:cNvSpPr/>
          <p:nvPr/>
        </p:nvSpPr>
        <p:spPr bwMode="gray">
          <a:xfrm>
            <a:off x="5780827" y="496198"/>
            <a:ext cx="2129162" cy="672019"/>
          </a:xfrm>
          <a:prstGeom prst="rect">
            <a:avLst/>
          </a:prstGeom>
          <a:noFill/>
          <a:ln w="19050" cap="rnd">
            <a:solidFill>
              <a:srgbClr val="1A9898"/>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71884" tIns="71884" rIns="71884" bIns="71884" rtlCol="0" anchor="t" anchorCtr="0"/>
          <a:lstStyle/>
          <a:p>
            <a:pPr algn="ctr" defTabSz="1087034" fontAlgn="base">
              <a:spcBef>
                <a:spcPts val="599"/>
              </a:spcBef>
              <a:spcAft>
                <a:spcPct val="0"/>
              </a:spcAft>
              <a:buClr>
                <a:srgbClr val="F0AB00"/>
              </a:buClr>
              <a:buSzPct val="80000"/>
              <a:defRPr/>
            </a:pPr>
            <a:r>
              <a:rPr lang="en-US" sz="1098" b="1" kern="0">
                <a:solidFill>
                  <a:srgbClr val="1A9898"/>
                </a:solidFill>
                <a:latin typeface="BentonSans Bold" charset="0"/>
                <a:ea typeface="BentonSans Bold" charset="0"/>
                <a:cs typeface="BentonSans Bold" charset="0"/>
              </a:rPr>
              <a:t> </a:t>
            </a:r>
          </a:p>
        </p:txBody>
      </p:sp>
      <p:grpSp>
        <p:nvGrpSpPr>
          <p:cNvPr id="2" name="Group 1">
            <a:extLst>
              <a:ext uri="{FF2B5EF4-FFF2-40B4-BE49-F238E27FC236}">
                <a16:creationId xmlns:a16="http://schemas.microsoft.com/office/drawing/2014/main" id="{28C95EE2-E27C-4F54-95FC-65B597D934ED}"/>
              </a:ext>
            </a:extLst>
          </p:cNvPr>
          <p:cNvGrpSpPr/>
          <p:nvPr/>
        </p:nvGrpSpPr>
        <p:grpSpPr>
          <a:xfrm>
            <a:off x="6343421" y="556542"/>
            <a:ext cx="986371" cy="683624"/>
            <a:chOff x="6482526" y="627232"/>
            <a:chExt cx="987969" cy="684732"/>
          </a:xfrm>
        </p:grpSpPr>
        <p:pic>
          <p:nvPicPr>
            <p:cNvPr id="74" name="Bild 7">
              <a:extLst>
                <a:ext uri="{FF2B5EF4-FFF2-40B4-BE49-F238E27FC236}">
                  <a16:creationId xmlns:a16="http://schemas.microsoft.com/office/drawing/2014/main" id="{DC05304C-BDDB-4C80-8895-B70699D217DE}"/>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778710" y="627232"/>
              <a:ext cx="390910" cy="390910"/>
            </a:xfrm>
            <a:prstGeom prst="rect">
              <a:avLst/>
            </a:prstGeom>
          </p:spPr>
        </p:pic>
        <p:sp>
          <p:nvSpPr>
            <p:cNvPr id="77" name="Abgerundetes Rechteck 30">
              <a:extLst>
                <a:ext uri="{FF2B5EF4-FFF2-40B4-BE49-F238E27FC236}">
                  <a16:creationId xmlns:a16="http://schemas.microsoft.com/office/drawing/2014/main" id="{BD2BC2C0-5438-4752-AAB3-8BC624CC06D5}"/>
                </a:ext>
              </a:extLst>
            </p:cNvPr>
            <p:cNvSpPr/>
            <p:nvPr/>
          </p:nvSpPr>
          <p:spPr>
            <a:xfrm>
              <a:off x="6482526" y="934264"/>
              <a:ext cx="987969" cy="377700"/>
            </a:xfrm>
            <a:prstGeom prst="roundRect">
              <a:avLst>
                <a:gd name="adj" fmla="val 0"/>
              </a:avLst>
            </a:prstGeom>
            <a:noFill/>
            <a:ln w="19050" cap="rnd">
              <a:noFill/>
            </a:ln>
          </p:spPr>
          <p:style>
            <a:lnRef idx="2">
              <a:schemeClr val="accent1">
                <a:shade val="50000"/>
              </a:schemeClr>
            </a:lnRef>
            <a:fillRef idx="1">
              <a:schemeClr val="accent1"/>
            </a:fillRef>
            <a:effectRef idx="0">
              <a:schemeClr val="accent1"/>
            </a:effectRef>
            <a:fontRef idx="minor">
              <a:schemeClr val="lt1"/>
            </a:fontRef>
          </p:style>
          <p:txBody>
            <a:bodyPr lIns="71884" tIns="71884" rIns="71884" bIns="71884" rtlCol="0" anchor="ctr">
              <a:noAutofit/>
            </a:bodyPr>
            <a:lstStyle/>
            <a:p>
              <a:pPr algn="ctr" defTabSz="1087034">
                <a:defRPr/>
              </a:pPr>
              <a:r>
                <a:rPr lang="en-US" sz="1098">
                  <a:solidFill>
                    <a:srgbClr val="000000">
                      <a:lumMod val="65000"/>
                      <a:lumOff val="35000"/>
                    </a:srgbClr>
                  </a:solidFill>
                  <a:latin typeface="Arial"/>
                </a:rPr>
                <a:t> Desktop</a:t>
              </a:r>
            </a:p>
          </p:txBody>
        </p:sp>
      </p:grpSp>
      <p:pic>
        <p:nvPicPr>
          <p:cNvPr id="79" name="Bild 3">
            <a:extLst>
              <a:ext uri="{FF2B5EF4-FFF2-40B4-BE49-F238E27FC236}">
                <a16:creationId xmlns:a16="http://schemas.microsoft.com/office/drawing/2014/main" id="{FBD4D9F3-EA88-47D0-B364-BDE1F598FC91}"/>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299" t="-2761" b="2812"/>
          <a:stretch/>
        </p:blipFill>
        <p:spPr>
          <a:xfrm>
            <a:off x="6037988" y="6070134"/>
            <a:ext cx="496393" cy="497623"/>
          </a:xfrm>
          <a:prstGeom prst="rect">
            <a:avLst/>
          </a:prstGeom>
        </p:spPr>
      </p:pic>
      <p:sp>
        <p:nvSpPr>
          <p:cNvPr id="80" name="Rectangle 79">
            <a:extLst>
              <a:ext uri="{FF2B5EF4-FFF2-40B4-BE49-F238E27FC236}">
                <a16:creationId xmlns:a16="http://schemas.microsoft.com/office/drawing/2014/main" id="{8A915F00-784D-4A5C-B681-4727CBB33DBB}"/>
              </a:ext>
            </a:extLst>
          </p:cNvPr>
          <p:cNvSpPr/>
          <p:nvPr/>
        </p:nvSpPr>
        <p:spPr>
          <a:xfrm>
            <a:off x="6094462" y="6098714"/>
            <a:ext cx="1677235" cy="405488"/>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lIns="35933" tIns="35933" rIns="35933" bIns="35933" rtlCol="0" anchor="ctr"/>
          <a:lstStyle/>
          <a:p>
            <a:pPr algn="ctr" defTabSz="1087034"/>
            <a:r>
              <a:rPr lang="en-US" sz="1098" b="1" dirty="0">
                <a:solidFill>
                  <a:srgbClr val="000000">
                    <a:lumMod val="65000"/>
                    <a:lumOff val="35000"/>
                  </a:srgbClr>
                </a:solidFill>
                <a:latin typeface="Arial" charset="0"/>
                <a:ea typeface="Arial" charset="0"/>
                <a:cs typeface="Arial" charset="0"/>
              </a:rPr>
              <a:t>S/4HANA</a:t>
            </a:r>
          </a:p>
        </p:txBody>
      </p:sp>
      <p:cxnSp>
        <p:nvCxnSpPr>
          <p:cNvPr id="82" name="Straight Arrow Connector 18">
            <a:extLst>
              <a:ext uri="{FF2B5EF4-FFF2-40B4-BE49-F238E27FC236}">
                <a16:creationId xmlns:a16="http://schemas.microsoft.com/office/drawing/2014/main" id="{CBE6B8F3-A844-4E81-AB65-F389917D2CA5}"/>
              </a:ext>
            </a:extLst>
          </p:cNvPr>
          <p:cNvCxnSpPr>
            <a:cxnSpLocks/>
            <a:endCxn id="72" idx="2"/>
          </p:cNvCxnSpPr>
          <p:nvPr/>
        </p:nvCxnSpPr>
        <p:spPr>
          <a:xfrm flipV="1">
            <a:off x="6836608" y="1168217"/>
            <a:ext cx="8800" cy="382690"/>
          </a:xfrm>
          <a:prstGeom prst="straightConnector1">
            <a:avLst/>
          </a:prstGeom>
          <a:ln w="25400">
            <a:solidFill>
              <a:schemeClr val="tx1">
                <a:lumMod val="65000"/>
                <a:lumOff val="35000"/>
              </a:schemeClr>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94" name="Rectangle 93">
            <a:extLst>
              <a:ext uri="{FF2B5EF4-FFF2-40B4-BE49-F238E27FC236}">
                <a16:creationId xmlns:a16="http://schemas.microsoft.com/office/drawing/2014/main" id="{F29D2FD9-3E31-43D0-B6DB-05EAAA586CEF}"/>
              </a:ext>
            </a:extLst>
          </p:cNvPr>
          <p:cNvSpPr/>
          <p:nvPr/>
        </p:nvSpPr>
        <p:spPr>
          <a:xfrm>
            <a:off x="5070826" y="1533178"/>
            <a:ext cx="1215356" cy="256006"/>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lIns="35942" tIns="35942" rIns="35942" bIns="0" rtlCol="0" anchor="ctr"/>
          <a:lstStyle/>
          <a:p>
            <a:pPr algn="ctr" defTabSz="1087034">
              <a:defRPr/>
            </a:pPr>
            <a:r>
              <a:rPr lang="en-US" sz="1098" b="1" dirty="0">
                <a:solidFill>
                  <a:srgbClr val="427CAC"/>
                </a:solidFill>
                <a:latin typeface="Arial" charset="0"/>
                <a:ea typeface="Arial" charset="0"/>
                <a:cs typeface="Arial" charset="0"/>
              </a:rPr>
              <a:t>Event Simulator</a:t>
            </a:r>
          </a:p>
        </p:txBody>
      </p:sp>
      <p:sp>
        <p:nvSpPr>
          <p:cNvPr id="81" name="Rechteck 9">
            <a:extLst>
              <a:ext uri="{FF2B5EF4-FFF2-40B4-BE49-F238E27FC236}">
                <a16:creationId xmlns:a16="http://schemas.microsoft.com/office/drawing/2014/main" id="{AF940E72-EDF3-43EB-A26C-B46E710C743F}"/>
              </a:ext>
            </a:extLst>
          </p:cNvPr>
          <p:cNvSpPr/>
          <p:nvPr/>
        </p:nvSpPr>
        <p:spPr>
          <a:xfrm>
            <a:off x="4939636" y="1529598"/>
            <a:ext cx="6411549" cy="2217827"/>
          </a:xfrm>
          <a:prstGeom prst="rect">
            <a:avLst/>
          </a:prstGeom>
          <a:noFill/>
          <a:ln w="19050">
            <a:solidFill>
              <a:srgbClr val="427CAC"/>
            </a:solidFill>
          </a:ln>
        </p:spPr>
        <p:style>
          <a:lnRef idx="2">
            <a:schemeClr val="accent1">
              <a:shade val="50000"/>
            </a:schemeClr>
          </a:lnRef>
          <a:fillRef idx="1">
            <a:schemeClr val="accent1"/>
          </a:fillRef>
          <a:effectRef idx="0">
            <a:schemeClr val="accent1"/>
          </a:effectRef>
          <a:fontRef idx="minor">
            <a:schemeClr val="lt1"/>
          </a:fontRef>
        </p:style>
        <p:txBody>
          <a:bodyPr lIns="71884" tIns="71884" rIns="71884" bIns="71884" rtlCol="0" anchor="t"/>
          <a:lstStyle/>
          <a:p>
            <a:pPr algn="r" defTabSz="1087034"/>
            <a:r>
              <a:rPr lang="en-US" sz="1198" b="1">
                <a:solidFill>
                  <a:srgbClr val="427CAC"/>
                </a:solidFill>
                <a:latin typeface="Arial"/>
              </a:rPr>
              <a:t>SAP Business</a:t>
            </a:r>
            <a:br>
              <a:rPr lang="en-US" sz="1198" b="1">
                <a:solidFill>
                  <a:srgbClr val="427CAC"/>
                </a:solidFill>
                <a:latin typeface="Arial"/>
              </a:rPr>
            </a:br>
            <a:r>
              <a:rPr lang="en-US" sz="1198" b="1">
                <a:solidFill>
                  <a:srgbClr val="427CAC"/>
                </a:solidFill>
                <a:latin typeface="Arial"/>
              </a:rPr>
              <a:t>Technology Platform</a:t>
            </a:r>
          </a:p>
        </p:txBody>
      </p:sp>
      <p:cxnSp>
        <p:nvCxnSpPr>
          <p:cNvPr id="86" name="Gerade Verbindung 60">
            <a:extLst>
              <a:ext uri="{FF2B5EF4-FFF2-40B4-BE49-F238E27FC236}">
                <a16:creationId xmlns:a16="http://schemas.microsoft.com/office/drawing/2014/main" id="{6B838110-4BBC-48BA-95EF-F172A9A2DAB6}"/>
              </a:ext>
            </a:extLst>
          </p:cNvPr>
          <p:cNvCxnSpPr>
            <a:cxnSpLocks/>
          </p:cNvCxnSpPr>
          <p:nvPr/>
        </p:nvCxnSpPr>
        <p:spPr>
          <a:xfrm flipH="1">
            <a:off x="5073350" y="4227074"/>
            <a:ext cx="5570973" cy="0"/>
          </a:xfrm>
          <a:prstGeom prst="line">
            <a:avLst/>
          </a:prstGeom>
          <a:ln w="38100" cap="rnd">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91" name="TextBox 90">
            <a:extLst>
              <a:ext uri="{FF2B5EF4-FFF2-40B4-BE49-F238E27FC236}">
                <a16:creationId xmlns:a16="http://schemas.microsoft.com/office/drawing/2014/main" id="{0E9C95C7-D862-461B-BAD9-B3350B3C6644}"/>
              </a:ext>
            </a:extLst>
          </p:cNvPr>
          <p:cNvSpPr txBox="1"/>
          <p:nvPr/>
        </p:nvSpPr>
        <p:spPr>
          <a:xfrm>
            <a:off x="10753931" y="4121033"/>
            <a:ext cx="597255" cy="169003"/>
          </a:xfrm>
          <a:prstGeom prst="rect">
            <a:avLst/>
          </a:prstGeom>
          <a:noFill/>
        </p:spPr>
        <p:txBody>
          <a:bodyPr wrap="square" lIns="0" tIns="0" rIns="0" bIns="0" rtlCol="0">
            <a:spAutoFit/>
          </a:bodyPr>
          <a:lstStyle/>
          <a:p>
            <a:pPr defTabSz="1087034" fontAlgn="base">
              <a:spcBef>
                <a:spcPct val="50000"/>
              </a:spcBef>
              <a:spcAft>
                <a:spcPct val="0"/>
              </a:spcAft>
              <a:buClr>
                <a:srgbClr val="F0AB00"/>
              </a:buClr>
              <a:buSzPct val="80000"/>
            </a:pPr>
            <a:r>
              <a:rPr lang="de-DE" sz="1098" kern="0">
                <a:solidFill>
                  <a:srgbClr val="000000"/>
                </a:solidFill>
                <a:ea typeface="Arial Unicode MS" pitchFamily="34" charset="-128"/>
                <a:cs typeface="Arial Unicode MS" pitchFamily="34" charset="-128"/>
              </a:rPr>
              <a:t>Firewall</a:t>
            </a:r>
          </a:p>
        </p:txBody>
      </p:sp>
      <p:sp>
        <p:nvSpPr>
          <p:cNvPr id="99" name="TextBox 98">
            <a:extLst>
              <a:ext uri="{FF2B5EF4-FFF2-40B4-BE49-F238E27FC236}">
                <a16:creationId xmlns:a16="http://schemas.microsoft.com/office/drawing/2014/main" id="{4054830F-1B44-4F6D-9ECE-EA898364CBE0}"/>
              </a:ext>
            </a:extLst>
          </p:cNvPr>
          <p:cNvSpPr txBox="1"/>
          <p:nvPr/>
        </p:nvSpPr>
        <p:spPr>
          <a:xfrm>
            <a:off x="10344801" y="4434390"/>
            <a:ext cx="318924" cy="153639"/>
          </a:xfrm>
          <a:prstGeom prst="rect">
            <a:avLst/>
          </a:prstGeom>
          <a:noFill/>
        </p:spPr>
        <p:txBody>
          <a:bodyPr wrap="square" lIns="0" tIns="0" rIns="0" bIns="0" rtlCol="0">
            <a:spAutoFit/>
          </a:bodyPr>
          <a:lstStyle/>
          <a:p>
            <a:pPr defTabSz="1087034" fontAlgn="base">
              <a:spcBef>
                <a:spcPct val="50000"/>
              </a:spcBef>
              <a:spcAft>
                <a:spcPct val="0"/>
              </a:spcAft>
              <a:buClr>
                <a:srgbClr val="F0AB00"/>
              </a:buClr>
              <a:buSzPct val="80000"/>
            </a:pPr>
            <a:r>
              <a:rPr lang="de-DE" sz="998" kern="0">
                <a:solidFill>
                  <a:srgbClr val="000000"/>
                </a:solidFill>
                <a:ea typeface="Arial Unicode MS" pitchFamily="34" charset="-128"/>
                <a:cs typeface="Arial Unicode MS" pitchFamily="34" charset="-128"/>
              </a:rPr>
              <a:t>DMZ</a:t>
            </a:r>
          </a:p>
        </p:txBody>
      </p:sp>
      <p:sp>
        <p:nvSpPr>
          <p:cNvPr id="104" name="Rechteck 45">
            <a:extLst>
              <a:ext uri="{FF2B5EF4-FFF2-40B4-BE49-F238E27FC236}">
                <a16:creationId xmlns:a16="http://schemas.microsoft.com/office/drawing/2014/main" id="{8F60DCCC-46CA-4764-9BAB-405BEA47F26E}"/>
              </a:ext>
            </a:extLst>
          </p:cNvPr>
          <p:cNvSpPr/>
          <p:nvPr/>
        </p:nvSpPr>
        <p:spPr>
          <a:xfrm>
            <a:off x="7345728" y="1783335"/>
            <a:ext cx="730744" cy="506870"/>
          </a:xfrm>
          <a:prstGeom prst="rect">
            <a:avLst/>
          </a:prstGeom>
        </p:spPr>
        <p:txBody>
          <a:bodyPr wrap="square" lIns="0" tIns="0" rIns="0" bIns="0">
            <a:spAutoFit/>
          </a:bodyPr>
          <a:lstStyle/>
          <a:p>
            <a:pPr algn="ctr" defTabSz="1087034">
              <a:defRPr/>
            </a:pPr>
            <a:r>
              <a:rPr lang="en-US" sz="1098" b="1" dirty="0">
                <a:solidFill>
                  <a:srgbClr val="427CAC"/>
                </a:solidFill>
                <a:latin typeface="Arial" charset="0"/>
                <a:ea typeface="Arial" charset="0"/>
                <a:cs typeface="Arial" charset="0"/>
              </a:rPr>
              <a:t>Advanced Event Mesh </a:t>
            </a:r>
          </a:p>
        </p:txBody>
      </p:sp>
      <p:cxnSp>
        <p:nvCxnSpPr>
          <p:cNvPr id="113" name="Straight Arrow Connector 18">
            <a:extLst>
              <a:ext uri="{FF2B5EF4-FFF2-40B4-BE49-F238E27FC236}">
                <a16:creationId xmlns:a16="http://schemas.microsoft.com/office/drawing/2014/main" id="{578A599E-539C-45BE-AA41-E792EBBFC507}"/>
              </a:ext>
            </a:extLst>
          </p:cNvPr>
          <p:cNvCxnSpPr>
            <a:cxnSpLocks/>
            <a:endCxn id="79" idx="0"/>
          </p:cNvCxnSpPr>
          <p:nvPr/>
        </p:nvCxnSpPr>
        <p:spPr>
          <a:xfrm rot="16200000" flipH="1">
            <a:off x="4499350" y="4283298"/>
            <a:ext cx="3573669" cy="1"/>
          </a:xfrm>
          <a:prstGeom prst="bentConnector3">
            <a:avLst>
              <a:gd name="adj1" fmla="val 50000"/>
            </a:avLst>
          </a:prstGeom>
          <a:ln w="25400" cap="flat">
            <a:solidFill>
              <a:schemeClr val="tx1">
                <a:lumMod val="65000"/>
                <a:lumOff val="3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08" name="Abgerundetes Rechteck 24">
            <a:extLst>
              <a:ext uri="{FF2B5EF4-FFF2-40B4-BE49-F238E27FC236}">
                <a16:creationId xmlns:a16="http://schemas.microsoft.com/office/drawing/2014/main" id="{1059D291-7981-42DF-826C-A3703B03A6D5}"/>
              </a:ext>
            </a:extLst>
          </p:cNvPr>
          <p:cNvSpPr/>
          <p:nvPr/>
        </p:nvSpPr>
        <p:spPr>
          <a:xfrm>
            <a:off x="6777970" y="2861614"/>
            <a:ext cx="898544" cy="182249"/>
          </a:xfrm>
          <a:prstGeom prst="roundRect">
            <a:avLst>
              <a:gd name="adj" fmla="val 50000"/>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5933" tIns="35933" rIns="35933" bIns="35933" rtlCol="0" anchor="ctr"/>
          <a:lstStyle/>
          <a:p>
            <a:pPr algn="ctr" defTabSz="1087034"/>
            <a:r>
              <a:rPr lang="en-US" sz="1098" dirty="0">
                <a:solidFill>
                  <a:srgbClr val="FFFFFF"/>
                </a:solidFill>
                <a:latin typeface="Arial"/>
                <a:ea typeface="BentonSans Book " charset="0"/>
                <a:cs typeface="BentonSans Book " charset="0"/>
              </a:rPr>
              <a:t>Pub / Sub</a:t>
            </a:r>
          </a:p>
        </p:txBody>
      </p:sp>
      <p:sp>
        <p:nvSpPr>
          <p:cNvPr id="12" name="Oval 11">
            <a:extLst>
              <a:ext uri="{FF2B5EF4-FFF2-40B4-BE49-F238E27FC236}">
                <a16:creationId xmlns:a16="http://schemas.microsoft.com/office/drawing/2014/main" id="{3BD23E20-ECF1-4AC7-927F-51E7AA4C8C95}"/>
              </a:ext>
            </a:extLst>
          </p:cNvPr>
          <p:cNvSpPr/>
          <p:nvPr/>
        </p:nvSpPr>
        <p:spPr bwMode="gray">
          <a:xfrm>
            <a:off x="6160306" y="1763871"/>
            <a:ext cx="251753" cy="237322"/>
          </a:xfrm>
          <a:prstGeom prst="ellipse">
            <a:avLst/>
          </a:prstGeom>
          <a:noFill/>
          <a:ln w="25400" algn="ctr">
            <a:solidFill>
              <a:srgbClr val="00B050"/>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de-DE" sz="900" b="0" i="0" u="none" strike="noStrike" kern="0" cap="none" spc="0" normalizeH="0" baseline="0" noProof="0" dirty="0">
                <a:ln>
                  <a:noFill/>
                </a:ln>
                <a:effectLst/>
                <a:uLnTx/>
                <a:uFillTx/>
                <a:ea typeface="Arial Unicode MS" pitchFamily="34" charset="-128"/>
                <a:cs typeface="Arial Unicode MS" pitchFamily="34" charset="-128"/>
              </a:rPr>
              <a:t>5</a:t>
            </a:r>
            <a:endParaRPr kumimoji="0" lang="en-US" sz="900" b="0" i="0" u="none" strike="noStrike" kern="0" cap="none" spc="0" normalizeH="0" baseline="0" noProof="0" dirty="0">
              <a:ln>
                <a:noFill/>
              </a:ln>
              <a:effectLst/>
              <a:uLnTx/>
              <a:uFillTx/>
              <a:ea typeface="Arial Unicode MS" pitchFamily="34" charset="-128"/>
              <a:cs typeface="Arial Unicode MS" pitchFamily="34" charset="-128"/>
            </a:endParaRPr>
          </a:p>
        </p:txBody>
      </p:sp>
      <p:pic>
        <p:nvPicPr>
          <p:cNvPr id="1032" name="Picture 8" descr="SAP – Wikipedia">
            <a:extLst>
              <a:ext uri="{FF2B5EF4-FFF2-40B4-BE49-F238E27FC236}">
                <a16:creationId xmlns:a16="http://schemas.microsoft.com/office/drawing/2014/main" id="{D7AC211D-7E0E-4A56-9CD2-8ED63666BDA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639126" y="6385507"/>
            <a:ext cx="369114" cy="182250"/>
          </a:xfrm>
          <a:prstGeom prst="rect">
            <a:avLst/>
          </a:prstGeom>
          <a:noFill/>
          <a:extLst>
            <a:ext uri="{909E8E84-426E-40DD-AFC4-6F175D3DCCD1}">
              <a14:hiddenFill xmlns:a14="http://schemas.microsoft.com/office/drawing/2010/main">
                <a:solidFill>
                  <a:srgbClr val="FFFFFF"/>
                </a:solidFill>
              </a14:hiddenFill>
            </a:ext>
          </a:extLst>
        </p:spPr>
      </p:pic>
      <p:sp>
        <p:nvSpPr>
          <p:cNvPr id="95" name="Oval 94">
            <a:extLst>
              <a:ext uri="{FF2B5EF4-FFF2-40B4-BE49-F238E27FC236}">
                <a16:creationId xmlns:a16="http://schemas.microsoft.com/office/drawing/2014/main" id="{C0631C0B-1438-455C-B696-497956FDB82A}"/>
              </a:ext>
            </a:extLst>
          </p:cNvPr>
          <p:cNvSpPr/>
          <p:nvPr/>
        </p:nvSpPr>
        <p:spPr bwMode="gray">
          <a:xfrm>
            <a:off x="8405084" y="3430877"/>
            <a:ext cx="249141" cy="256731"/>
          </a:xfrm>
          <a:prstGeom prst="ellipse">
            <a:avLst/>
          </a:prstGeom>
          <a:noFill/>
          <a:ln w="25400" algn="ctr">
            <a:solidFill>
              <a:srgbClr val="00B050"/>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900" b="0" i="0" u="none" strike="noStrike" kern="0" cap="none" spc="0" normalizeH="0" baseline="0" noProof="0" dirty="0">
                <a:ln>
                  <a:noFill/>
                </a:ln>
                <a:effectLst/>
                <a:uLnTx/>
                <a:uFillTx/>
                <a:ea typeface="Arial Unicode MS" pitchFamily="34" charset="-128"/>
                <a:cs typeface="Arial Unicode MS" pitchFamily="34" charset="-128"/>
              </a:rPr>
              <a:t>2</a:t>
            </a:r>
          </a:p>
        </p:txBody>
      </p:sp>
      <p:sp>
        <p:nvSpPr>
          <p:cNvPr id="127" name="Rectangle 126">
            <a:extLst>
              <a:ext uri="{FF2B5EF4-FFF2-40B4-BE49-F238E27FC236}">
                <a16:creationId xmlns:a16="http://schemas.microsoft.com/office/drawing/2014/main" id="{17B20217-3872-4966-A453-F6C8950843B9}"/>
              </a:ext>
            </a:extLst>
          </p:cNvPr>
          <p:cNvSpPr/>
          <p:nvPr/>
        </p:nvSpPr>
        <p:spPr>
          <a:xfrm>
            <a:off x="10344801" y="3425766"/>
            <a:ext cx="861021" cy="256006"/>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lIns="35942" tIns="35942" rIns="35942" bIns="0" rtlCol="0" anchor="ctr"/>
          <a:lstStyle/>
          <a:p>
            <a:pPr algn="ctr" defTabSz="1087034">
              <a:defRPr/>
            </a:pPr>
            <a:r>
              <a:rPr lang="en-US" sz="1098" b="1" dirty="0">
                <a:solidFill>
                  <a:srgbClr val="427CAC"/>
                </a:solidFill>
                <a:latin typeface="Arial" charset="0"/>
                <a:ea typeface="Arial" charset="0"/>
                <a:cs typeface="Arial" charset="0"/>
              </a:rPr>
              <a:t>SAP IAS</a:t>
            </a:r>
          </a:p>
        </p:txBody>
      </p:sp>
      <p:sp>
        <p:nvSpPr>
          <p:cNvPr id="136" name="Oval 135">
            <a:extLst>
              <a:ext uri="{FF2B5EF4-FFF2-40B4-BE49-F238E27FC236}">
                <a16:creationId xmlns:a16="http://schemas.microsoft.com/office/drawing/2014/main" id="{28BD36C8-F1BB-4E67-86ED-D254C1472234}"/>
              </a:ext>
            </a:extLst>
          </p:cNvPr>
          <p:cNvSpPr/>
          <p:nvPr/>
        </p:nvSpPr>
        <p:spPr bwMode="gray">
          <a:xfrm>
            <a:off x="6669006" y="2175128"/>
            <a:ext cx="249141" cy="256731"/>
          </a:xfrm>
          <a:prstGeom prst="ellipse">
            <a:avLst/>
          </a:prstGeom>
          <a:noFill/>
          <a:ln w="25400" algn="ctr">
            <a:solidFill>
              <a:srgbClr val="00B050"/>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de-DE" sz="900" b="0" i="0" u="none" strike="noStrike" kern="0" cap="none" spc="0" normalizeH="0" baseline="0" noProof="0" dirty="0">
                <a:ln>
                  <a:noFill/>
                </a:ln>
                <a:effectLst/>
                <a:uLnTx/>
                <a:uFillTx/>
                <a:ea typeface="Arial Unicode MS" pitchFamily="34" charset="-128"/>
                <a:cs typeface="Arial Unicode MS" pitchFamily="34" charset="-128"/>
              </a:rPr>
              <a:t>1</a:t>
            </a:r>
            <a:endParaRPr kumimoji="0" lang="en-US" sz="900" b="0" i="0" u="none" strike="noStrike" kern="0" cap="none" spc="0" normalizeH="0" baseline="0" noProof="0" dirty="0">
              <a:ln>
                <a:noFill/>
              </a:ln>
              <a:effectLst/>
              <a:uLnTx/>
              <a:uFillTx/>
              <a:ea typeface="Arial Unicode MS" pitchFamily="34" charset="-128"/>
              <a:cs typeface="Arial Unicode MS" pitchFamily="34" charset="-128"/>
            </a:endParaRPr>
          </a:p>
        </p:txBody>
      </p:sp>
      <p:pic>
        <p:nvPicPr>
          <p:cNvPr id="5" name="Grafik 4">
            <a:extLst>
              <a:ext uri="{FF2B5EF4-FFF2-40B4-BE49-F238E27FC236}">
                <a16:creationId xmlns:a16="http://schemas.microsoft.com/office/drawing/2014/main" id="{0F830047-A147-68DD-A779-586582D49536}"/>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998642" y="2289225"/>
            <a:ext cx="457200" cy="457200"/>
          </a:xfrm>
          <a:prstGeom prst="rect">
            <a:avLst/>
          </a:prstGeom>
        </p:spPr>
      </p:pic>
      <p:cxnSp>
        <p:nvCxnSpPr>
          <p:cNvPr id="6" name="Straight Arrow Connector 18">
            <a:extLst>
              <a:ext uri="{FF2B5EF4-FFF2-40B4-BE49-F238E27FC236}">
                <a16:creationId xmlns:a16="http://schemas.microsoft.com/office/drawing/2014/main" id="{64BB035F-5E4F-DC8C-D8AA-1C5F8B5797EE}"/>
              </a:ext>
            </a:extLst>
          </p:cNvPr>
          <p:cNvCxnSpPr>
            <a:cxnSpLocks/>
            <a:stCxn id="5" idx="1"/>
            <a:endCxn id="12" idx="4"/>
          </p:cNvCxnSpPr>
          <p:nvPr/>
        </p:nvCxnSpPr>
        <p:spPr>
          <a:xfrm rot="10800000">
            <a:off x="6286184" y="2001193"/>
            <a:ext cx="712459" cy="516632"/>
          </a:xfrm>
          <a:prstGeom prst="bentConnector2">
            <a:avLst/>
          </a:prstGeom>
          <a:ln w="25400">
            <a:solidFill>
              <a:schemeClr val="tx1">
                <a:lumMod val="65000"/>
                <a:lumOff val="35000"/>
              </a:schemeClr>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3" name="Oval 2">
            <a:extLst>
              <a:ext uri="{FF2B5EF4-FFF2-40B4-BE49-F238E27FC236}">
                <a16:creationId xmlns:a16="http://schemas.microsoft.com/office/drawing/2014/main" id="{BEE50134-2086-6F35-B4DC-24980866B5A6}"/>
              </a:ext>
            </a:extLst>
          </p:cNvPr>
          <p:cNvSpPr/>
          <p:nvPr/>
        </p:nvSpPr>
        <p:spPr bwMode="gray">
          <a:xfrm>
            <a:off x="8365036" y="2145917"/>
            <a:ext cx="249141" cy="256731"/>
          </a:xfrm>
          <a:prstGeom prst="ellipse">
            <a:avLst/>
          </a:prstGeom>
          <a:noFill/>
          <a:ln w="25400" algn="ctr">
            <a:solidFill>
              <a:srgbClr val="00B050"/>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lang="en-US" sz="900" kern="0" dirty="0">
                <a:ea typeface="Arial Unicode MS" pitchFamily="34" charset="-128"/>
                <a:cs typeface="Arial Unicode MS" pitchFamily="34" charset="-128"/>
              </a:rPr>
              <a:t>4</a:t>
            </a:r>
            <a:endParaRPr kumimoji="0" lang="en-US" sz="9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15" name="Oval 14">
            <a:extLst>
              <a:ext uri="{FF2B5EF4-FFF2-40B4-BE49-F238E27FC236}">
                <a16:creationId xmlns:a16="http://schemas.microsoft.com/office/drawing/2014/main" id="{6DF4DEEA-F5A3-5CDC-C6B9-BD9F93727496}"/>
              </a:ext>
            </a:extLst>
          </p:cNvPr>
          <p:cNvSpPr/>
          <p:nvPr/>
        </p:nvSpPr>
        <p:spPr bwMode="gray">
          <a:xfrm>
            <a:off x="7022179" y="1971748"/>
            <a:ext cx="249141" cy="256731"/>
          </a:xfrm>
          <a:prstGeom prst="ellipse">
            <a:avLst/>
          </a:prstGeom>
          <a:noFill/>
          <a:ln w="25400" algn="ctr">
            <a:solidFill>
              <a:srgbClr val="00B050"/>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900" b="0" i="0" u="none" strike="noStrike" kern="0" cap="none" spc="0" normalizeH="0" baseline="0" noProof="0" dirty="0">
                <a:ln>
                  <a:noFill/>
                </a:ln>
                <a:effectLst/>
                <a:uLnTx/>
                <a:uFillTx/>
                <a:ea typeface="Arial Unicode MS" pitchFamily="34" charset="-128"/>
                <a:cs typeface="Arial Unicode MS" pitchFamily="34" charset="-128"/>
              </a:rPr>
              <a:t>3</a:t>
            </a:r>
          </a:p>
        </p:txBody>
      </p:sp>
      <p:sp>
        <p:nvSpPr>
          <p:cNvPr id="7" name="Rechteck 42">
            <a:extLst>
              <a:ext uri="{FF2B5EF4-FFF2-40B4-BE49-F238E27FC236}">
                <a16:creationId xmlns:a16="http://schemas.microsoft.com/office/drawing/2014/main" id="{7D965BB6-E2BD-C18C-70E3-85C4C95B6B4E}"/>
              </a:ext>
            </a:extLst>
          </p:cNvPr>
          <p:cNvSpPr/>
          <p:nvPr/>
        </p:nvSpPr>
        <p:spPr>
          <a:xfrm>
            <a:off x="9241513" y="3036773"/>
            <a:ext cx="1411307" cy="253798"/>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lIns="35942" tIns="91292" rIns="35942" bIns="91292" rtlCol="0" anchor="ctr"/>
          <a:lstStyle/>
          <a:p>
            <a:pPr defTabSz="1087034">
              <a:defRPr/>
            </a:pPr>
            <a:r>
              <a:rPr lang="en-US" sz="1098" b="1" dirty="0">
                <a:solidFill>
                  <a:srgbClr val="427CAC"/>
                </a:solidFill>
                <a:latin typeface="Arial" charset="0"/>
                <a:ea typeface="Arial" charset="0"/>
                <a:cs typeface="Arial" charset="0"/>
              </a:rPr>
              <a:t>Cloud Integration</a:t>
            </a:r>
          </a:p>
        </p:txBody>
      </p:sp>
      <p:pic>
        <p:nvPicPr>
          <p:cNvPr id="10" name="Bild 54">
            <a:extLst>
              <a:ext uri="{FF2B5EF4-FFF2-40B4-BE49-F238E27FC236}">
                <a16:creationId xmlns:a16="http://schemas.microsoft.com/office/drawing/2014/main" id="{C41DF94F-1B1F-D4FB-F226-98D26D6D47DC}"/>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652076" y="3056005"/>
            <a:ext cx="596633" cy="596633"/>
          </a:xfrm>
          <a:prstGeom prst="ellipse">
            <a:avLst/>
          </a:prstGeom>
        </p:spPr>
      </p:pic>
      <p:cxnSp>
        <p:nvCxnSpPr>
          <p:cNvPr id="17" name="Straight Arrow Connector 18">
            <a:extLst>
              <a:ext uri="{FF2B5EF4-FFF2-40B4-BE49-F238E27FC236}">
                <a16:creationId xmlns:a16="http://schemas.microsoft.com/office/drawing/2014/main" id="{B8B06692-7401-D73D-9074-1BF9974D4AAD}"/>
              </a:ext>
            </a:extLst>
          </p:cNvPr>
          <p:cNvCxnSpPr>
            <a:cxnSpLocks/>
            <a:stCxn id="108" idx="2"/>
            <a:endCxn id="10" idx="2"/>
          </p:cNvCxnSpPr>
          <p:nvPr/>
        </p:nvCxnSpPr>
        <p:spPr>
          <a:xfrm rot="16200000" flipH="1">
            <a:off x="7784430" y="2486675"/>
            <a:ext cx="310459" cy="1424834"/>
          </a:xfrm>
          <a:prstGeom prst="bentConnector2">
            <a:avLst/>
          </a:prstGeom>
          <a:ln w="25400">
            <a:solidFill>
              <a:schemeClr val="tx1">
                <a:lumMod val="65000"/>
                <a:lumOff val="3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2" name="AutoShape 6" descr="32032-sap-integration-suite_advanced-event-mesh">
            <a:extLst>
              <a:ext uri="{FF2B5EF4-FFF2-40B4-BE49-F238E27FC236}">
                <a16:creationId xmlns:a16="http://schemas.microsoft.com/office/drawing/2014/main" id="{9D161927-A857-E425-524F-0CF95EC45552}"/>
              </a:ext>
            </a:extLst>
          </p:cNvPr>
          <p:cNvSpPr>
            <a:spLocks noChangeAspect="1" noChangeArrowheads="1"/>
          </p:cNvSpPr>
          <p:nvPr/>
        </p:nvSpPr>
        <p:spPr bwMode="auto">
          <a:xfrm>
            <a:off x="4049353" y="2435785"/>
            <a:ext cx="6960391" cy="696039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DE"/>
          </a:p>
        </p:txBody>
      </p:sp>
      <p:pic>
        <p:nvPicPr>
          <p:cNvPr id="35" name="Picture 34">
            <a:extLst>
              <a:ext uri="{FF2B5EF4-FFF2-40B4-BE49-F238E27FC236}">
                <a16:creationId xmlns:a16="http://schemas.microsoft.com/office/drawing/2014/main" id="{9B101621-0AA4-F485-793A-77F521438C0D}"/>
              </a:ext>
            </a:extLst>
          </p:cNvPr>
          <p:cNvPicPr>
            <a:picLocks noChangeAspect="1"/>
          </p:cNvPicPr>
          <p:nvPr/>
        </p:nvPicPr>
        <p:blipFill>
          <a:blip r:embed="rId9"/>
          <a:stretch>
            <a:fillRect/>
          </a:stretch>
        </p:blipFill>
        <p:spPr>
          <a:xfrm>
            <a:off x="5894413" y="3225825"/>
            <a:ext cx="406349" cy="406349"/>
          </a:xfrm>
          <a:prstGeom prst="rect">
            <a:avLst/>
          </a:prstGeom>
        </p:spPr>
      </p:pic>
      <p:pic>
        <p:nvPicPr>
          <p:cNvPr id="37" name="Picture 36">
            <a:extLst>
              <a:ext uri="{FF2B5EF4-FFF2-40B4-BE49-F238E27FC236}">
                <a16:creationId xmlns:a16="http://schemas.microsoft.com/office/drawing/2014/main" id="{21A6862F-BC67-0471-6250-B010C6C1DC8D}"/>
              </a:ext>
            </a:extLst>
          </p:cNvPr>
          <p:cNvPicPr>
            <a:picLocks noChangeAspect="1"/>
          </p:cNvPicPr>
          <p:nvPr/>
        </p:nvPicPr>
        <p:blipFill>
          <a:blip r:embed="rId10"/>
          <a:stretch>
            <a:fillRect/>
          </a:stretch>
        </p:blipFill>
        <p:spPr>
          <a:xfrm>
            <a:off x="8708240" y="2241224"/>
            <a:ext cx="457747" cy="506871"/>
          </a:xfrm>
          <a:prstGeom prst="rect">
            <a:avLst/>
          </a:prstGeom>
        </p:spPr>
      </p:pic>
      <p:sp>
        <p:nvSpPr>
          <p:cNvPr id="39" name="Rechteck 42">
            <a:extLst>
              <a:ext uri="{FF2B5EF4-FFF2-40B4-BE49-F238E27FC236}">
                <a16:creationId xmlns:a16="http://schemas.microsoft.com/office/drawing/2014/main" id="{58018323-6176-F026-5C7E-739D36B2B8F6}"/>
              </a:ext>
            </a:extLst>
          </p:cNvPr>
          <p:cNvSpPr/>
          <p:nvPr/>
        </p:nvSpPr>
        <p:spPr>
          <a:xfrm>
            <a:off x="9265310" y="2181987"/>
            <a:ext cx="1566645" cy="253798"/>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lIns="35942" tIns="91292" rIns="35942" bIns="91292" rtlCol="0" anchor="ctr"/>
          <a:lstStyle/>
          <a:p>
            <a:pPr defTabSz="1087034">
              <a:defRPr/>
            </a:pPr>
            <a:r>
              <a:rPr lang="en-US" sz="1098" b="1" dirty="0">
                <a:solidFill>
                  <a:srgbClr val="427CAC"/>
                </a:solidFill>
                <a:latin typeface="Arial" charset="0"/>
                <a:ea typeface="Arial" charset="0"/>
                <a:cs typeface="Arial" charset="0"/>
              </a:rPr>
              <a:t>Process Automation</a:t>
            </a:r>
          </a:p>
        </p:txBody>
      </p:sp>
      <p:cxnSp>
        <p:nvCxnSpPr>
          <p:cNvPr id="41" name="Straight Arrow Connector 18">
            <a:extLst>
              <a:ext uri="{FF2B5EF4-FFF2-40B4-BE49-F238E27FC236}">
                <a16:creationId xmlns:a16="http://schemas.microsoft.com/office/drawing/2014/main" id="{DE66478B-804A-8F96-A29D-F4A3D9696E0C}"/>
              </a:ext>
            </a:extLst>
          </p:cNvPr>
          <p:cNvCxnSpPr>
            <a:cxnSpLocks/>
          </p:cNvCxnSpPr>
          <p:nvPr/>
        </p:nvCxnSpPr>
        <p:spPr>
          <a:xfrm flipH="1">
            <a:off x="7529548" y="2516935"/>
            <a:ext cx="1153209" cy="0"/>
          </a:xfrm>
          <a:prstGeom prst="straightConnector1">
            <a:avLst/>
          </a:prstGeom>
          <a:ln w="25400">
            <a:solidFill>
              <a:schemeClr val="tx1">
                <a:lumMod val="65000"/>
                <a:lumOff val="3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8" name="Speech Bubble: Rectangle 7">
            <a:extLst>
              <a:ext uri="{FF2B5EF4-FFF2-40B4-BE49-F238E27FC236}">
                <a16:creationId xmlns:a16="http://schemas.microsoft.com/office/drawing/2014/main" id="{3F2BBEAF-B4A7-8031-98E2-3E05AD1F7908}"/>
              </a:ext>
            </a:extLst>
          </p:cNvPr>
          <p:cNvSpPr/>
          <p:nvPr/>
        </p:nvSpPr>
        <p:spPr bwMode="gray">
          <a:xfrm>
            <a:off x="8183153" y="1432999"/>
            <a:ext cx="3577705" cy="4239376"/>
          </a:xfrm>
          <a:prstGeom prst="wedgeRectCallout">
            <a:avLst>
              <a:gd name="adj1" fmla="val -91926"/>
              <a:gd name="adj2" fmla="val 58618"/>
            </a:avLst>
          </a:prstGeom>
          <a:solidFill>
            <a:schemeClr val="bg1"/>
          </a:solidFill>
          <a:ln w="2540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DE" sz="1800" b="0" i="0" u="none" strike="noStrike" kern="0" cap="none" spc="0" normalizeH="0" baseline="0" noProof="0" dirty="0" err="1">
              <a:ln>
                <a:noFill/>
              </a:ln>
              <a:effectLst/>
              <a:uLnTx/>
              <a:uFillTx/>
              <a:ea typeface="Arial Unicode MS" pitchFamily="34" charset="-128"/>
              <a:cs typeface="Arial Unicode MS" pitchFamily="34" charset="-128"/>
            </a:endParaRPr>
          </a:p>
        </p:txBody>
      </p:sp>
      <p:sp>
        <p:nvSpPr>
          <p:cNvPr id="11" name="Rectangle 10">
            <a:extLst>
              <a:ext uri="{FF2B5EF4-FFF2-40B4-BE49-F238E27FC236}">
                <a16:creationId xmlns:a16="http://schemas.microsoft.com/office/drawing/2014/main" id="{FA7D63F8-A2FA-EDD6-7D22-7D1DF04D9424}"/>
              </a:ext>
            </a:extLst>
          </p:cNvPr>
          <p:cNvSpPr/>
          <p:nvPr/>
        </p:nvSpPr>
        <p:spPr bwMode="gray">
          <a:xfrm>
            <a:off x="9032383" y="1783335"/>
            <a:ext cx="2500685" cy="340598"/>
          </a:xfrm>
          <a:prstGeom prst="rect">
            <a:avLst/>
          </a:prstGeom>
          <a:noFill/>
          <a:ln w="25400" algn="ctr">
            <a:solidFill>
              <a:schemeClr val="bg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DE" sz="1800" b="0" i="0" u="none" strike="noStrike" kern="0" cap="none" spc="0" normalizeH="0" baseline="0" noProof="0" dirty="0">
                <a:ln>
                  <a:noFill/>
                </a:ln>
                <a:effectLst/>
                <a:uLnTx/>
                <a:uFillTx/>
                <a:ea typeface="Arial Unicode MS" pitchFamily="34" charset="-128"/>
                <a:cs typeface="Arial Unicode MS" pitchFamily="34" charset="-128"/>
              </a:rPr>
              <a:t>BOR Framework</a:t>
            </a:r>
          </a:p>
        </p:txBody>
      </p:sp>
      <p:pic>
        <p:nvPicPr>
          <p:cNvPr id="14" name="Picture 13">
            <a:extLst>
              <a:ext uri="{FF2B5EF4-FFF2-40B4-BE49-F238E27FC236}">
                <a16:creationId xmlns:a16="http://schemas.microsoft.com/office/drawing/2014/main" id="{07AD5C7C-D7DE-9555-6316-F88215E64549}"/>
              </a:ext>
            </a:extLst>
          </p:cNvPr>
          <p:cNvPicPr>
            <a:picLocks noChangeAspect="1"/>
          </p:cNvPicPr>
          <p:nvPr/>
        </p:nvPicPr>
        <p:blipFill>
          <a:blip r:embed="rId11"/>
          <a:stretch>
            <a:fillRect/>
          </a:stretch>
        </p:blipFill>
        <p:spPr>
          <a:xfrm>
            <a:off x="8568992" y="1657376"/>
            <a:ext cx="609601" cy="609601"/>
          </a:xfrm>
          <a:prstGeom prst="rect">
            <a:avLst/>
          </a:prstGeom>
        </p:spPr>
      </p:pic>
      <p:grpSp>
        <p:nvGrpSpPr>
          <p:cNvPr id="22" name="Group 21">
            <a:extLst>
              <a:ext uri="{FF2B5EF4-FFF2-40B4-BE49-F238E27FC236}">
                <a16:creationId xmlns:a16="http://schemas.microsoft.com/office/drawing/2014/main" id="{4C39C9B9-5741-5270-F7EE-189153C1CC1A}"/>
              </a:ext>
            </a:extLst>
          </p:cNvPr>
          <p:cNvGrpSpPr/>
          <p:nvPr/>
        </p:nvGrpSpPr>
        <p:grpSpPr>
          <a:xfrm>
            <a:off x="8619747" y="3077402"/>
            <a:ext cx="2879247" cy="520492"/>
            <a:chOff x="8653820" y="2992472"/>
            <a:chExt cx="2879247" cy="520492"/>
          </a:xfrm>
        </p:grpSpPr>
        <p:sp>
          <p:nvSpPr>
            <p:cNvPr id="13" name="Rectangle 12">
              <a:extLst>
                <a:ext uri="{FF2B5EF4-FFF2-40B4-BE49-F238E27FC236}">
                  <a16:creationId xmlns:a16="http://schemas.microsoft.com/office/drawing/2014/main" id="{83972D37-4A6A-E542-2BA9-DB9C83B90089}"/>
                </a:ext>
              </a:extLst>
            </p:cNvPr>
            <p:cNvSpPr/>
            <p:nvPr/>
          </p:nvSpPr>
          <p:spPr bwMode="gray">
            <a:xfrm>
              <a:off x="9265310" y="3007074"/>
              <a:ext cx="2267757" cy="505890"/>
            </a:xfrm>
            <a:prstGeom prst="rect">
              <a:avLst/>
            </a:prstGeom>
            <a:noFill/>
            <a:ln w="25400" algn="ctr">
              <a:solidFill>
                <a:schemeClr val="bg1"/>
              </a:solidFill>
              <a:miter lim="800000"/>
              <a:headEnd/>
              <a:tailEnd/>
            </a:ln>
          </p:spPr>
          <p:txBody>
            <a:bodyPr lIns="90000" tIns="72000" rIns="90000" bIns="72000" rtlCol="0" anchor="ctr"/>
            <a:lstStyle/>
            <a:p>
              <a:pPr algn="ctr" defTabSz="914400" fontAlgn="base">
                <a:spcBef>
                  <a:spcPct val="50000"/>
                </a:spcBef>
                <a:spcAft>
                  <a:spcPct val="0"/>
                </a:spcAft>
                <a:buClr>
                  <a:srgbClr val="F0AB00"/>
                </a:buClr>
                <a:buSzPct val="80000"/>
              </a:pPr>
              <a:r>
                <a:rPr lang="en-DE" sz="1800" kern="0" dirty="0">
                  <a:ea typeface="Arial Unicode MS" pitchFamily="34" charset="-128"/>
                  <a:cs typeface="Arial Unicode MS" pitchFamily="34" charset="-128"/>
                </a:rPr>
                <a:t>Application Interface Framework (AIF)</a:t>
              </a:r>
            </a:p>
          </p:txBody>
        </p:sp>
        <p:pic>
          <p:nvPicPr>
            <p:cNvPr id="16" name="Picture 15">
              <a:extLst>
                <a:ext uri="{FF2B5EF4-FFF2-40B4-BE49-F238E27FC236}">
                  <a16:creationId xmlns:a16="http://schemas.microsoft.com/office/drawing/2014/main" id="{3F6A61DD-F5E1-7E55-618E-5D0E95A0A8E1}"/>
                </a:ext>
              </a:extLst>
            </p:cNvPr>
            <p:cNvPicPr>
              <a:picLocks noChangeAspect="1"/>
            </p:cNvPicPr>
            <p:nvPr/>
          </p:nvPicPr>
          <p:blipFill>
            <a:blip r:embed="rId12"/>
            <a:stretch>
              <a:fillRect/>
            </a:stretch>
          </p:blipFill>
          <p:spPr>
            <a:xfrm>
              <a:off x="8653820" y="2992472"/>
              <a:ext cx="512167" cy="512167"/>
            </a:xfrm>
            <a:prstGeom prst="rect">
              <a:avLst/>
            </a:prstGeom>
          </p:spPr>
        </p:pic>
      </p:grpSp>
      <p:pic>
        <p:nvPicPr>
          <p:cNvPr id="19" name="Picture 18">
            <a:extLst>
              <a:ext uri="{FF2B5EF4-FFF2-40B4-BE49-F238E27FC236}">
                <a16:creationId xmlns:a16="http://schemas.microsoft.com/office/drawing/2014/main" id="{677734C7-2B1D-2C8F-C86E-A314FB6BDDCA}"/>
              </a:ext>
            </a:extLst>
          </p:cNvPr>
          <p:cNvPicPr>
            <a:picLocks noChangeAspect="1"/>
          </p:cNvPicPr>
          <p:nvPr/>
        </p:nvPicPr>
        <p:blipFill>
          <a:blip r:embed="rId13"/>
          <a:stretch>
            <a:fillRect/>
          </a:stretch>
        </p:blipFill>
        <p:spPr>
          <a:xfrm>
            <a:off x="8716638" y="4640622"/>
            <a:ext cx="525278" cy="525278"/>
          </a:xfrm>
          <a:prstGeom prst="rect">
            <a:avLst/>
          </a:prstGeom>
        </p:spPr>
      </p:pic>
      <p:sp>
        <p:nvSpPr>
          <p:cNvPr id="21" name="Rectangle 20">
            <a:extLst>
              <a:ext uri="{FF2B5EF4-FFF2-40B4-BE49-F238E27FC236}">
                <a16:creationId xmlns:a16="http://schemas.microsoft.com/office/drawing/2014/main" id="{E784C5DC-4DE3-1A01-6C03-35750180E51C}"/>
              </a:ext>
            </a:extLst>
          </p:cNvPr>
          <p:cNvSpPr/>
          <p:nvPr/>
        </p:nvSpPr>
        <p:spPr bwMode="gray">
          <a:xfrm>
            <a:off x="9342946" y="4667733"/>
            <a:ext cx="2267757" cy="505890"/>
          </a:xfrm>
          <a:prstGeom prst="rect">
            <a:avLst/>
          </a:prstGeom>
          <a:noFill/>
          <a:ln w="25400" algn="ctr">
            <a:solidFill>
              <a:schemeClr val="bg1"/>
            </a:solidFill>
            <a:miter lim="800000"/>
            <a:headEnd/>
            <a:tailEnd/>
          </a:ln>
        </p:spPr>
        <p:txBody>
          <a:bodyPr lIns="90000" tIns="72000" rIns="90000" bIns="72000" rtlCol="0" anchor="ctr"/>
          <a:lstStyle/>
          <a:p>
            <a:pPr algn="ctr" defTabSz="914400" fontAlgn="base">
              <a:spcBef>
                <a:spcPct val="50000"/>
              </a:spcBef>
              <a:spcAft>
                <a:spcPct val="0"/>
              </a:spcAft>
              <a:buClr>
                <a:srgbClr val="F0AB00"/>
              </a:buClr>
              <a:buSzPct val="80000"/>
            </a:pPr>
            <a:r>
              <a:rPr lang="en-DE" sz="1800" kern="0" dirty="0">
                <a:ea typeface="Arial Unicode MS" pitchFamily="34" charset="-128"/>
                <a:cs typeface="Arial Unicode MS" pitchFamily="34" charset="-128"/>
              </a:rPr>
              <a:t>HTTP Destination (SM59)</a:t>
            </a:r>
          </a:p>
        </p:txBody>
      </p:sp>
      <p:cxnSp>
        <p:nvCxnSpPr>
          <p:cNvPr id="24" name="Straight Arrow Connector 23">
            <a:extLst>
              <a:ext uri="{FF2B5EF4-FFF2-40B4-BE49-F238E27FC236}">
                <a16:creationId xmlns:a16="http://schemas.microsoft.com/office/drawing/2014/main" id="{C86C94A0-ACE8-E807-6640-B21B96018338}"/>
              </a:ext>
            </a:extLst>
          </p:cNvPr>
          <p:cNvCxnSpPr/>
          <p:nvPr/>
        </p:nvCxnSpPr>
        <p:spPr>
          <a:xfrm>
            <a:off x="9947166" y="2274282"/>
            <a:ext cx="0" cy="678456"/>
          </a:xfrm>
          <a:prstGeom prst="straightConnector1">
            <a:avLst/>
          </a:prstGeom>
          <a:ln w="25400">
            <a:solidFill>
              <a:schemeClr val="tx1"/>
            </a:solidFill>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a16="http://schemas.microsoft.com/office/drawing/2014/main" id="{BA50F6F3-B9E7-D00D-FEBC-16480A50C679}"/>
              </a:ext>
            </a:extLst>
          </p:cNvPr>
          <p:cNvCxnSpPr/>
          <p:nvPr/>
        </p:nvCxnSpPr>
        <p:spPr>
          <a:xfrm>
            <a:off x="9972005" y="3778186"/>
            <a:ext cx="0" cy="678456"/>
          </a:xfrm>
          <a:prstGeom prst="straightConnector1">
            <a:avLst/>
          </a:prstGeom>
          <a:ln w="25400">
            <a:solidFill>
              <a:schemeClr val="tx1"/>
            </a:solidFill>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26" name="Rectangle 25">
            <a:extLst>
              <a:ext uri="{FF2B5EF4-FFF2-40B4-BE49-F238E27FC236}">
                <a16:creationId xmlns:a16="http://schemas.microsoft.com/office/drawing/2014/main" id="{B47D3284-F84D-BBD2-D885-E1108B1D6F42}"/>
              </a:ext>
            </a:extLst>
          </p:cNvPr>
          <p:cNvSpPr/>
          <p:nvPr/>
        </p:nvSpPr>
        <p:spPr bwMode="gray">
          <a:xfrm>
            <a:off x="8343435" y="2487107"/>
            <a:ext cx="1524886" cy="340598"/>
          </a:xfrm>
          <a:prstGeom prst="rect">
            <a:avLst/>
          </a:prstGeom>
          <a:noFill/>
          <a:ln w="25400" algn="ctr">
            <a:solidFill>
              <a:schemeClr val="bg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DE" sz="1050" b="0" i="0" u="none" strike="noStrike" kern="0" cap="none" spc="0" normalizeH="0" baseline="0" noProof="0" dirty="0">
                <a:ln>
                  <a:noFill/>
                </a:ln>
                <a:effectLst/>
                <a:uLnTx/>
                <a:uFillTx/>
                <a:ea typeface="Arial Unicode MS" pitchFamily="34" charset="-128"/>
                <a:cs typeface="Arial Unicode MS" pitchFamily="34" charset="-128"/>
              </a:rPr>
              <a:t>How? AIFAEM Standard Function Module</a:t>
            </a:r>
          </a:p>
        </p:txBody>
      </p:sp>
      <p:sp>
        <p:nvSpPr>
          <p:cNvPr id="27" name="Rectangle 26">
            <a:extLst>
              <a:ext uri="{FF2B5EF4-FFF2-40B4-BE49-F238E27FC236}">
                <a16:creationId xmlns:a16="http://schemas.microsoft.com/office/drawing/2014/main" id="{7F82259E-F77A-67A8-C8BE-B2C3252476F8}"/>
              </a:ext>
            </a:extLst>
          </p:cNvPr>
          <p:cNvSpPr/>
          <p:nvPr/>
        </p:nvSpPr>
        <p:spPr bwMode="gray">
          <a:xfrm>
            <a:off x="8365058" y="3880385"/>
            <a:ext cx="1524886" cy="340598"/>
          </a:xfrm>
          <a:prstGeom prst="rect">
            <a:avLst/>
          </a:prstGeom>
          <a:noFill/>
          <a:ln w="25400" algn="ctr">
            <a:solidFill>
              <a:schemeClr val="bg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DE" sz="1050" b="0" i="0" u="none" strike="noStrike" kern="0" cap="none" spc="0" normalizeH="0" baseline="0" noProof="0" dirty="0">
                <a:ln>
                  <a:noFill/>
                </a:ln>
                <a:effectLst/>
                <a:uLnTx/>
                <a:uFillTx/>
                <a:ea typeface="Arial Unicode MS" pitchFamily="34" charset="-128"/>
                <a:cs typeface="Arial Unicode MS" pitchFamily="34" charset="-128"/>
              </a:rPr>
              <a:t>How? AIFAEM Standard Function Module</a:t>
            </a:r>
          </a:p>
        </p:txBody>
      </p:sp>
      <p:sp>
        <p:nvSpPr>
          <p:cNvPr id="28" name="Rectangle 27">
            <a:extLst>
              <a:ext uri="{FF2B5EF4-FFF2-40B4-BE49-F238E27FC236}">
                <a16:creationId xmlns:a16="http://schemas.microsoft.com/office/drawing/2014/main" id="{AE577AF3-A0A2-BB8C-96E1-6296ED57A481}"/>
              </a:ext>
            </a:extLst>
          </p:cNvPr>
          <p:cNvSpPr/>
          <p:nvPr/>
        </p:nvSpPr>
        <p:spPr bwMode="gray">
          <a:xfrm>
            <a:off x="9983937" y="2459789"/>
            <a:ext cx="1524886" cy="340598"/>
          </a:xfrm>
          <a:prstGeom prst="rect">
            <a:avLst/>
          </a:prstGeom>
          <a:noFill/>
          <a:ln w="25400" algn="ctr">
            <a:solidFill>
              <a:schemeClr val="bg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DE" sz="1050" b="0" i="0" u="none" strike="noStrike" kern="0" cap="none" spc="0" normalizeH="0" baseline="0" noProof="0" dirty="0">
                <a:ln>
                  <a:noFill/>
                </a:ln>
                <a:effectLst/>
                <a:uLnTx/>
                <a:uFillTx/>
                <a:ea typeface="Arial Unicode MS" pitchFamily="34" charset="-128"/>
                <a:cs typeface="Arial Unicode MS" pitchFamily="34" charset="-128"/>
              </a:rPr>
              <a:t>What? </a:t>
            </a:r>
            <a:r>
              <a:rPr lang="en-DE" sz="1050" kern="0" dirty="0">
                <a:ea typeface="Arial Unicode MS" pitchFamily="34" charset="-128"/>
                <a:cs typeface="Arial Unicode MS" pitchFamily="34" charset="-128"/>
              </a:rPr>
              <a:t>Type (e.g. Sales Order), ID (001) and Event (created)</a:t>
            </a:r>
            <a:endParaRPr kumimoji="0" lang="en-DE" sz="105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29" name="Rectangle 28">
            <a:extLst>
              <a:ext uri="{FF2B5EF4-FFF2-40B4-BE49-F238E27FC236}">
                <a16:creationId xmlns:a16="http://schemas.microsoft.com/office/drawing/2014/main" id="{8B665A6F-7359-8CFF-994D-39C5FF9741F0}"/>
              </a:ext>
            </a:extLst>
          </p:cNvPr>
          <p:cNvSpPr/>
          <p:nvPr/>
        </p:nvSpPr>
        <p:spPr bwMode="gray">
          <a:xfrm>
            <a:off x="10063785" y="3926347"/>
            <a:ext cx="1524886" cy="340598"/>
          </a:xfrm>
          <a:prstGeom prst="rect">
            <a:avLst/>
          </a:prstGeom>
          <a:noFill/>
          <a:ln w="25400" algn="ctr">
            <a:solidFill>
              <a:schemeClr val="bg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lang="de-DE" sz="1050" kern="0" dirty="0">
                <a:ea typeface="Arial Unicode MS" pitchFamily="34" charset="-128"/>
                <a:cs typeface="Arial Unicode MS" pitchFamily="34" charset="-128"/>
              </a:rPr>
              <a:t>S</a:t>
            </a:r>
            <a:r>
              <a:rPr lang="en-DE" sz="1050" kern="0" dirty="0">
                <a:ea typeface="Arial Unicode MS" pitchFamily="34" charset="-128"/>
                <a:cs typeface="Arial Unicode MS" pitchFamily="34" charset="-128"/>
              </a:rPr>
              <a:t>elf-designed ABAP Structure customized into AIF &amp; converted to JSON</a:t>
            </a:r>
            <a:endParaRPr kumimoji="0" lang="en-DE" sz="1050" b="0" i="0" u="none" strike="noStrike" kern="0" cap="none" spc="0" normalizeH="0" baseline="0" noProof="0" dirty="0">
              <a:ln>
                <a:noFill/>
              </a:ln>
              <a:effectLst/>
              <a:uLnTx/>
              <a:uFillTx/>
              <a:ea typeface="Arial Unicode MS" pitchFamily="34" charset="-128"/>
              <a:cs typeface="Arial Unicode MS" pitchFamily="34" charset="-128"/>
            </a:endParaRPr>
          </a:p>
        </p:txBody>
      </p:sp>
    </p:spTree>
    <p:extLst>
      <p:ext uri="{BB962C8B-B14F-4D97-AF65-F5344CB8AC3E}">
        <p14:creationId xmlns:p14="http://schemas.microsoft.com/office/powerpoint/2010/main" val="3380907961"/>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022CA2D-9541-8B38-C6C0-58718718E9C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1CCDA1C-73E8-3FE8-7FD4-03D9DB676A1C}"/>
              </a:ext>
            </a:extLst>
          </p:cNvPr>
          <p:cNvSpPr>
            <a:spLocks noGrp="1"/>
          </p:cNvSpPr>
          <p:nvPr>
            <p:ph type="title"/>
          </p:nvPr>
        </p:nvSpPr>
        <p:spPr/>
        <p:txBody>
          <a:bodyPr/>
          <a:lstStyle/>
          <a:p>
            <a:r>
              <a:rPr lang="en-US" dirty="0"/>
              <a:t>Topic</a:t>
            </a:r>
            <a:r>
              <a:rPr lang="en-DE" dirty="0"/>
              <a:t> 5 – Expected Result on Event Publisher</a:t>
            </a:r>
          </a:p>
        </p:txBody>
      </p:sp>
      <p:sp>
        <p:nvSpPr>
          <p:cNvPr id="6" name="Text Placeholder 2">
            <a:extLst>
              <a:ext uri="{FF2B5EF4-FFF2-40B4-BE49-F238E27FC236}">
                <a16:creationId xmlns:a16="http://schemas.microsoft.com/office/drawing/2014/main" id="{4772A9AA-9D2E-26D6-6FDD-7CCF7CAF88EA}"/>
              </a:ext>
            </a:extLst>
          </p:cNvPr>
          <p:cNvSpPr>
            <a:spLocks noGrp="1"/>
          </p:cNvSpPr>
          <p:nvPr>
            <p:ph type="body" sz="quarter" idx="10"/>
          </p:nvPr>
        </p:nvSpPr>
        <p:spPr>
          <a:xfrm>
            <a:off x="203962" y="1677387"/>
            <a:ext cx="4332320" cy="2230244"/>
          </a:xfrm>
        </p:spPr>
        <p:txBody>
          <a:bodyPr/>
          <a:lstStyle/>
          <a:p>
            <a:pPr lvl="1" indent="0">
              <a:buNone/>
            </a:pPr>
            <a:r>
              <a:rPr lang="en-DE" dirty="0"/>
              <a:t>Change of </a:t>
            </a:r>
            <a:r>
              <a:rPr lang="en-DE" dirty="0" err="1"/>
              <a:t>SalesOrder</a:t>
            </a:r>
            <a:r>
              <a:rPr lang="en-DE" dirty="0"/>
              <a:t> (VA02)</a:t>
            </a:r>
          </a:p>
        </p:txBody>
      </p:sp>
      <p:pic>
        <p:nvPicPr>
          <p:cNvPr id="8" name="Picture 7">
            <a:extLst>
              <a:ext uri="{FF2B5EF4-FFF2-40B4-BE49-F238E27FC236}">
                <a16:creationId xmlns:a16="http://schemas.microsoft.com/office/drawing/2014/main" id="{919D3203-6F21-B818-8492-B8F5CBA0B26A}"/>
              </a:ext>
            </a:extLst>
          </p:cNvPr>
          <p:cNvPicPr>
            <a:picLocks noChangeAspect="1"/>
          </p:cNvPicPr>
          <p:nvPr/>
        </p:nvPicPr>
        <p:blipFill>
          <a:blip r:embed="rId2"/>
          <a:stretch>
            <a:fillRect/>
          </a:stretch>
        </p:blipFill>
        <p:spPr>
          <a:xfrm>
            <a:off x="378619" y="1995907"/>
            <a:ext cx="3488303" cy="2711824"/>
          </a:xfrm>
          <a:prstGeom prst="rect">
            <a:avLst/>
          </a:prstGeom>
          <a:ln>
            <a:noFill/>
          </a:ln>
          <a:effectLst>
            <a:outerShdw blurRad="292100" dist="139700" dir="2700000" algn="tl" rotWithShape="0">
              <a:srgbClr val="333333">
                <a:alpha val="65000"/>
              </a:srgbClr>
            </a:outerShdw>
          </a:effectLst>
        </p:spPr>
      </p:pic>
      <p:pic>
        <p:nvPicPr>
          <p:cNvPr id="10" name="Picture 9">
            <a:extLst>
              <a:ext uri="{FF2B5EF4-FFF2-40B4-BE49-F238E27FC236}">
                <a16:creationId xmlns:a16="http://schemas.microsoft.com/office/drawing/2014/main" id="{18B65276-4321-6284-2934-C051EFA0A6F4}"/>
              </a:ext>
            </a:extLst>
          </p:cNvPr>
          <p:cNvPicPr>
            <a:picLocks noChangeAspect="1"/>
          </p:cNvPicPr>
          <p:nvPr/>
        </p:nvPicPr>
        <p:blipFill>
          <a:blip r:embed="rId3"/>
          <a:stretch>
            <a:fillRect/>
          </a:stretch>
        </p:blipFill>
        <p:spPr>
          <a:xfrm>
            <a:off x="4461233" y="1995907"/>
            <a:ext cx="7370969" cy="2711824"/>
          </a:xfrm>
          <a:prstGeom prst="rect">
            <a:avLst/>
          </a:prstGeom>
          <a:ln>
            <a:noFill/>
          </a:ln>
          <a:effectLst>
            <a:outerShdw blurRad="292100" dist="139700" dir="2700000" algn="tl" rotWithShape="0">
              <a:srgbClr val="333333">
                <a:alpha val="65000"/>
              </a:srgbClr>
            </a:outerShdw>
          </a:effectLst>
        </p:spPr>
      </p:pic>
      <p:sp>
        <p:nvSpPr>
          <p:cNvPr id="11" name="Text Placeholder 2">
            <a:extLst>
              <a:ext uri="{FF2B5EF4-FFF2-40B4-BE49-F238E27FC236}">
                <a16:creationId xmlns:a16="http://schemas.microsoft.com/office/drawing/2014/main" id="{82D756E3-DA4B-BCAE-AD5D-626A044D0972}"/>
              </a:ext>
            </a:extLst>
          </p:cNvPr>
          <p:cNvSpPr txBox="1">
            <a:spLocks/>
          </p:cNvSpPr>
          <p:nvPr/>
        </p:nvSpPr>
        <p:spPr bwMode="black">
          <a:xfrm>
            <a:off x="4328302" y="1692663"/>
            <a:ext cx="4332320" cy="2230244"/>
          </a:xfrm>
          <a:prstGeom prst="rect">
            <a:avLst/>
          </a:prstGeom>
        </p:spPr>
        <p:txBody>
          <a:bodyPr vert="horz" lIns="0" tIns="0" rIns="0" bIns="0" rtlCol="0">
            <a:normAutofit/>
          </a:bodyPr>
          <a:lstStyle>
            <a:lvl1pPr marL="0" indent="0" algn="l" defTabSz="1088558" rtl="0" eaLnBrk="1" latinLnBrk="0" hangingPunct="1">
              <a:spcBef>
                <a:spcPts val="1800"/>
              </a:spcBef>
              <a:buClrTx/>
              <a:buSzPct val="80000"/>
              <a:buFont typeface="Roboto" panose="02000000000000000000" pitchFamily="2" charset="0"/>
              <a:buChar char="​"/>
              <a:defRPr sz="2000" b="0" i="0" kern="1200">
                <a:solidFill>
                  <a:schemeClr val="tx1"/>
                </a:solidFill>
                <a:latin typeface="72 Brand" panose="020B0504030603020204" pitchFamily="34" charset="0"/>
                <a:ea typeface="+mn-ea"/>
                <a:cs typeface="+mn-cs"/>
              </a:defRPr>
            </a:lvl1pPr>
            <a:lvl2pPr marL="179964" indent="-179964" algn="l" defTabSz="1088558" rtl="0" eaLnBrk="1" latinLnBrk="0" hangingPunct="1">
              <a:spcBef>
                <a:spcPts val="600"/>
              </a:spcBef>
              <a:buClr>
                <a:schemeClr val="tx1"/>
              </a:buClr>
              <a:buSzPct val="100000"/>
              <a:buFont typeface="Arial" panose="020B0604020202020204" pitchFamily="34" charset="0"/>
              <a:buChar char="•"/>
              <a:defRPr sz="1800" b="0" i="0" kern="1200">
                <a:solidFill>
                  <a:schemeClr val="tx1"/>
                </a:solidFill>
                <a:latin typeface="72 Brand" panose="020B0504030603020204" pitchFamily="34" charset="0"/>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b="0" i="0" kern="1200" noProof="0" dirty="0" smtClean="0">
                <a:solidFill>
                  <a:schemeClr val="tx1"/>
                </a:solidFill>
                <a:latin typeface="72 Brand" panose="020B0504030603020204" pitchFamily="34" charset="0"/>
                <a:ea typeface="+mn-ea"/>
                <a:cs typeface="+mn-cs"/>
              </a:defRPr>
            </a:lvl3pPr>
            <a:lvl4pPr marL="539892" indent="-179964" algn="l" defTabSz="1088558" rtl="0" eaLnBrk="1" latinLnBrk="0" hangingPunct="1">
              <a:spcBef>
                <a:spcPts val="300"/>
              </a:spcBef>
              <a:buClr>
                <a:schemeClr val="tx1"/>
              </a:buClr>
              <a:buSzPct val="80000"/>
              <a:buFont typeface="Courier New" panose="02070309020205020404" pitchFamily="49" charset="0"/>
              <a:buChar char="o"/>
              <a:defRPr sz="1600" b="0" i="0" kern="1200">
                <a:solidFill>
                  <a:schemeClr val="tx1"/>
                </a:solidFill>
                <a:latin typeface="72 Brand" panose="020B0504030603020204" pitchFamily="34" charset="0"/>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b="0" i="0" kern="1200" baseline="0">
                <a:solidFill>
                  <a:schemeClr val="tx1"/>
                </a:solidFill>
                <a:latin typeface="72 Brand" panose="020B0504030603020204" pitchFamily="34" charset="0"/>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lvl="1" indent="0">
              <a:buFont typeface="Arial" panose="020B0604020202020204" pitchFamily="34" charset="0"/>
              <a:buNone/>
            </a:pPr>
            <a:r>
              <a:rPr lang="en-DE" dirty="0"/>
              <a:t>AIF Monitoring (/N/AIF/ERR)</a:t>
            </a:r>
          </a:p>
        </p:txBody>
      </p:sp>
      <p:cxnSp>
        <p:nvCxnSpPr>
          <p:cNvPr id="15" name="Straight Arrow Connector 14">
            <a:extLst>
              <a:ext uri="{FF2B5EF4-FFF2-40B4-BE49-F238E27FC236}">
                <a16:creationId xmlns:a16="http://schemas.microsoft.com/office/drawing/2014/main" id="{DB019DD9-8D81-8A0D-2BB2-08CFD7B18F64}"/>
              </a:ext>
            </a:extLst>
          </p:cNvPr>
          <p:cNvCxnSpPr>
            <a:stCxn id="8" idx="3"/>
            <a:endCxn id="10" idx="1"/>
          </p:cNvCxnSpPr>
          <p:nvPr/>
        </p:nvCxnSpPr>
        <p:spPr>
          <a:xfrm>
            <a:off x="3866922" y="3351819"/>
            <a:ext cx="594311" cy="0"/>
          </a:xfrm>
          <a:prstGeom prst="straightConnector1">
            <a:avLst/>
          </a:prstGeom>
          <a:ln w="25400">
            <a:solidFill>
              <a:schemeClr val="tx1"/>
            </a:solidFill>
            <a:headEnd type="none" w="med" len="med"/>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61022417"/>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022CA2D-9541-8B38-C6C0-58718718E9C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1CCDA1C-73E8-3FE8-7FD4-03D9DB676A1C}"/>
              </a:ext>
            </a:extLst>
          </p:cNvPr>
          <p:cNvSpPr>
            <a:spLocks noGrp="1"/>
          </p:cNvSpPr>
          <p:nvPr>
            <p:ph type="title"/>
          </p:nvPr>
        </p:nvSpPr>
        <p:spPr/>
        <p:txBody>
          <a:bodyPr/>
          <a:lstStyle/>
          <a:p>
            <a:r>
              <a:rPr lang="en-US" dirty="0"/>
              <a:t>Topic</a:t>
            </a:r>
            <a:r>
              <a:rPr lang="en-DE" dirty="0"/>
              <a:t> 5 – Expected Result on AEM</a:t>
            </a:r>
          </a:p>
        </p:txBody>
      </p:sp>
      <p:sp>
        <p:nvSpPr>
          <p:cNvPr id="6" name="Text Placeholder 2">
            <a:extLst>
              <a:ext uri="{FF2B5EF4-FFF2-40B4-BE49-F238E27FC236}">
                <a16:creationId xmlns:a16="http://schemas.microsoft.com/office/drawing/2014/main" id="{4772A9AA-9D2E-26D6-6FDD-7CCF7CAF88EA}"/>
              </a:ext>
            </a:extLst>
          </p:cNvPr>
          <p:cNvSpPr>
            <a:spLocks noGrp="1"/>
          </p:cNvSpPr>
          <p:nvPr>
            <p:ph type="body" sz="quarter" idx="10"/>
          </p:nvPr>
        </p:nvSpPr>
        <p:spPr>
          <a:xfrm>
            <a:off x="403987" y="1127319"/>
            <a:ext cx="4332320" cy="2230244"/>
          </a:xfrm>
        </p:spPr>
        <p:txBody>
          <a:bodyPr/>
          <a:lstStyle/>
          <a:p>
            <a:pPr lvl="1" indent="0">
              <a:buNone/>
            </a:pPr>
            <a:r>
              <a:rPr lang="en-DE" dirty="0" err="1"/>
              <a:t>TryMe</a:t>
            </a:r>
            <a:r>
              <a:rPr lang="en-DE" dirty="0"/>
              <a:t> – Functionality on AEM</a:t>
            </a:r>
          </a:p>
        </p:txBody>
      </p:sp>
      <p:pic>
        <p:nvPicPr>
          <p:cNvPr id="13" name="Picture 12">
            <a:extLst>
              <a:ext uri="{FF2B5EF4-FFF2-40B4-BE49-F238E27FC236}">
                <a16:creationId xmlns:a16="http://schemas.microsoft.com/office/drawing/2014/main" id="{790772ED-DC6B-3444-299C-BCA7463994AD}"/>
              </a:ext>
            </a:extLst>
          </p:cNvPr>
          <p:cNvPicPr>
            <a:picLocks noChangeAspect="1"/>
          </p:cNvPicPr>
          <p:nvPr/>
        </p:nvPicPr>
        <p:blipFill>
          <a:blip r:embed="rId2"/>
          <a:stretch>
            <a:fillRect/>
          </a:stretch>
        </p:blipFill>
        <p:spPr>
          <a:xfrm>
            <a:off x="504000" y="1571624"/>
            <a:ext cx="8932153" cy="4143782"/>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421095632"/>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022CA2D-9541-8B38-C6C0-58718718E9C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1CCDA1C-73E8-3FE8-7FD4-03D9DB676A1C}"/>
              </a:ext>
            </a:extLst>
          </p:cNvPr>
          <p:cNvSpPr>
            <a:spLocks noGrp="1"/>
          </p:cNvSpPr>
          <p:nvPr>
            <p:ph type="title"/>
          </p:nvPr>
        </p:nvSpPr>
        <p:spPr/>
        <p:txBody>
          <a:bodyPr/>
          <a:lstStyle/>
          <a:p>
            <a:r>
              <a:rPr lang="en-US" dirty="0"/>
              <a:t>Topic</a:t>
            </a:r>
            <a:r>
              <a:rPr lang="en-DE" dirty="0"/>
              <a:t> 5 – AIF: Expected Result on Dashboard</a:t>
            </a:r>
          </a:p>
        </p:txBody>
      </p:sp>
      <p:pic>
        <p:nvPicPr>
          <p:cNvPr id="4" name="Picture 3">
            <a:extLst>
              <a:ext uri="{FF2B5EF4-FFF2-40B4-BE49-F238E27FC236}">
                <a16:creationId xmlns:a16="http://schemas.microsoft.com/office/drawing/2014/main" id="{BBE01B1F-4CB0-9BC6-2F90-A433555E535D}"/>
              </a:ext>
            </a:extLst>
          </p:cNvPr>
          <p:cNvPicPr>
            <a:picLocks noChangeAspect="1"/>
          </p:cNvPicPr>
          <p:nvPr/>
        </p:nvPicPr>
        <p:blipFill>
          <a:blip r:embed="rId2"/>
          <a:stretch>
            <a:fillRect/>
          </a:stretch>
        </p:blipFill>
        <p:spPr>
          <a:xfrm>
            <a:off x="564709" y="1100037"/>
            <a:ext cx="8950766" cy="4928923"/>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62663654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9C5A9C71-CB52-9DE7-334D-DA99F6CE0DD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A8BFCCE-F072-C9E9-2B97-BE7CE1944150}"/>
              </a:ext>
            </a:extLst>
          </p:cNvPr>
          <p:cNvSpPr>
            <a:spLocks noGrp="1"/>
          </p:cNvSpPr>
          <p:nvPr>
            <p:ph type="title"/>
          </p:nvPr>
        </p:nvSpPr>
        <p:spPr/>
        <p:txBody>
          <a:bodyPr/>
          <a:lstStyle/>
          <a:p>
            <a:r>
              <a:rPr lang="en-US" dirty="0"/>
              <a:t>S/4HANA Event Enablement : Highlights and Selected Features </a:t>
            </a:r>
            <a:endParaRPr lang="en-DE" dirty="0"/>
          </a:p>
        </p:txBody>
      </p:sp>
      <p:sp>
        <p:nvSpPr>
          <p:cNvPr id="9" name="Text Placeholder 2">
            <a:extLst>
              <a:ext uri="{FF2B5EF4-FFF2-40B4-BE49-F238E27FC236}">
                <a16:creationId xmlns:a16="http://schemas.microsoft.com/office/drawing/2014/main" id="{9A73F9A4-ED67-3CB0-72B3-E501FB121C32}"/>
              </a:ext>
            </a:extLst>
          </p:cNvPr>
          <p:cNvSpPr>
            <a:spLocks noGrp="1"/>
          </p:cNvSpPr>
          <p:nvPr>
            <p:ph type="body" sz="quarter" idx="10"/>
          </p:nvPr>
        </p:nvSpPr>
        <p:spPr>
          <a:xfrm>
            <a:off x="504002" y="1657891"/>
            <a:ext cx="4313095" cy="4778662"/>
          </a:xfrm>
        </p:spPr>
        <p:txBody>
          <a:bodyPr>
            <a:normAutofit fontScale="77500" lnSpcReduction="20000"/>
          </a:bodyPr>
          <a:lstStyle/>
          <a:p>
            <a:r>
              <a:rPr lang="en-GB" dirty="0">
                <a:solidFill>
                  <a:srgbClr val="3C3C3C"/>
                </a:solidFill>
                <a:latin typeface="+mn-lt"/>
              </a:rPr>
              <a:t>SAP standard approach </a:t>
            </a:r>
            <a:r>
              <a:rPr lang="en-GB" b="1" dirty="0">
                <a:solidFill>
                  <a:srgbClr val="3C3C3C"/>
                </a:solidFill>
                <a:latin typeface="+mn-lt"/>
              </a:rPr>
              <a:t>fully in line with Clean Core </a:t>
            </a:r>
            <a:r>
              <a:rPr lang="en-GB" dirty="0">
                <a:solidFill>
                  <a:srgbClr val="3C3C3C"/>
                </a:solidFill>
                <a:latin typeface="+mn-lt"/>
              </a:rPr>
              <a:t>initiative and </a:t>
            </a:r>
            <a:r>
              <a:rPr lang="en-GB" b="1" dirty="0">
                <a:solidFill>
                  <a:srgbClr val="3C3C3C"/>
                </a:solidFill>
                <a:latin typeface="+mn-lt"/>
              </a:rPr>
              <a:t>highly scalable </a:t>
            </a:r>
            <a:endParaRPr lang="en-GB" dirty="0">
              <a:solidFill>
                <a:srgbClr val="3C3C3C"/>
              </a:solidFill>
              <a:latin typeface="+mn-lt"/>
            </a:endParaRPr>
          </a:p>
          <a:p>
            <a:r>
              <a:rPr lang="en-GB" b="1" dirty="0">
                <a:solidFill>
                  <a:srgbClr val="3C3C3C"/>
                </a:solidFill>
                <a:latin typeface="+mn-lt"/>
              </a:rPr>
              <a:t>Natively integrated RAP solution</a:t>
            </a:r>
            <a:r>
              <a:rPr lang="en-GB" dirty="0">
                <a:solidFill>
                  <a:srgbClr val="3C3C3C"/>
                </a:solidFill>
                <a:latin typeface="+mn-lt"/>
              </a:rPr>
              <a:t>, inheriting all RAP qualities: extensibility, documentability, supportability and testability.</a:t>
            </a:r>
          </a:p>
          <a:p>
            <a:r>
              <a:rPr lang="en-GB" dirty="0">
                <a:solidFill>
                  <a:srgbClr val="3C3C3C"/>
                </a:solidFill>
                <a:latin typeface="+mn-lt"/>
              </a:rPr>
              <a:t>Builds on </a:t>
            </a:r>
            <a:r>
              <a:rPr lang="en-GB" b="1" dirty="0">
                <a:solidFill>
                  <a:srgbClr val="3C3C3C"/>
                </a:solidFill>
                <a:latin typeface="+mn-lt"/>
              </a:rPr>
              <a:t>standard RAP based, SAP provided events </a:t>
            </a:r>
            <a:r>
              <a:rPr lang="en-GB" dirty="0">
                <a:solidFill>
                  <a:srgbClr val="3C3C3C"/>
                </a:solidFill>
                <a:latin typeface="+mn-lt"/>
              </a:rPr>
              <a:t>in CloudEvents format</a:t>
            </a:r>
          </a:p>
          <a:p>
            <a:r>
              <a:rPr lang="en-GB" dirty="0">
                <a:solidFill>
                  <a:srgbClr val="3C3C3C"/>
                </a:solidFill>
                <a:latin typeface="+mn-lt"/>
              </a:rPr>
              <a:t>Easy </a:t>
            </a:r>
            <a:r>
              <a:rPr lang="en-GB" b="1" dirty="0">
                <a:solidFill>
                  <a:srgbClr val="3C3C3C"/>
                </a:solidFill>
                <a:latin typeface="+mn-lt"/>
              </a:rPr>
              <a:t>enhancements and extension of standard events </a:t>
            </a:r>
            <a:r>
              <a:rPr lang="en-GB" dirty="0">
                <a:solidFill>
                  <a:srgbClr val="3C3C3C"/>
                </a:solidFill>
                <a:latin typeface="+mn-lt"/>
              </a:rPr>
              <a:t>(e.g. context attributes, additional payload, removal of payload)</a:t>
            </a:r>
          </a:p>
          <a:p>
            <a:r>
              <a:rPr lang="en-GB" dirty="0">
                <a:solidFill>
                  <a:srgbClr val="3C3C3C"/>
                </a:solidFill>
                <a:latin typeface="+mn-lt"/>
              </a:rPr>
              <a:t>Provides </a:t>
            </a:r>
            <a:r>
              <a:rPr lang="en-GB" b="1" dirty="0">
                <a:solidFill>
                  <a:srgbClr val="3C3C3C"/>
                </a:solidFill>
                <a:latin typeface="+mn-lt"/>
              </a:rPr>
              <a:t>performance optimization </a:t>
            </a:r>
            <a:r>
              <a:rPr lang="en-GB" dirty="0">
                <a:solidFill>
                  <a:srgbClr val="3C3C3C"/>
                </a:solidFill>
                <a:latin typeface="+mn-lt"/>
              </a:rPr>
              <a:t>features (e.g. source side filtering, local event handling)</a:t>
            </a:r>
          </a:p>
          <a:p>
            <a:r>
              <a:rPr lang="en-GB" dirty="0">
                <a:solidFill>
                  <a:srgbClr val="3C3C3C"/>
                </a:solidFill>
                <a:latin typeface="+mn-lt"/>
              </a:rPr>
              <a:t>Allows for creation of </a:t>
            </a:r>
            <a:r>
              <a:rPr lang="en-GB" b="1" dirty="0">
                <a:solidFill>
                  <a:srgbClr val="3C3C3C"/>
                </a:solidFill>
                <a:latin typeface="+mn-lt"/>
              </a:rPr>
              <a:t>custom events </a:t>
            </a:r>
            <a:r>
              <a:rPr lang="en-GB" dirty="0">
                <a:solidFill>
                  <a:srgbClr val="3C3C3C"/>
                </a:solidFill>
                <a:latin typeface="+mn-lt"/>
              </a:rPr>
              <a:t>based on RAP approach and concepts</a:t>
            </a:r>
          </a:p>
          <a:p>
            <a:r>
              <a:rPr lang="en-GB" dirty="0">
                <a:solidFill>
                  <a:srgbClr val="3C3C3C"/>
                </a:solidFill>
                <a:latin typeface="+mn-lt"/>
              </a:rPr>
              <a:t>Allows for </a:t>
            </a:r>
            <a:r>
              <a:rPr lang="en-GB" b="1" dirty="0">
                <a:solidFill>
                  <a:srgbClr val="3C3C3C"/>
                </a:solidFill>
                <a:latin typeface="+mn-lt"/>
              </a:rPr>
              <a:t>Outbound</a:t>
            </a:r>
            <a:r>
              <a:rPr lang="en-GB" dirty="0">
                <a:solidFill>
                  <a:srgbClr val="3C3C3C"/>
                </a:solidFill>
                <a:latin typeface="+mn-lt"/>
              </a:rPr>
              <a:t> </a:t>
            </a:r>
            <a:r>
              <a:rPr lang="en-GB" b="1" dirty="0">
                <a:solidFill>
                  <a:srgbClr val="3C3C3C"/>
                </a:solidFill>
                <a:latin typeface="+mn-lt"/>
              </a:rPr>
              <a:t>and Inbound </a:t>
            </a:r>
            <a:r>
              <a:rPr lang="en-GB" dirty="0">
                <a:solidFill>
                  <a:srgbClr val="3C3C3C"/>
                </a:solidFill>
                <a:latin typeface="+mn-lt"/>
              </a:rPr>
              <a:t>Events</a:t>
            </a:r>
          </a:p>
          <a:p>
            <a:r>
              <a:rPr lang="en-GB" dirty="0">
                <a:solidFill>
                  <a:srgbClr val="3C3C3C"/>
                </a:solidFill>
                <a:latin typeface="+mn-lt"/>
              </a:rPr>
              <a:t> </a:t>
            </a:r>
          </a:p>
        </p:txBody>
      </p:sp>
      <p:pic>
        <p:nvPicPr>
          <p:cNvPr id="13" name="Picture 12">
            <a:extLst>
              <a:ext uri="{FF2B5EF4-FFF2-40B4-BE49-F238E27FC236}">
                <a16:creationId xmlns:a16="http://schemas.microsoft.com/office/drawing/2014/main" id="{87394D95-A75B-2DB3-3F18-12604997FABA}"/>
              </a:ext>
            </a:extLst>
          </p:cNvPr>
          <p:cNvPicPr>
            <a:picLocks noChangeAspect="1"/>
          </p:cNvPicPr>
          <p:nvPr/>
        </p:nvPicPr>
        <p:blipFill>
          <a:blip r:embed="rId2"/>
          <a:stretch>
            <a:fillRect/>
          </a:stretch>
        </p:blipFill>
        <p:spPr>
          <a:xfrm>
            <a:off x="4884688" y="1657891"/>
            <a:ext cx="7191048" cy="4086587"/>
          </a:xfrm>
          <a:prstGeom prst="rect">
            <a:avLst/>
          </a:prstGeom>
        </p:spPr>
      </p:pic>
    </p:spTree>
    <p:extLst>
      <p:ext uri="{BB962C8B-B14F-4D97-AF65-F5344CB8AC3E}">
        <p14:creationId xmlns:p14="http://schemas.microsoft.com/office/powerpoint/2010/main" val="804722400"/>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lowchart: Off-page Connector 5">
            <a:extLst>
              <a:ext uri="{FF2B5EF4-FFF2-40B4-BE49-F238E27FC236}">
                <a16:creationId xmlns:a16="http://schemas.microsoft.com/office/drawing/2014/main" id="{EE372C4B-7ADB-D432-41D2-5817C36C4086}"/>
              </a:ext>
            </a:extLst>
          </p:cNvPr>
          <p:cNvSpPr/>
          <p:nvPr/>
        </p:nvSpPr>
        <p:spPr bwMode="gray">
          <a:xfrm>
            <a:off x="5070223" y="1374090"/>
            <a:ext cx="2514537" cy="497052"/>
          </a:xfrm>
          <a:prstGeom prst="rect">
            <a:avLst/>
          </a:prstGeom>
          <a:noFill/>
          <a:ln w="25400" algn="ctr">
            <a:noFill/>
            <a:miter lim="800000"/>
            <a:headEnd/>
            <a:tailEnd/>
          </a:ln>
          <a:effectLst/>
        </p:spPr>
        <p:txBody>
          <a:bodyPr lIns="0" tIns="0" rIns="0" bIns="0" rtlCol="0" anchor="ctr" anchorCtr="0"/>
          <a:lstStyle/>
          <a:p>
            <a:pPr marL="0" marR="0" lvl="0" indent="0" algn="l" defTabSz="914400" rtl="0" eaLnBrk="1" fontAlgn="base" latinLnBrk="0" hangingPunct="1">
              <a:lnSpc>
                <a:spcPct val="100000"/>
              </a:lnSpc>
              <a:spcBef>
                <a:spcPct val="50000"/>
              </a:spcBef>
              <a:spcAft>
                <a:spcPct val="0"/>
              </a:spcAft>
              <a:buClr>
                <a:srgbClr val="F0AB00"/>
              </a:buClr>
              <a:buSzPct val="80000"/>
              <a:buFontTx/>
              <a:buNone/>
              <a:tabLst/>
              <a:defRPr/>
            </a:pPr>
            <a:r>
              <a:rPr kumimoji="0" lang="en-GB" sz="2000" b="0" i="0" u="none" strike="noStrike" kern="0" cap="none" spc="0" normalizeH="0" baseline="0" noProof="0" dirty="0">
                <a:ln>
                  <a:noFill/>
                </a:ln>
                <a:solidFill>
                  <a:srgbClr val="36A41D"/>
                </a:solidFill>
                <a:effectLst/>
                <a:uLnTx/>
                <a:uFillTx/>
                <a:latin typeface="72 Brand Medium" panose="020B0504030603020204" pitchFamily="34" charset="0"/>
                <a:ea typeface="Arial Unicode MS" pitchFamily="34" charset="-128"/>
                <a:cs typeface="+mn-cs"/>
              </a:rPr>
              <a:t>Technical Resources</a:t>
            </a:r>
          </a:p>
        </p:txBody>
      </p:sp>
      <p:sp>
        <p:nvSpPr>
          <p:cNvPr id="7" name="Flowchart: Off-page Connector 6">
            <a:extLst>
              <a:ext uri="{FF2B5EF4-FFF2-40B4-BE49-F238E27FC236}">
                <a16:creationId xmlns:a16="http://schemas.microsoft.com/office/drawing/2014/main" id="{339F7D0F-CB1C-F4C8-7A5B-5F67C8FDA5F4}"/>
              </a:ext>
            </a:extLst>
          </p:cNvPr>
          <p:cNvSpPr/>
          <p:nvPr/>
        </p:nvSpPr>
        <p:spPr bwMode="gray">
          <a:xfrm>
            <a:off x="989104" y="1379008"/>
            <a:ext cx="3233587" cy="497052"/>
          </a:xfrm>
          <a:prstGeom prst="rect">
            <a:avLst/>
          </a:prstGeom>
          <a:noFill/>
          <a:ln w="25400" algn="ctr">
            <a:noFill/>
            <a:miter lim="800000"/>
            <a:headEnd/>
            <a:tailEnd/>
          </a:ln>
          <a:effectLst/>
        </p:spPr>
        <p:txBody>
          <a:bodyPr lIns="0" tIns="0" rIns="0" bIns="0" rtlCol="0" anchor="ctr" anchorCtr="0"/>
          <a:lstStyle/>
          <a:p>
            <a:pPr marL="0" marR="0" lvl="0" indent="0" algn="l" defTabSz="914400" rtl="0" eaLnBrk="1" fontAlgn="base" latinLnBrk="0" hangingPunct="1">
              <a:lnSpc>
                <a:spcPct val="100000"/>
              </a:lnSpc>
              <a:spcBef>
                <a:spcPct val="50000"/>
              </a:spcBef>
              <a:spcAft>
                <a:spcPct val="0"/>
              </a:spcAft>
              <a:buClr>
                <a:srgbClr val="F0AB00"/>
              </a:buClr>
              <a:buSzPct val="80000"/>
              <a:buFontTx/>
              <a:buNone/>
              <a:tabLst/>
              <a:defRPr/>
            </a:pPr>
            <a:r>
              <a:rPr kumimoji="0" lang="en-GB" sz="2000" b="0" i="0" u="none" strike="noStrike" kern="0" cap="none" spc="0" normalizeH="0" baseline="0" noProof="0" dirty="0">
                <a:ln>
                  <a:noFill/>
                </a:ln>
                <a:solidFill>
                  <a:srgbClr val="F31DED"/>
                </a:solidFill>
                <a:effectLst/>
                <a:uLnTx/>
                <a:uFillTx/>
                <a:latin typeface="72 Brand Medium" panose="020B0504030603020204" pitchFamily="34" charset="0"/>
                <a:ea typeface="Arial Unicode MS" pitchFamily="34" charset="-128"/>
                <a:cs typeface="+mn-cs"/>
              </a:rPr>
              <a:t>Blogs Getting You Started</a:t>
            </a:r>
          </a:p>
        </p:txBody>
      </p:sp>
      <p:sp>
        <p:nvSpPr>
          <p:cNvPr id="8" name="Flowchart: Off-page Connector 7">
            <a:extLst>
              <a:ext uri="{FF2B5EF4-FFF2-40B4-BE49-F238E27FC236}">
                <a16:creationId xmlns:a16="http://schemas.microsoft.com/office/drawing/2014/main" id="{8925B7FD-45B1-1C4B-4CF0-9CB1AE769CC5}"/>
              </a:ext>
            </a:extLst>
          </p:cNvPr>
          <p:cNvSpPr/>
          <p:nvPr/>
        </p:nvSpPr>
        <p:spPr bwMode="gray">
          <a:xfrm>
            <a:off x="8806221" y="1378243"/>
            <a:ext cx="2985852" cy="497052"/>
          </a:xfrm>
          <a:prstGeom prst="rect">
            <a:avLst/>
          </a:prstGeom>
          <a:noFill/>
          <a:ln w="25400" algn="ctr">
            <a:noFill/>
            <a:miter lim="800000"/>
            <a:headEnd/>
            <a:tailEnd/>
          </a:ln>
          <a:effectLst/>
        </p:spPr>
        <p:txBody>
          <a:bodyPr lIns="0" tIns="0" rIns="0" bIns="0" rtlCol="0" anchor="ctr" anchorCtr="0"/>
          <a:lstStyle/>
          <a:p>
            <a:pPr marL="0" marR="0" lvl="0" indent="0" algn="l" defTabSz="914400" rtl="0" eaLnBrk="1" fontAlgn="base" latinLnBrk="0" hangingPunct="1">
              <a:lnSpc>
                <a:spcPct val="100000"/>
              </a:lnSpc>
              <a:spcBef>
                <a:spcPct val="50000"/>
              </a:spcBef>
              <a:spcAft>
                <a:spcPct val="0"/>
              </a:spcAft>
              <a:buClr>
                <a:srgbClr val="F0AB00"/>
              </a:buClr>
              <a:buSzPct val="80000"/>
              <a:buFontTx/>
              <a:buNone/>
              <a:tabLst/>
              <a:defRPr/>
            </a:pPr>
            <a:r>
              <a:rPr kumimoji="0" lang="en-GB" sz="2000" b="0" i="0" u="none" strike="noStrike" kern="0" cap="none" spc="0" normalizeH="0" baseline="0" noProof="0" dirty="0">
                <a:ln>
                  <a:noFill/>
                </a:ln>
                <a:solidFill>
                  <a:srgbClr val="049F9A"/>
                </a:solidFill>
                <a:effectLst/>
                <a:uLnTx/>
                <a:uFillTx/>
                <a:latin typeface="72 Brand Medium" panose="020B0504030603020204" pitchFamily="34" charset="0"/>
                <a:ea typeface="Arial Unicode MS" pitchFamily="34" charset="-128"/>
                <a:cs typeface="+mn-cs"/>
              </a:rPr>
              <a:t>Learning Opportunities</a:t>
            </a:r>
          </a:p>
        </p:txBody>
      </p:sp>
      <p:sp>
        <p:nvSpPr>
          <p:cNvPr id="2" name="TextBox 1">
            <a:extLst>
              <a:ext uri="{FF2B5EF4-FFF2-40B4-BE49-F238E27FC236}">
                <a16:creationId xmlns:a16="http://schemas.microsoft.com/office/drawing/2014/main" id="{97408FC8-24AD-F8F3-31F1-BCEEBB7D16EA}"/>
              </a:ext>
            </a:extLst>
          </p:cNvPr>
          <p:cNvSpPr txBox="1"/>
          <p:nvPr/>
        </p:nvSpPr>
        <p:spPr>
          <a:xfrm>
            <a:off x="5969399" y="5071610"/>
            <a:ext cx="1574676" cy="283219"/>
          </a:xfrm>
          <a:prstGeom prst="rect">
            <a:avLst/>
          </a:prstGeom>
          <a:noFill/>
        </p:spPr>
        <p:txBody>
          <a:bodyPr wrap="square" lIns="0" tIns="0" rIns="0" bIns="0" rtlCol="0">
            <a:spAutoFit/>
          </a:bodyPr>
          <a:lstStyle/>
          <a:p>
            <a:pPr marL="0" marR="0" lvl="1" algn="l" defTabSz="1088776" rtl="0" eaLnBrk="1" fontAlgn="base" latinLnBrk="0" hangingPunct="1">
              <a:lnSpc>
                <a:spcPct val="150000"/>
              </a:lnSpc>
              <a:spcBef>
                <a:spcPts val="0"/>
              </a:spcBef>
              <a:spcAft>
                <a:spcPct val="0"/>
              </a:spcAft>
              <a:buClr>
                <a:srgbClr val="36A41D"/>
              </a:buClr>
              <a:buSzPct val="100000"/>
              <a:buNone/>
              <a:tabLst/>
              <a:defRPr/>
            </a:pPr>
            <a:r>
              <a:rPr kumimoji="0" lang="en-DE" sz="1400" b="0" i="0" u="sng" strike="noStrike" kern="0" cap="none" spc="0" normalizeH="0" baseline="0" noProof="0" dirty="0">
                <a:ln>
                  <a:noFill/>
                </a:ln>
                <a:solidFill>
                  <a:srgbClr val="36A41D"/>
                </a:solidFill>
                <a:effectLst/>
                <a:uLnTx/>
                <a:uFillTx/>
                <a:latin typeface="72 Brand" panose="020B0504030603020204" pitchFamily="34" charset="0"/>
                <a:ea typeface="Arial Unicode MS" pitchFamily="34" charset="-128"/>
                <a:cs typeface="+mn-cs"/>
                <a:hlinkClick r:id="rId3">
                  <a:extLst>
                    <a:ext uri="{A12FA001-AC4F-418D-AE19-62706E023703}">
                      <ahyp:hlinkClr xmlns:ahyp="http://schemas.microsoft.com/office/drawing/2018/hyperlinkcolor" val="tx"/>
                    </a:ext>
                  </a:extLst>
                </a:hlinkClick>
              </a:rPr>
              <a:t>Documentation</a:t>
            </a:r>
            <a:endParaRPr kumimoji="0" lang="en-US" sz="1400" b="0" i="0" u="sng" strike="noStrike" kern="0" cap="none" spc="0" normalizeH="0" baseline="0" noProof="0" dirty="0">
              <a:ln>
                <a:noFill/>
              </a:ln>
              <a:solidFill>
                <a:srgbClr val="36A41D"/>
              </a:solidFill>
              <a:effectLst/>
              <a:uLnTx/>
              <a:uFillTx/>
              <a:latin typeface="72 Brand" panose="020B0504030603020204" pitchFamily="34" charset="0"/>
              <a:ea typeface="Arial Unicode MS" pitchFamily="34" charset="-128"/>
              <a:cs typeface="+mn-cs"/>
            </a:endParaRPr>
          </a:p>
        </p:txBody>
      </p:sp>
      <p:sp>
        <p:nvSpPr>
          <p:cNvPr id="24" name="TextBox 23">
            <a:extLst>
              <a:ext uri="{FF2B5EF4-FFF2-40B4-BE49-F238E27FC236}">
                <a16:creationId xmlns:a16="http://schemas.microsoft.com/office/drawing/2014/main" id="{0AA3A30F-B8F0-31B0-A632-2AE266883CC9}"/>
              </a:ext>
            </a:extLst>
          </p:cNvPr>
          <p:cNvSpPr txBox="1"/>
          <p:nvPr/>
        </p:nvSpPr>
        <p:spPr>
          <a:xfrm>
            <a:off x="1137647" y="5182346"/>
            <a:ext cx="3165764" cy="215444"/>
          </a:xfrm>
          <a:prstGeom prst="rect">
            <a:avLst/>
          </a:prstGeom>
          <a:noFill/>
        </p:spPr>
        <p:txBody>
          <a:bodyPr wrap="square" lIns="0" tIns="0" rIns="0" bIns="0" rtlCol="0">
            <a:spAutoFit/>
          </a:bodyPr>
          <a:lstStyle>
            <a:defPPr>
              <a:defRPr lang="de-DE"/>
            </a:defPPr>
            <a:lvl1pPr marL="285750" marR="0" lvl="0" indent="-285750" fontAlgn="auto">
              <a:spcBef>
                <a:spcPts val="0"/>
              </a:spcBef>
              <a:spcAft>
                <a:spcPts val="0"/>
              </a:spcAft>
              <a:buClr>
                <a:schemeClr val="accent1"/>
              </a:buClr>
              <a:buSzTx/>
              <a:buFont typeface="Arial" panose="020B0604020202020204" pitchFamily="34" charset="0"/>
              <a:buChar char="•"/>
              <a:tabLst/>
              <a:defRPr kumimoji="0" sz="1400" b="1" i="0" u="none" strike="noStrike" kern="0" cap="none" spc="0" normalizeH="0" baseline="0">
                <a:ln>
                  <a:noFill/>
                </a:ln>
                <a:solidFill>
                  <a:schemeClr val="tx1">
                    <a:lumMod val="95000"/>
                    <a:lumOff val="5000"/>
                  </a:schemeClr>
                </a:solidFill>
                <a:effectLst/>
                <a:uLnTx/>
                <a:uFillTx/>
                <a:ea typeface="Arial Unicode MS" pitchFamily="34" charset="-128"/>
                <a:cs typeface="Arial Unicode MS" pitchFamily="34" charset="-128"/>
              </a:defRPr>
            </a:lvl1pPr>
            <a:lvl2pPr marL="540000" lvl="1" indent="-285750">
              <a:buClr>
                <a:schemeClr val="accent1"/>
              </a:buClr>
              <a:buSzTx/>
              <a:buFont typeface="Arial" panose="020B0604020202020204" pitchFamily="34" charset="0"/>
              <a:buChar char="•"/>
              <a:defRPr kumimoji="0" sz="1100" b="1" i="0" u="none" strike="noStrike" kern="0" cap="none" spc="0" normalizeH="0" baseline="0">
                <a:ln>
                  <a:noFill/>
                </a:ln>
                <a:solidFill>
                  <a:schemeClr val="tx1">
                    <a:lumMod val="95000"/>
                    <a:lumOff val="5000"/>
                  </a:schemeClr>
                </a:solidFill>
                <a:effectLst/>
                <a:uLnTx/>
                <a:uFillTx/>
                <a:ea typeface="Arial Unicode MS" pitchFamily="34" charset="-128"/>
                <a:cs typeface="Arial Unicode MS" pitchFamily="34" charset="-128"/>
              </a:defRPr>
            </a:lvl2pPr>
            <a:lvl3pPr marL="540000" lvl="2" indent="-285750" fontAlgn="base">
              <a:spcAft>
                <a:spcPct val="0"/>
              </a:spcAft>
              <a:buClr>
                <a:srgbClr val="F0AB00"/>
              </a:buClr>
              <a:buFont typeface="Arial" panose="020B0604020202020204" pitchFamily="34" charset="0"/>
              <a:buChar char="•"/>
              <a:defRPr sz="1100" kern="0">
                <a:ea typeface="Arial Unicode MS" pitchFamily="34" charset="-128"/>
                <a:cs typeface="Arial Unicode MS" pitchFamily="34" charset="-128"/>
              </a:defRPr>
            </a:lvl3pPr>
          </a:lstStyle>
          <a:p>
            <a:pPr marL="254250" marR="0" lvl="1" indent="0" algn="l" defTabSz="1088776" rtl="0" eaLnBrk="1" fontAlgn="auto" latinLnBrk="0" hangingPunct="1">
              <a:lnSpc>
                <a:spcPct val="100000"/>
              </a:lnSpc>
              <a:spcBef>
                <a:spcPts val="0"/>
              </a:spcBef>
              <a:spcAft>
                <a:spcPts val="0"/>
              </a:spcAft>
              <a:buClr>
                <a:srgbClr val="F31DED"/>
              </a:buClr>
              <a:buSzTx/>
              <a:buNone/>
              <a:tabLst/>
              <a:defRPr/>
            </a:pPr>
            <a:r>
              <a:rPr kumimoji="0" lang="en-US" sz="1400" b="0" i="0" u="none" strike="noStrike" kern="0" cap="none" spc="0" normalizeH="0" baseline="0" noProof="0" dirty="0">
                <a:ln>
                  <a:noFill/>
                </a:ln>
                <a:solidFill>
                  <a:srgbClr val="F31DED"/>
                </a:solidFill>
                <a:effectLst/>
                <a:uLnTx/>
                <a:uFillTx/>
                <a:latin typeface="72 Brand" panose="020B0504030603020204" pitchFamily="34" charset="0"/>
                <a:ea typeface="Arial Unicode MS" pitchFamily="34" charset="-128"/>
                <a:hlinkClick r:id="rId4">
                  <a:extLst>
                    <a:ext uri="{A12FA001-AC4F-418D-AE19-62706E023703}">
                      <ahyp:hlinkClr xmlns:ahyp="http://schemas.microsoft.com/office/drawing/2018/hyperlinkcolor" val="tx"/>
                    </a:ext>
                  </a:extLst>
                </a:hlinkClick>
              </a:rPr>
              <a:t>SAP S/4HANA integration with AEM</a:t>
            </a:r>
            <a:endParaRPr kumimoji="0" lang="en-US" sz="1400" b="0" i="0" u="none" strike="noStrike" kern="0" cap="none" spc="0" normalizeH="0" baseline="0" noProof="0" dirty="0">
              <a:ln>
                <a:noFill/>
              </a:ln>
              <a:solidFill>
                <a:srgbClr val="F31DED"/>
              </a:solidFill>
              <a:effectLst/>
              <a:uLnTx/>
              <a:uFillTx/>
              <a:latin typeface="72 Brand" panose="020B0504030603020204" pitchFamily="34" charset="0"/>
              <a:ea typeface="Arial Unicode MS" pitchFamily="34" charset="-128"/>
            </a:endParaRPr>
          </a:p>
        </p:txBody>
      </p:sp>
      <p:sp>
        <p:nvSpPr>
          <p:cNvPr id="25" name="TextBox 24">
            <a:extLst>
              <a:ext uri="{FF2B5EF4-FFF2-40B4-BE49-F238E27FC236}">
                <a16:creationId xmlns:a16="http://schemas.microsoft.com/office/drawing/2014/main" id="{3A6A97E0-614A-E9B1-4686-76679ACEF7BA}"/>
              </a:ext>
            </a:extLst>
          </p:cNvPr>
          <p:cNvSpPr txBox="1"/>
          <p:nvPr/>
        </p:nvSpPr>
        <p:spPr>
          <a:xfrm>
            <a:off x="9155443" y="2263046"/>
            <a:ext cx="2722518" cy="646331"/>
          </a:xfrm>
          <a:prstGeom prst="rect">
            <a:avLst/>
          </a:prstGeom>
          <a:noFill/>
        </p:spPr>
        <p:txBody>
          <a:bodyPr wrap="square" lIns="0" tIns="0" rIns="0" bIns="0" rtlCol="0" anchor="t">
            <a:spAutoFit/>
          </a:bodyPr>
          <a:lstStyle/>
          <a:p>
            <a:pPr marL="171450" marR="0" lvl="1" algn="l" defTabSz="1088776" rtl="0" eaLnBrk="1" fontAlgn="base" latinLnBrk="0" hangingPunct="1">
              <a:lnSpc>
                <a:spcPct val="100000"/>
              </a:lnSpc>
              <a:spcBef>
                <a:spcPts val="0"/>
              </a:spcBef>
              <a:spcAft>
                <a:spcPts val="0"/>
              </a:spcAft>
              <a:buClr>
                <a:srgbClr val="049F9A"/>
              </a:buClr>
              <a:buSzTx/>
              <a:buNone/>
              <a:tabLst/>
              <a:defRPr/>
            </a:pPr>
            <a:r>
              <a:rPr kumimoji="0" lang="en-US" sz="1400" b="0" i="0" u="none" strike="noStrike" kern="0" cap="none" spc="0" normalizeH="0" baseline="0" noProof="0" dirty="0">
                <a:ln>
                  <a:noFill/>
                </a:ln>
                <a:solidFill>
                  <a:srgbClr val="049F9A"/>
                </a:solidFill>
                <a:effectLst/>
                <a:uLnTx/>
                <a:uFillTx/>
                <a:latin typeface="72 Brand" panose="020B0504030603020204" pitchFamily="34" charset="0"/>
                <a:ea typeface="Arial Unicode MS"/>
                <a:cs typeface="Arial Unicode MS"/>
                <a:hlinkClick r:id="rId5">
                  <a:extLst>
                    <a:ext uri="{A12FA001-AC4F-418D-AE19-62706E023703}">
                      <ahyp:hlinkClr xmlns:ahyp="http://schemas.microsoft.com/office/drawing/2018/hyperlinkcolor" val="tx"/>
                    </a:ext>
                  </a:extLst>
                </a:hlinkClick>
              </a:rPr>
              <a:t>Embrace Event-Driven Architecture with SAP Integration Suite</a:t>
            </a:r>
            <a:endParaRPr kumimoji="0" lang="en-US" sz="1400" b="0" i="0" u="none" strike="noStrike" kern="0" cap="none" spc="0" normalizeH="0" baseline="0" noProof="0" dirty="0">
              <a:ln>
                <a:noFill/>
              </a:ln>
              <a:solidFill>
                <a:srgbClr val="049F9A"/>
              </a:solidFill>
              <a:effectLst/>
              <a:uLnTx/>
              <a:uFillTx/>
              <a:latin typeface="72 Brand" panose="020B0504030603020204" pitchFamily="34" charset="0"/>
              <a:ea typeface="Arial Unicode MS"/>
              <a:cs typeface="Arial Unicode MS"/>
              <a:hlinkClick r:id="rId6">
                <a:extLst>
                  <a:ext uri="{A12FA001-AC4F-418D-AE19-62706E023703}">
                    <ahyp:hlinkClr xmlns:ahyp="http://schemas.microsoft.com/office/drawing/2018/hyperlinkcolor" val="tx"/>
                  </a:ext>
                </a:extLst>
              </a:hlinkClick>
            </a:endParaRPr>
          </a:p>
        </p:txBody>
      </p:sp>
      <p:sp>
        <p:nvSpPr>
          <p:cNvPr id="4" name="Titel 3">
            <a:extLst>
              <a:ext uri="{FF2B5EF4-FFF2-40B4-BE49-F238E27FC236}">
                <a16:creationId xmlns:a16="http://schemas.microsoft.com/office/drawing/2014/main" id="{8D39F7A5-605A-641B-8EBA-9BAC9B93A610}"/>
              </a:ext>
            </a:extLst>
          </p:cNvPr>
          <p:cNvSpPr>
            <a:spLocks noGrp="1"/>
          </p:cNvSpPr>
          <p:nvPr>
            <p:ph type="title"/>
          </p:nvPr>
        </p:nvSpPr>
        <p:spPr/>
        <p:txBody>
          <a:bodyPr/>
          <a:lstStyle/>
          <a:p>
            <a:r>
              <a:rPr lang="en-US"/>
              <a:t>Learn more</a:t>
            </a:r>
            <a:r>
              <a:rPr lang="de-DE"/>
              <a:t>!</a:t>
            </a:r>
          </a:p>
        </p:txBody>
      </p:sp>
      <p:sp>
        <p:nvSpPr>
          <p:cNvPr id="15" name="Freihandform 14">
            <a:extLst>
              <a:ext uri="{FF2B5EF4-FFF2-40B4-BE49-F238E27FC236}">
                <a16:creationId xmlns:a16="http://schemas.microsoft.com/office/drawing/2014/main" id="{B9F5BD5D-B9C3-E7DC-A54D-76DC4210B5A9}"/>
              </a:ext>
            </a:extLst>
          </p:cNvPr>
          <p:cNvSpPr/>
          <p:nvPr/>
        </p:nvSpPr>
        <p:spPr>
          <a:xfrm>
            <a:off x="8341193" y="1446957"/>
            <a:ext cx="392636" cy="392637"/>
          </a:xfrm>
          <a:custGeom>
            <a:avLst/>
            <a:gdLst>
              <a:gd name="connsiteX0" fmla="*/ 252032 w 504062"/>
              <a:gd name="connsiteY0" fmla="*/ 0 h 504063"/>
              <a:gd name="connsiteX1" fmla="*/ 349758 w 504062"/>
              <a:gd name="connsiteY1" fmla="*/ 19717 h 504063"/>
              <a:gd name="connsiteX2" fmla="*/ 430340 w 504062"/>
              <a:gd name="connsiteY2" fmla="*/ 73724 h 504063"/>
              <a:gd name="connsiteX3" fmla="*/ 484346 w 504062"/>
              <a:gd name="connsiteY3" fmla="*/ 154305 h 504063"/>
              <a:gd name="connsiteX4" fmla="*/ 504063 w 504062"/>
              <a:gd name="connsiteY4" fmla="*/ 252031 h 504063"/>
              <a:gd name="connsiteX5" fmla="*/ 484346 w 504062"/>
              <a:gd name="connsiteY5" fmla="*/ 349758 h 504063"/>
              <a:gd name="connsiteX6" fmla="*/ 430340 w 504062"/>
              <a:gd name="connsiteY6" fmla="*/ 430339 h 504063"/>
              <a:gd name="connsiteX7" fmla="*/ 349758 w 504062"/>
              <a:gd name="connsiteY7" fmla="*/ 484346 h 504063"/>
              <a:gd name="connsiteX8" fmla="*/ 252032 w 504062"/>
              <a:gd name="connsiteY8" fmla="*/ 504063 h 504063"/>
              <a:gd name="connsiteX9" fmla="*/ 154305 w 504062"/>
              <a:gd name="connsiteY9" fmla="*/ 484346 h 504063"/>
              <a:gd name="connsiteX10" fmla="*/ 73724 w 504062"/>
              <a:gd name="connsiteY10" fmla="*/ 430339 h 504063"/>
              <a:gd name="connsiteX11" fmla="*/ 19717 w 504062"/>
              <a:gd name="connsiteY11" fmla="*/ 349758 h 504063"/>
              <a:gd name="connsiteX12" fmla="*/ 0 w 504062"/>
              <a:gd name="connsiteY12" fmla="*/ 252031 h 504063"/>
              <a:gd name="connsiteX13" fmla="*/ 19717 w 504062"/>
              <a:gd name="connsiteY13" fmla="*/ 154305 h 504063"/>
              <a:gd name="connsiteX14" fmla="*/ 73724 w 504062"/>
              <a:gd name="connsiteY14" fmla="*/ 73724 h 504063"/>
              <a:gd name="connsiteX15" fmla="*/ 154305 w 504062"/>
              <a:gd name="connsiteY15" fmla="*/ 19717 h 504063"/>
              <a:gd name="connsiteX16" fmla="*/ 252032 w 504062"/>
              <a:gd name="connsiteY16" fmla="*/ 0 h 504063"/>
              <a:gd name="connsiteX17" fmla="*/ 252032 w 504062"/>
              <a:gd name="connsiteY17" fmla="*/ 454342 h 504063"/>
              <a:gd name="connsiteX18" fmla="*/ 330041 w 504062"/>
              <a:gd name="connsiteY18" fmla="*/ 438055 h 504063"/>
              <a:gd name="connsiteX19" fmla="*/ 394335 w 504062"/>
              <a:gd name="connsiteY19" fmla="*/ 394335 h 504063"/>
              <a:gd name="connsiteX20" fmla="*/ 438055 w 504062"/>
              <a:gd name="connsiteY20" fmla="*/ 330041 h 504063"/>
              <a:gd name="connsiteX21" fmla="*/ 453485 w 504062"/>
              <a:gd name="connsiteY21" fmla="*/ 252031 h 504063"/>
              <a:gd name="connsiteX22" fmla="*/ 437198 w 504062"/>
              <a:gd name="connsiteY22" fmla="*/ 174022 h 504063"/>
              <a:gd name="connsiteX23" fmla="*/ 393478 w 504062"/>
              <a:gd name="connsiteY23" fmla="*/ 109728 h 504063"/>
              <a:gd name="connsiteX24" fmla="*/ 329184 w 504062"/>
              <a:gd name="connsiteY24" fmla="*/ 66008 h 504063"/>
              <a:gd name="connsiteX25" fmla="*/ 251174 w 504062"/>
              <a:gd name="connsiteY25" fmla="*/ 50578 h 504063"/>
              <a:gd name="connsiteX26" fmla="*/ 173165 w 504062"/>
              <a:gd name="connsiteY26" fmla="*/ 66865 h 504063"/>
              <a:gd name="connsiteX27" fmla="*/ 108871 w 504062"/>
              <a:gd name="connsiteY27" fmla="*/ 110585 h 504063"/>
              <a:gd name="connsiteX28" fmla="*/ 65151 w 504062"/>
              <a:gd name="connsiteY28" fmla="*/ 174879 h 504063"/>
              <a:gd name="connsiteX29" fmla="*/ 49721 w 504062"/>
              <a:gd name="connsiteY29" fmla="*/ 252888 h 504063"/>
              <a:gd name="connsiteX30" fmla="*/ 66008 w 504062"/>
              <a:gd name="connsiteY30" fmla="*/ 330899 h 504063"/>
              <a:gd name="connsiteX31" fmla="*/ 109728 w 504062"/>
              <a:gd name="connsiteY31" fmla="*/ 395192 h 504063"/>
              <a:gd name="connsiteX32" fmla="*/ 174022 w 504062"/>
              <a:gd name="connsiteY32" fmla="*/ 438912 h 504063"/>
              <a:gd name="connsiteX33" fmla="*/ 252032 w 504062"/>
              <a:gd name="connsiteY33" fmla="*/ 454342 h 504063"/>
              <a:gd name="connsiteX34" fmla="*/ 252032 w 504062"/>
              <a:gd name="connsiteY34" fmla="*/ 94298 h 504063"/>
              <a:gd name="connsiteX35" fmla="*/ 318897 w 504062"/>
              <a:gd name="connsiteY35" fmla="*/ 121729 h 504063"/>
              <a:gd name="connsiteX36" fmla="*/ 346329 w 504062"/>
              <a:gd name="connsiteY36" fmla="*/ 188595 h 504063"/>
              <a:gd name="connsiteX37" fmla="*/ 326612 w 504062"/>
              <a:gd name="connsiteY37" fmla="*/ 246031 h 504063"/>
              <a:gd name="connsiteX38" fmla="*/ 276892 w 504062"/>
              <a:gd name="connsiteY38" fmla="*/ 279464 h 504063"/>
              <a:gd name="connsiteX39" fmla="*/ 276892 w 504062"/>
              <a:gd name="connsiteY39" fmla="*/ 289751 h 504063"/>
              <a:gd name="connsiteX40" fmla="*/ 269177 w 504062"/>
              <a:gd name="connsiteY40" fmla="*/ 307753 h 504063"/>
              <a:gd name="connsiteX41" fmla="*/ 251174 w 504062"/>
              <a:gd name="connsiteY41" fmla="*/ 315468 h 504063"/>
              <a:gd name="connsiteX42" fmla="*/ 233172 w 504062"/>
              <a:gd name="connsiteY42" fmla="*/ 307753 h 504063"/>
              <a:gd name="connsiteX43" fmla="*/ 225457 w 504062"/>
              <a:gd name="connsiteY43" fmla="*/ 289751 h 504063"/>
              <a:gd name="connsiteX44" fmla="*/ 225457 w 504062"/>
              <a:gd name="connsiteY44" fmla="*/ 258032 h 504063"/>
              <a:gd name="connsiteX45" fmla="*/ 233172 w 504062"/>
              <a:gd name="connsiteY45" fmla="*/ 240030 h 504063"/>
              <a:gd name="connsiteX46" fmla="*/ 253746 w 504062"/>
              <a:gd name="connsiteY46" fmla="*/ 233172 h 504063"/>
              <a:gd name="connsiteX47" fmla="*/ 282893 w 504062"/>
              <a:gd name="connsiteY47" fmla="*/ 220313 h 504063"/>
              <a:gd name="connsiteX48" fmla="*/ 294894 w 504062"/>
              <a:gd name="connsiteY48" fmla="*/ 188595 h 504063"/>
              <a:gd name="connsiteX49" fmla="*/ 282035 w 504062"/>
              <a:gd name="connsiteY49" fmla="*/ 156877 h 504063"/>
              <a:gd name="connsiteX50" fmla="*/ 250317 w 504062"/>
              <a:gd name="connsiteY50" fmla="*/ 144018 h 504063"/>
              <a:gd name="connsiteX51" fmla="*/ 218599 w 504062"/>
              <a:gd name="connsiteY51" fmla="*/ 156019 h 504063"/>
              <a:gd name="connsiteX52" fmla="*/ 205740 w 504062"/>
              <a:gd name="connsiteY52" fmla="*/ 185166 h 504063"/>
              <a:gd name="connsiteX53" fmla="*/ 198882 w 504062"/>
              <a:gd name="connsiteY53" fmla="*/ 205740 h 504063"/>
              <a:gd name="connsiteX54" fmla="*/ 180880 w 504062"/>
              <a:gd name="connsiteY54" fmla="*/ 213455 h 504063"/>
              <a:gd name="connsiteX55" fmla="*/ 162878 w 504062"/>
              <a:gd name="connsiteY55" fmla="*/ 204883 h 504063"/>
              <a:gd name="connsiteX56" fmla="*/ 155162 w 504062"/>
              <a:gd name="connsiteY56" fmla="*/ 179165 h 504063"/>
              <a:gd name="connsiteX57" fmla="*/ 162878 w 504062"/>
              <a:gd name="connsiteY57" fmla="*/ 147447 h 504063"/>
              <a:gd name="connsiteX58" fmla="*/ 183452 w 504062"/>
              <a:gd name="connsiteY58" fmla="*/ 120015 h 504063"/>
              <a:gd name="connsiteX59" fmla="*/ 213455 w 504062"/>
              <a:gd name="connsiteY59" fmla="*/ 101155 h 504063"/>
              <a:gd name="connsiteX60" fmla="*/ 252032 w 504062"/>
              <a:gd name="connsiteY60" fmla="*/ 94298 h 504063"/>
              <a:gd name="connsiteX61" fmla="*/ 252032 w 504062"/>
              <a:gd name="connsiteY61" fmla="*/ 347186 h 504063"/>
              <a:gd name="connsiteX62" fmla="*/ 274320 w 504062"/>
              <a:gd name="connsiteY62" fmla="*/ 355759 h 504063"/>
              <a:gd name="connsiteX63" fmla="*/ 282893 w 504062"/>
              <a:gd name="connsiteY63" fmla="*/ 378047 h 504063"/>
              <a:gd name="connsiteX64" fmla="*/ 274320 w 504062"/>
              <a:gd name="connsiteY64" fmla="*/ 400336 h 504063"/>
              <a:gd name="connsiteX65" fmla="*/ 252032 w 504062"/>
              <a:gd name="connsiteY65" fmla="*/ 408908 h 504063"/>
              <a:gd name="connsiteX66" fmla="*/ 229743 w 504062"/>
              <a:gd name="connsiteY66" fmla="*/ 400336 h 504063"/>
              <a:gd name="connsiteX67" fmla="*/ 221171 w 504062"/>
              <a:gd name="connsiteY67" fmla="*/ 378047 h 504063"/>
              <a:gd name="connsiteX68" fmla="*/ 229743 w 504062"/>
              <a:gd name="connsiteY68" fmla="*/ 355759 h 504063"/>
              <a:gd name="connsiteX69" fmla="*/ 252032 w 504062"/>
              <a:gd name="connsiteY69" fmla="*/ 347186 h 5040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504062" h="504063">
                <a:moveTo>
                  <a:pt x="252032" y="0"/>
                </a:moveTo>
                <a:cubicBezTo>
                  <a:pt x="287179" y="0"/>
                  <a:pt x="319754" y="6858"/>
                  <a:pt x="349758" y="19717"/>
                </a:cubicBezTo>
                <a:cubicBezTo>
                  <a:pt x="380619" y="32575"/>
                  <a:pt x="407194" y="50578"/>
                  <a:pt x="430340" y="73724"/>
                </a:cubicBezTo>
                <a:cubicBezTo>
                  <a:pt x="453485" y="96869"/>
                  <a:pt x="471488" y="123444"/>
                  <a:pt x="484346" y="154305"/>
                </a:cubicBezTo>
                <a:cubicBezTo>
                  <a:pt x="497205" y="185166"/>
                  <a:pt x="504063" y="217741"/>
                  <a:pt x="504063" y="252031"/>
                </a:cubicBezTo>
                <a:cubicBezTo>
                  <a:pt x="504063" y="287179"/>
                  <a:pt x="497205" y="319754"/>
                  <a:pt x="484346" y="349758"/>
                </a:cubicBezTo>
                <a:cubicBezTo>
                  <a:pt x="471488" y="380619"/>
                  <a:pt x="453485" y="407194"/>
                  <a:pt x="430340" y="430339"/>
                </a:cubicBezTo>
                <a:cubicBezTo>
                  <a:pt x="407194" y="453485"/>
                  <a:pt x="380619" y="471487"/>
                  <a:pt x="349758" y="484346"/>
                </a:cubicBezTo>
                <a:cubicBezTo>
                  <a:pt x="318897" y="497205"/>
                  <a:pt x="286322" y="504063"/>
                  <a:pt x="252032" y="504063"/>
                </a:cubicBezTo>
                <a:cubicBezTo>
                  <a:pt x="216884" y="504063"/>
                  <a:pt x="184309" y="497205"/>
                  <a:pt x="154305" y="484346"/>
                </a:cubicBezTo>
                <a:cubicBezTo>
                  <a:pt x="123444" y="471487"/>
                  <a:pt x="96869" y="453485"/>
                  <a:pt x="73724" y="430339"/>
                </a:cubicBezTo>
                <a:cubicBezTo>
                  <a:pt x="50578" y="407194"/>
                  <a:pt x="32576" y="380619"/>
                  <a:pt x="19717" y="349758"/>
                </a:cubicBezTo>
                <a:cubicBezTo>
                  <a:pt x="6858" y="318897"/>
                  <a:pt x="0" y="286321"/>
                  <a:pt x="0" y="252031"/>
                </a:cubicBezTo>
                <a:cubicBezTo>
                  <a:pt x="0" y="216884"/>
                  <a:pt x="6858" y="184309"/>
                  <a:pt x="19717" y="154305"/>
                </a:cubicBezTo>
                <a:cubicBezTo>
                  <a:pt x="32576" y="123444"/>
                  <a:pt x="50578" y="96869"/>
                  <a:pt x="73724" y="73724"/>
                </a:cubicBezTo>
                <a:cubicBezTo>
                  <a:pt x="96869" y="50578"/>
                  <a:pt x="123444" y="32575"/>
                  <a:pt x="154305" y="19717"/>
                </a:cubicBezTo>
                <a:cubicBezTo>
                  <a:pt x="184309" y="6858"/>
                  <a:pt x="216884" y="0"/>
                  <a:pt x="252032" y="0"/>
                </a:cubicBezTo>
                <a:close/>
                <a:moveTo>
                  <a:pt x="252032" y="454342"/>
                </a:moveTo>
                <a:cubicBezTo>
                  <a:pt x="279464" y="454342"/>
                  <a:pt x="306038" y="449199"/>
                  <a:pt x="330041" y="438055"/>
                </a:cubicBezTo>
                <a:cubicBezTo>
                  <a:pt x="354902" y="426911"/>
                  <a:pt x="376333" y="412337"/>
                  <a:pt x="394335" y="394335"/>
                </a:cubicBezTo>
                <a:cubicBezTo>
                  <a:pt x="412337" y="376333"/>
                  <a:pt x="426911" y="354901"/>
                  <a:pt x="438055" y="330041"/>
                </a:cubicBezTo>
                <a:cubicBezTo>
                  <a:pt x="448342" y="306038"/>
                  <a:pt x="453485" y="279464"/>
                  <a:pt x="453485" y="252031"/>
                </a:cubicBezTo>
                <a:cubicBezTo>
                  <a:pt x="453485" y="224599"/>
                  <a:pt x="448342" y="198025"/>
                  <a:pt x="437198" y="174022"/>
                </a:cubicBezTo>
                <a:cubicBezTo>
                  <a:pt x="426053" y="150019"/>
                  <a:pt x="411480" y="127730"/>
                  <a:pt x="393478" y="109728"/>
                </a:cubicBezTo>
                <a:cubicBezTo>
                  <a:pt x="375476" y="91726"/>
                  <a:pt x="354044" y="77153"/>
                  <a:pt x="329184" y="66008"/>
                </a:cubicBezTo>
                <a:cubicBezTo>
                  <a:pt x="305181" y="55721"/>
                  <a:pt x="278606" y="50578"/>
                  <a:pt x="251174" y="50578"/>
                </a:cubicBezTo>
                <a:cubicBezTo>
                  <a:pt x="223742" y="50578"/>
                  <a:pt x="197168" y="55721"/>
                  <a:pt x="173165" y="66865"/>
                </a:cubicBezTo>
                <a:cubicBezTo>
                  <a:pt x="148304" y="78010"/>
                  <a:pt x="126873" y="92583"/>
                  <a:pt x="108871" y="110585"/>
                </a:cubicBezTo>
                <a:cubicBezTo>
                  <a:pt x="90869" y="128588"/>
                  <a:pt x="76295" y="150019"/>
                  <a:pt x="65151" y="174879"/>
                </a:cubicBezTo>
                <a:cubicBezTo>
                  <a:pt x="54864" y="198882"/>
                  <a:pt x="49721" y="225457"/>
                  <a:pt x="49721" y="252888"/>
                </a:cubicBezTo>
                <a:cubicBezTo>
                  <a:pt x="49721" y="280321"/>
                  <a:pt x="54864" y="306896"/>
                  <a:pt x="66008" y="330899"/>
                </a:cubicBezTo>
                <a:cubicBezTo>
                  <a:pt x="77153" y="355759"/>
                  <a:pt x="91726" y="377190"/>
                  <a:pt x="109728" y="395192"/>
                </a:cubicBezTo>
                <a:cubicBezTo>
                  <a:pt x="127730" y="413194"/>
                  <a:pt x="149162" y="427768"/>
                  <a:pt x="174022" y="438912"/>
                </a:cubicBezTo>
                <a:cubicBezTo>
                  <a:pt x="198025" y="449199"/>
                  <a:pt x="224600" y="454342"/>
                  <a:pt x="252032" y="454342"/>
                </a:cubicBezTo>
                <a:close/>
                <a:moveTo>
                  <a:pt x="252032" y="94298"/>
                </a:moveTo>
                <a:cubicBezTo>
                  <a:pt x="278606" y="94298"/>
                  <a:pt x="300895" y="103727"/>
                  <a:pt x="318897" y="121729"/>
                </a:cubicBezTo>
                <a:cubicBezTo>
                  <a:pt x="336899" y="139732"/>
                  <a:pt x="346329" y="162878"/>
                  <a:pt x="346329" y="188595"/>
                </a:cubicBezTo>
                <a:cubicBezTo>
                  <a:pt x="346329" y="210026"/>
                  <a:pt x="339471" y="229743"/>
                  <a:pt x="326612" y="246031"/>
                </a:cubicBezTo>
                <a:cubicBezTo>
                  <a:pt x="313754" y="263176"/>
                  <a:pt x="296609" y="273463"/>
                  <a:pt x="276892" y="279464"/>
                </a:cubicBezTo>
                <a:lnTo>
                  <a:pt x="276892" y="289751"/>
                </a:lnTo>
                <a:cubicBezTo>
                  <a:pt x="276892" y="296609"/>
                  <a:pt x="274320" y="303466"/>
                  <a:pt x="269177" y="307753"/>
                </a:cubicBezTo>
                <a:cubicBezTo>
                  <a:pt x="264033" y="312896"/>
                  <a:pt x="258032" y="315468"/>
                  <a:pt x="251174" y="315468"/>
                </a:cubicBezTo>
                <a:cubicBezTo>
                  <a:pt x="244316" y="315468"/>
                  <a:pt x="237458" y="312896"/>
                  <a:pt x="233172" y="307753"/>
                </a:cubicBezTo>
                <a:cubicBezTo>
                  <a:pt x="228029" y="302609"/>
                  <a:pt x="225457" y="296609"/>
                  <a:pt x="225457" y="289751"/>
                </a:cubicBezTo>
                <a:lnTo>
                  <a:pt x="225457" y="258032"/>
                </a:lnTo>
                <a:cubicBezTo>
                  <a:pt x="225457" y="251174"/>
                  <a:pt x="228029" y="245174"/>
                  <a:pt x="233172" y="240030"/>
                </a:cubicBezTo>
                <a:cubicBezTo>
                  <a:pt x="238316" y="235743"/>
                  <a:pt x="245174" y="233172"/>
                  <a:pt x="253746" y="233172"/>
                </a:cubicBezTo>
                <a:cubicBezTo>
                  <a:pt x="264890" y="233172"/>
                  <a:pt x="274320" y="228886"/>
                  <a:pt x="282893" y="220313"/>
                </a:cubicBezTo>
                <a:cubicBezTo>
                  <a:pt x="291465" y="211741"/>
                  <a:pt x="294894" y="201453"/>
                  <a:pt x="294894" y="188595"/>
                </a:cubicBezTo>
                <a:cubicBezTo>
                  <a:pt x="294894" y="175736"/>
                  <a:pt x="290608" y="165449"/>
                  <a:pt x="282035" y="156877"/>
                </a:cubicBezTo>
                <a:cubicBezTo>
                  <a:pt x="273463" y="148304"/>
                  <a:pt x="263176" y="144018"/>
                  <a:pt x="250317" y="144018"/>
                </a:cubicBezTo>
                <a:cubicBezTo>
                  <a:pt x="237458" y="144018"/>
                  <a:pt x="227171" y="148304"/>
                  <a:pt x="218599" y="156019"/>
                </a:cubicBezTo>
                <a:cubicBezTo>
                  <a:pt x="210026" y="164592"/>
                  <a:pt x="205740" y="174022"/>
                  <a:pt x="205740" y="185166"/>
                </a:cubicBezTo>
                <a:cubicBezTo>
                  <a:pt x="205740" y="193739"/>
                  <a:pt x="203168" y="200596"/>
                  <a:pt x="198882" y="205740"/>
                </a:cubicBezTo>
                <a:cubicBezTo>
                  <a:pt x="194596" y="210884"/>
                  <a:pt x="188595" y="213455"/>
                  <a:pt x="180880" y="213455"/>
                </a:cubicBezTo>
                <a:cubicBezTo>
                  <a:pt x="174022" y="213455"/>
                  <a:pt x="167164" y="210884"/>
                  <a:pt x="162878" y="204883"/>
                </a:cubicBezTo>
                <a:cubicBezTo>
                  <a:pt x="157734" y="198882"/>
                  <a:pt x="155162" y="190309"/>
                  <a:pt x="155162" y="179165"/>
                </a:cubicBezTo>
                <a:cubicBezTo>
                  <a:pt x="155162" y="168021"/>
                  <a:pt x="157734" y="157734"/>
                  <a:pt x="162878" y="147447"/>
                </a:cubicBezTo>
                <a:cubicBezTo>
                  <a:pt x="168021" y="137160"/>
                  <a:pt x="174879" y="128588"/>
                  <a:pt x="183452" y="120015"/>
                </a:cubicBezTo>
                <a:cubicBezTo>
                  <a:pt x="192024" y="112300"/>
                  <a:pt x="202311" y="105442"/>
                  <a:pt x="213455" y="101155"/>
                </a:cubicBezTo>
                <a:cubicBezTo>
                  <a:pt x="226314" y="96869"/>
                  <a:pt x="238316" y="94298"/>
                  <a:pt x="252032" y="94298"/>
                </a:cubicBezTo>
                <a:close/>
                <a:moveTo>
                  <a:pt x="252032" y="347186"/>
                </a:moveTo>
                <a:cubicBezTo>
                  <a:pt x="261461" y="347186"/>
                  <a:pt x="269177" y="349758"/>
                  <a:pt x="274320" y="355759"/>
                </a:cubicBezTo>
                <a:cubicBezTo>
                  <a:pt x="280321" y="361759"/>
                  <a:pt x="282893" y="369475"/>
                  <a:pt x="282893" y="378047"/>
                </a:cubicBezTo>
                <a:cubicBezTo>
                  <a:pt x="282893" y="387477"/>
                  <a:pt x="280321" y="395192"/>
                  <a:pt x="274320" y="400336"/>
                </a:cubicBezTo>
                <a:cubicBezTo>
                  <a:pt x="268319" y="405479"/>
                  <a:pt x="260604" y="408908"/>
                  <a:pt x="252032" y="408908"/>
                </a:cubicBezTo>
                <a:cubicBezTo>
                  <a:pt x="242602" y="408908"/>
                  <a:pt x="234887" y="406336"/>
                  <a:pt x="229743" y="400336"/>
                </a:cubicBezTo>
                <a:cubicBezTo>
                  <a:pt x="224600" y="394335"/>
                  <a:pt x="221171" y="386620"/>
                  <a:pt x="221171" y="378047"/>
                </a:cubicBezTo>
                <a:cubicBezTo>
                  <a:pt x="221171" y="368617"/>
                  <a:pt x="223742" y="360902"/>
                  <a:pt x="229743" y="355759"/>
                </a:cubicBezTo>
                <a:cubicBezTo>
                  <a:pt x="234887" y="349758"/>
                  <a:pt x="242602" y="347186"/>
                  <a:pt x="252032" y="347186"/>
                </a:cubicBezTo>
                <a:close/>
              </a:path>
            </a:pathLst>
          </a:custGeom>
          <a:solidFill>
            <a:schemeClr val="accent2"/>
          </a:solidFill>
          <a:ln w="8572" cap="flat">
            <a:noFill/>
            <a:prstDash val="solid"/>
            <a:miter/>
          </a:ln>
        </p:spPr>
        <p:txBody>
          <a:bodyPr rtlCol="0" anchor="ctr"/>
          <a:lstStyle/>
          <a:p>
            <a:pPr marL="0" marR="0" lvl="0" indent="0" algn="l" defTabSz="1088776" rtl="0" eaLnBrk="1" fontAlgn="auto" latinLnBrk="0" hangingPunct="1">
              <a:lnSpc>
                <a:spcPct val="100000"/>
              </a:lnSpc>
              <a:spcBef>
                <a:spcPts val="0"/>
              </a:spcBef>
              <a:spcAft>
                <a:spcPts val="0"/>
              </a:spcAft>
              <a:buClrTx/>
              <a:buSzTx/>
              <a:buFontTx/>
              <a:buNone/>
              <a:tabLst/>
              <a:defRPr/>
            </a:pPr>
            <a:endParaRPr kumimoji="0" lang="de-DE" sz="2100" b="0" i="0" u="none" strike="noStrike" kern="1200" cap="none" spc="0" normalizeH="0" baseline="0" noProof="0">
              <a:ln>
                <a:noFill/>
              </a:ln>
              <a:solidFill>
                <a:srgbClr val="000000"/>
              </a:solidFill>
              <a:effectLst/>
              <a:uLnTx/>
              <a:uFillTx/>
              <a:latin typeface="Arial"/>
              <a:ea typeface="+mn-ea"/>
              <a:cs typeface="+mn-cs"/>
            </a:endParaRPr>
          </a:p>
        </p:txBody>
      </p:sp>
      <p:sp>
        <p:nvSpPr>
          <p:cNvPr id="30" name="Freihandform 29">
            <a:extLst>
              <a:ext uri="{FF2B5EF4-FFF2-40B4-BE49-F238E27FC236}">
                <a16:creationId xmlns:a16="http://schemas.microsoft.com/office/drawing/2014/main" id="{1F595015-7930-3D67-9862-D0E9309062BC}"/>
              </a:ext>
            </a:extLst>
          </p:cNvPr>
          <p:cNvSpPr/>
          <p:nvPr/>
        </p:nvSpPr>
        <p:spPr>
          <a:xfrm>
            <a:off x="4605196" y="1442326"/>
            <a:ext cx="392636" cy="393972"/>
          </a:xfrm>
          <a:custGeom>
            <a:avLst/>
            <a:gdLst>
              <a:gd name="connsiteX0" fmla="*/ 497205 w 504062"/>
              <a:gd name="connsiteY0" fmla="*/ 396050 h 505777"/>
              <a:gd name="connsiteX1" fmla="*/ 504063 w 504062"/>
              <a:gd name="connsiteY1" fmla="*/ 414052 h 505777"/>
              <a:gd name="connsiteX2" fmla="*/ 497205 w 504062"/>
              <a:gd name="connsiteY2" fmla="*/ 432054 h 505777"/>
              <a:gd name="connsiteX3" fmla="*/ 430340 w 504062"/>
              <a:gd name="connsiteY3" fmla="*/ 498920 h 505777"/>
              <a:gd name="connsiteX4" fmla="*/ 412337 w 504062"/>
              <a:gd name="connsiteY4" fmla="*/ 505778 h 505777"/>
              <a:gd name="connsiteX5" fmla="*/ 394335 w 504062"/>
              <a:gd name="connsiteY5" fmla="*/ 498920 h 505777"/>
              <a:gd name="connsiteX6" fmla="*/ 205740 w 504062"/>
              <a:gd name="connsiteY6" fmla="*/ 308610 h 505777"/>
              <a:gd name="connsiteX7" fmla="*/ 157734 w 504062"/>
              <a:gd name="connsiteY7" fmla="*/ 316325 h 505777"/>
              <a:gd name="connsiteX8" fmla="*/ 96869 w 504062"/>
              <a:gd name="connsiteY8" fmla="*/ 304324 h 505777"/>
              <a:gd name="connsiteX9" fmla="*/ 46291 w 504062"/>
              <a:gd name="connsiteY9" fmla="*/ 270891 h 505777"/>
              <a:gd name="connsiteX10" fmla="*/ 12001 w 504062"/>
              <a:gd name="connsiteY10" fmla="*/ 221170 h 505777"/>
              <a:gd name="connsiteX11" fmla="*/ 0 w 504062"/>
              <a:gd name="connsiteY11" fmla="*/ 161163 h 505777"/>
              <a:gd name="connsiteX12" fmla="*/ 1715 w 504062"/>
              <a:gd name="connsiteY12" fmla="*/ 138875 h 505777"/>
              <a:gd name="connsiteX13" fmla="*/ 6858 w 504062"/>
              <a:gd name="connsiteY13" fmla="*/ 112300 h 505777"/>
              <a:gd name="connsiteX14" fmla="*/ 18002 w 504062"/>
              <a:gd name="connsiteY14" fmla="*/ 90011 h 505777"/>
              <a:gd name="connsiteX15" fmla="*/ 36862 w 504062"/>
              <a:gd name="connsiteY15" fmla="*/ 80581 h 505777"/>
              <a:gd name="connsiteX16" fmla="*/ 54864 w 504062"/>
              <a:gd name="connsiteY16" fmla="*/ 87440 h 505777"/>
              <a:gd name="connsiteX17" fmla="*/ 115729 w 504062"/>
              <a:gd name="connsiteY17" fmla="*/ 149161 h 505777"/>
              <a:gd name="connsiteX18" fmla="*/ 149161 w 504062"/>
              <a:gd name="connsiteY18" fmla="*/ 115729 h 505777"/>
              <a:gd name="connsiteX19" fmla="*/ 87440 w 504062"/>
              <a:gd name="connsiteY19" fmla="*/ 54864 h 505777"/>
              <a:gd name="connsiteX20" fmla="*/ 80581 w 504062"/>
              <a:gd name="connsiteY20" fmla="*/ 36862 h 505777"/>
              <a:gd name="connsiteX21" fmla="*/ 90011 w 504062"/>
              <a:gd name="connsiteY21" fmla="*/ 18002 h 505777"/>
              <a:gd name="connsiteX22" fmla="*/ 112300 w 504062"/>
              <a:gd name="connsiteY22" fmla="*/ 6858 h 505777"/>
              <a:gd name="connsiteX23" fmla="*/ 138875 w 504062"/>
              <a:gd name="connsiteY23" fmla="*/ 1715 h 505777"/>
              <a:gd name="connsiteX24" fmla="*/ 161163 w 504062"/>
              <a:gd name="connsiteY24" fmla="*/ 0 h 505777"/>
              <a:gd name="connsiteX25" fmla="*/ 221170 w 504062"/>
              <a:gd name="connsiteY25" fmla="*/ 12001 h 505777"/>
              <a:gd name="connsiteX26" fmla="*/ 270891 w 504062"/>
              <a:gd name="connsiteY26" fmla="*/ 46291 h 505777"/>
              <a:gd name="connsiteX27" fmla="*/ 304324 w 504062"/>
              <a:gd name="connsiteY27" fmla="*/ 96869 h 505777"/>
              <a:gd name="connsiteX28" fmla="*/ 316325 w 504062"/>
              <a:gd name="connsiteY28" fmla="*/ 157734 h 505777"/>
              <a:gd name="connsiteX29" fmla="*/ 308610 w 504062"/>
              <a:gd name="connsiteY29" fmla="*/ 205740 h 505777"/>
              <a:gd name="connsiteX30" fmla="*/ 497205 w 504062"/>
              <a:gd name="connsiteY30" fmla="*/ 396050 h 505777"/>
              <a:gd name="connsiteX31" fmla="*/ 49720 w 504062"/>
              <a:gd name="connsiteY31" fmla="*/ 158591 h 505777"/>
              <a:gd name="connsiteX32" fmla="*/ 58293 w 504062"/>
              <a:gd name="connsiteY32" fmla="*/ 199739 h 505777"/>
              <a:gd name="connsiteX33" fmla="*/ 81439 w 504062"/>
              <a:gd name="connsiteY33" fmla="*/ 234029 h 505777"/>
              <a:gd name="connsiteX34" fmla="*/ 115729 w 504062"/>
              <a:gd name="connsiteY34" fmla="*/ 257175 h 505777"/>
              <a:gd name="connsiteX35" fmla="*/ 156877 w 504062"/>
              <a:gd name="connsiteY35" fmla="*/ 265748 h 505777"/>
              <a:gd name="connsiteX36" fmla="*/ 198882 w 504062"/>
              <a:gd name="connsiteY36" fmla="*/ 257175 h 505777"/>
              <a:gd name="connsiteX37" fmla="*/ 233172 w 504062"/>
              <a:gd name="connsiteY37" fmla="*/ 234029 h 505777"/>
              <a:gd name="connsiteX38" fmla="*/ 256317 w 504062"/>
              <a:gd name="connsiteY38" fmla="*/ 199739 h 505777"/>
              <a:gd name="connsiteX39" fmla="*/ 264890 w 504062"/>
              <a:gd name="connsiteY39" fmla="*/ 158591 h 505777"/>
              <a:gd name="connsiteX40" fmla="*/ 256317 w 504062"/>
              <a:gd name="connsiteY40" fmla="*/ 116586 h 505777"/>
              <a:gd name="connsiteX41" fmla="*/ 233172 w 504062"/>
              <a:gd name="connsiteY41" fmla="*/ 82296 h 505777"/>
              <a:gd name="connsiteX42" fmla="*/ 198882 w 504062"/>
              <a:gd name="connsiteY42" fmla="*/ 59150 h 505777"/>
              <a:gd name="connsiteX43" fmla="*/ 156877 w 504062"/>
              <a:gd name="connsiteY43" fmla="*/ 50578 h 505777"/>
              <a:gd name="connsiteX44" fmla="*/ 154305 w 504062"/>
              <a:gd name="connsiteY44" fmla="*/ 50578 h 505777"/>
              <a:gd name="connsiteX45" fmla="*/ 201454 w 504062"/>
              <a:gd name="connsiteY45" fmla="*/ 97726 h 505777"/>
              <a:gd name="connsiteX46" fmla="*/ 209169 w 504062"/>
              <a:gd name="connsiteY46" fmla="*/ 115729 h 505777"/>
              <a:gd name="connsiteX47" fmla="*/ 201454 w 504062"/>
              <a:gd name="connsiteY47" fmla="*/ 133731 h 505777"/>
              <a:gd name="connsiteX48" fmla="*/ 133731 w 504062"/>
              <a:gd name="connsiteY48" fmla="*/ 203168 h 505777"/>
              <a:gd name="connsiteX49" fmla="*/ 114871 w 504062"/>
              <a:gd name="connsiteY49" fmla="*/ 210026 h 505777"/>
              <a:gd name="connsiteX50" fmla="*/ 96869 w 504062"/>
              <a:gd name="connsiteY50" fmla="*/ 203168 h 505777"/>
              <a:gd name="connsiteX51" fmla="*/ 49720 w 504062"/>
              <a:gd name="connsiteY51" fmla="*/ 156020 h 505777"/>
              <a:gd name="connsiteX52" fmla="*/ 49720 w 504062"/>
              <a:gd name="connsiteY52" fmla="*/ 158591 h 505777"/>
              <a:gd name="connsiteX53" fmla="*/ 443198 w 504062"/>
              <a:gd name="connsiteY53" fmla="*/ 414052 h 505777"/>
              <a:gd name="connsiteX54" fmla="*/ 283750 w 504062"/>
              <a:gd name="connsiteY54" fmla="*/ 253746 h 505777"/>
              <a:gd name="connsiteX55" fmla="*/ 252889 w 504062"/>
              <a:gd name="connsiteY55" fmla="*/ 284607 h 505777"/>
              <a:gd name="connsiteX56" fmla="*/ 412337 w 504062"/>
              <a:gd name="connsiteY56" fmla="*/ 444913 h 505777"/>
              <a:gd name="connsiteX57" fmla="*/ 443198 w 504062"/>
              <a:gd name="connsiteY57" fmla="*/ 414052 h 50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504062" h="505777">
                <a:moveTo>
                  <a:pt x="497205" y="396050"/>
                </a:moveTo>
                <a:cubicBezTo>
                  <a:pt x="501491" y="400336"/>
                  <a:pt x="504063" y="406337"/>
                  <a:pt x="504063" y="414052"/>
                </a:cubicBezTo>
                <a:cubicBezTo>
                  <a:pt x="504063" y="420910"/>
                  <a:pt x="501491" y="426910"/>
                  <a:pt x="497205" y="432054"/>
                </a:cubicBezTo>
                <a:lnTo>
                  <a:pt x="430340" y="498920"/>
                </a:lnTo>
                <a:cubicBezTo>
                  <a:pt x="426053" y="503206"/>
                  <a:pt x="420053" y="505778"/>
                  <a:pt x="412337" y="505778"/>
                </a:cubicBezTo>
                <a:cubicBezTo>
                  <a:pt x="406336" y="505778"/>
                  <a:pt x="400336" y="503206"/>
                  <a:pt x="394335" y="498920"/>
                </a:cubicBezTo>
                <a:lnTo>
                  <a:pt x="205740" y="308610"/>
                </a:lnTo>
                <a:cubicBezTo>
                  <a:pt x="190310" y="313753"/>
                  <a:pt x="174022" y="316325"/>
                  <a:pt x="157734" y="316325"/>
                </a:cubicBezTo>
                <a:cubicBezTo>
                  <a:pt x="136302" y="316325"/>
                  <a:pt x="115729" y="312039"/>
                  <a:pt x="96869" y="304324"/>
                </a:cubicBezTo>
                <a:cubicBezTo>
                  <a:pt x="78010" y="295751"/>
                  <a:pt x="60865" y="284607"/>
                  <a:pt x="46291" y="270891"/>
                </a:cubicBezTo>
                <a:cubicBezTo>
                  <a:pt x="31718" y="257175"/>
                  <a:pt x="20574" y="240030"/>
                  <a:pt x="12001" y="221170"/>
                </a:cubicBezTo>
                <a:cubicBezTo>
                  <a:pt x="3429" y="202311"/>
                  <a:pt x="0" y="182594"/>
                  <a:pt x="0" y="161163"/>
                </a:cubicBezTo>
                <a:cubicBezTo>
                  <a:pt x="0" y="155162"/>
                  <a:pt x="857" y="147447"/>
                  <a:pt x="1715" y="138875"/>
                </a:cubicBezTo>
                <a:cubicBezTo>
                  <a:pt x="2572" y="130302"/>
                  <a:pt x="4286" y="120872"/>
                  <a:pt x="6858" y="112300"/>
                </a:cubicBezTo>
                <a:cubicBezTo>
                  <a:pt x="9430" y="103727"/>
                  <a:pt x="12859" y="96012"/>
                  <a:pt x="18002" y="90011"/>
                </a:cubicBezTo>
                <a:cubicBezTo>
                  <a:pt x="23146" y="84010"/>
                  <a:pt x="29146" y="80581"/>
                  <a:pt x="36862" y="80581"/>
                </a:cubicBezTo>
                <a:cubicBezTo>
                  <a:pt x="43720" y="80581"/>
                  <a:pt x="49720" y="83153"/>
                  <a:pt x="54864" y="87440"/>
                </a:cubicBezTo>
                <a:lnTo>
                  <a:pt x="115729" y="149161"/>
                </a:lnTo>
                <a:lnTo>
                  <a:pt x="149161" y="115729"/>
                </a:lnTo>
                <a:lnTo>
                  <a:pt x="87440" y="54864"/>
                </a:lnTo>
                <a:cubicBezTo>
                  <a:pt x="83153" y="50578"/>
                  <a:pt x="80581" y="44577"/>
                  <a:pt x="80581" y="36862"/>
                </a:cubicBezTo>
                <a:cubicBezTo>
                  <a:pt x="80581" y="29146"/>
                  <a:pt x="84010" y="22289"/>
                  <a:pt x="90011" y="18002"/>
                </a:cubicBezTo>
                <a:cubicBezTo>
                  <a:pt x="96012" y="12859"/>
                  <a:pt x="103727" y="9430"/>
                  <a:pt x="112300" y="6858"/>
                </a:cubicBezTo>
                <a:cubicBezTo>
                  <a:pt x="120872" y="4286"/>
                  <a:pt x="130302" y="2572"/>
                  <a:pt x="138875" y="1715"/>
                </a:cubicBezTo>
                <a:cubicBezTo>
                  <a:pt x="147447" y="857"/>
                  <a:pt x="155162" y="0"/>
                  <a:pt x="161163" y="0"/>
                </a:cubicBezTo>
                <a:cubicBezTo>
                  <a:pt x="182594" y="0"/>
                  <a:pt x="202311" y="4286"/>
                  <a:pt x="221170" y="12001"/>
                </a:cubicBezTo>
                <a:cubicBezTo>
                  <a:pt x="240030" y="20574"/>
                  <a:pt x="256317" y="31718"/>
                  <a:pt x="270891" y="46291"/>
                </a:cubicBezTo>
                <a:cubicBezTo>
                  <a:pt x="284607" y="60865"/>
                  <a:pt x="296608" y="77153"/>
                  <a:pt x="304324" y="96869"/>
                </a:cubicBezTo>
                <a:cubicBezTo>
                  <a:pt x="312896" y="115729"/>
                  <a:pt x="316325" y="136303"/>
                  <a:pt x="316325" y="157734"/>
                </a:cubicBezTo>
                <a:cubicBezTo>
                  <a:pt x="316325" y="173165"/>
                  <a:pt x="313753" y="188595"/>
                  <a:pt x="308610" y="205740"/>
                </a:cubicBezTo>
                <a:lnTo>
                  <a:pt x="497205" y="396050"/>
                </a:lnTo>
                <a:close/>
                <a:moveTo>
                  <a:pt x="49720" y="158591"/>
                </a:moveTo>
                <a:cubicBezTo>
                  <a:pt x="49720" y="173165"/>
                  <a:pt x="52292" y="186880"/>
                  <a:pt x="58293" y="199739"/>
                </a:cubicBezTo>
                <a:cubicBezTo>
                  <a:pt x="64294" y="212598"/>
                  <a:pt x="72009" y="224600"/>
                  <a:pt x="81439" y="234029"/>
                </a:cubicBezTo>
                <a:cubicBezTo>
                  <a:pt x="90868" y="243459"/>
                  <a:pt x="102870" y="252032"/>
                  <a:pt x="115729" y="257175"/>
                </a:cubicBezTo>
                <a:cubicBezTo>
                  <a:pt x="128588" y="263176"/>
                  <a:pt x="142303" y="265748"/>
                  <a:pt x="156877" y="265748"/>
                </a:cubicBezTo>
                <a:cubicBezTo>
                  <a:pt x="172307" y="265748"/>
                  <a:pt x="186023" y="263176"/>
                  <a:pt x="198882" y="257175"/>
                </a:cubicBezTo>
                <a:cubicBezTo>
                  <a:pt x="211741" y="251174"/>
                  <a:pt x="222885" y="243459"/>
                  <a:pt x="233172" y="234029"/>
                </a:cubicBezTo>
                <a:cubicBezTo>
                  <a:pt x="242602" y="223742"/>
                  <a:pt x="250317" y="212598"/>
                  <a:pt x="256317" y="199739"/>
                </a:cubicBezTo>
                <a:cubicBezTo>
                  <a:pt x="262318" y="186880"/>
                  <a:pt x="264890" y="173165"/>
                  <a:pt x="264890" y="158591"/>
                </a:cubicBezTo>
                <a:cubicBezTo>
                  <a:pt x="264890" y="143161"/>
                  <a:pt x="262318" y="129445"/>
                  <a:pt x="256317" y="116586"/>
                </a:cubicBezTo>
                <a:cubicBezTo>
                  <a:pt x="250317" y="103727"/>
                  <a:pt x="242602" y="92583"/>
                  <a:pt x="233172" y="82296"/>
                </a:cubicBezTo>
                <a:cubicBezTo>
                  <a:pt x="222885" y="72009"/>
                  <a:pt x="211741" y="65151"/>
                  <a:pt x="198882" y="59150"/>
                </a:cubicBezTo>
                <a:cubicBezTo>
                  <a:pt x="186023" y="53150"/>
                  <a:pt x="172307" y="50578"/>
                  <a:pt x="156877" y="50578"/>
                </a:cubicBezTo>
                <a:lnTo>
                  <a:pt x="154305" y="50578"/>
                </a:lnTo>
                <a:lnTo>
                  <a:pt x="201454" y="97726"/>
                </a:lnTo>
                <a:cubicBezTo>
                  <a:pt x="206597" y="102870"/>
                  <a:pt x="209169" y="108871"/>
                  <a:pt x="209169" y="115729"/>
                </a:cubicBezTo>
                <a:cubicBezTo>
                  <a:pt x="209169" y="122587"/>
                  <a:pt x="206597" y="128588"/>
                  <a:pt x="201454" y="133731"/>
                </a:cubicBezTo>
                <a:lnTo>
                  <a:pt x="133731" y="203168"/>
                </a:lnTo>
                <a:cubicBezTo>
                  <a:pt x="129445" y="207455"/>
                  <a:pt x="122587" y="210026"/>
                  <a:pt x="114871" y="210026"/>
                </a:cubicBezTo>
                <a:cubicBezTo>
                  <a:pt x="108013" y="210026"/>
                  <a:pt x="102012" y="207455"/>
                  <a:pt x="96869" y="203168"/>
                </a:cubicBezTo>
                <a:lnTo>
                  <a:pt x="49720" y="156020"/>
                </a:lnTo>
                <a:lnTo>
                  <a:pt x="49720" y="158591"/>
                </a:lnTo>
                <a:close/>
                <a:moveTo>
                  <a:pt x="443198" y="414052"/>
                </a:moveTo>
                <a:lnTo>
                  <a:pt x="283750" y="253746"/>
                </a:lnTo>
                <a:cubicBezTo>
                  <a:pt x="274320" y="266605"/>
                  <a:pt x="264033" y="276035"/>
                  <a:pt x="252889" y="284607"/>
                </a:cubicBezTo>
                <a:lnTo>
                  <a:pt x="412337" y="444913"/>
                </a:lnTo>
                <a:lnTo>
                  <a:pt x="443198" y="414052"/>
                </a:lnTo>
                <a:close/>
              </a:path>
            </a:pathLst>
          </a:custGeom>
          <a:solidFill>
            <a:schemeClr val="accent3"/>
          </a:solidFill>
          <a:ln w="8572" cap="flat">
            <a:noFill/>
            <a:prstDash val="solid"/>
            <a:miter/>
          </a:ln>
        </p:spPr>
        <p:txBody>
          <a:bodyPr rtlCol="0" anchor="ctr"/>
          <a:lstStyle/>
          <a:p>
            <a:pPr marL="0" marR="0" lvl="0" indent="0" algn="l" defTabSz="1088776" rtl="0" eaLnBrk="1" fontAlgn="auto" latinLnBrk="0" hangingPunct="1">
              <a:lnSpc>
                <a:spcPct val="100000"/>
              </a:lnSpc>
              <a:spcBef>
                <a:spcPts val="0"/>
              </a:spcBef>
              <a:spcAft>
                <a:spcPts val="0"/>
              </a:spcAft>
              <a:buClrTx/>
              <a:buSzTx/>
              <a:buFontTx/>
              <a:buNone/>
              <a:tabLst/>
              <a:defRPr/>
            </a:pPr>
            <a:endParaRPr kumimoji="0" lang="de-DE" sz="2100" b="0" i="0" u="none" strike="noStrike" kern="1200" cap="none" spc="0" normalizeH="0" baseline="0" noProof="0">
              <a:ln>
                <a:noFill/>
              </a:ln>
              <a:solidFill>
                <a:srgbClr val="000000"/>
              </a:solidFill>
              <a:effectLst/>
              <a:uLnTx/>
              <a:uFillTx/>
              <a:latin typeface="Arial"/>
              <a:ea typeface="+mn-ea"/>
              <a:cs typeface="+mn-cs"/>
            </a:endParaRPr>
          </a:p>
        </p:txBody>
      </p:sp>
      <p:sp>
        <p:nvSpPr>
          <p:cNvPr id="37" name="Freihandform 36">
            <a:extLst>
              <a:ext uri="{FF2B5EF4-FFF2-40B4-BE49-F238E27FC236}">
                <a16:creationId xmlns:a16="http://schemas.microsoft.com/office/drawing/2014/main" id="{3D6ADF66-88D7-5631-362D-22ADC934EFE8}"/>
              </a:ext>
            </a:extLst>
          </p:cNvPr>
          <p:cNvSpPr/>
          <p:nvPr/>
        </p:nvSpPr>
        <p:spPr>
          <a:xfrm>
            <a:off x="516247" y="1447244"/>
            <a:ext cx="393304" cy="393972"/>
          </a:xfrm>
          <a:custGeom>
            <a:avLst/>
            <a:gdLst>
              <a:gd name="connsiteX0" fmla="*/ 415766 w 504919"/>
              <a:gd name="connsiteY0" fmla="*/ 857 h 505777"/>
              <a:gd name="connsiteX1" fmla="*/ 479202 w 504919"/>
              <a:gd name="connsiteY1" fmla="*/ 26575 h 505777"/>
              <a:gd name="connsiteX2" fmla="*/ 504919 w 504919"/>
              <a:gd name="connsiteY2" fmla="*/ 90011 h 505777"/>
              <a:gd name="connsiteX3" fmla="*/ 504919 w 504919"/>
              <a:gd name="connsiteY3" fmla="*/ 385763 h 505777"/>
              <a:gd name="connsiteX4" fmla="*/ 497205 w 504919"/>
              <a:gd name="connsiteY4" fmla="*/ 404622 h 505777"/>
              <a:gd name="connsiteX5" fmla="*/ 479202 w 504919"/>
              <a:gd name="connsiteY5" fmla="*/ 411480 h 505777"/>
              <a:gd name="connsiteX6" fmla="*/ 461200 w 504919"/>
              <a:gd name="connsiteY6" fmla="*/ 403765 h 505777"/>
              <a:gd name="connsiteX7" fmla="*/ 378047 w 504919"/>
              <a:gd name="connsiteY7" fmla="*/ 316325 h 505777"/>
              <a:gd name="connsiteX8" fmla="*/ 369475 w 504919"/>
              <a:gd name="connsiteY8" fmla="*/ 348901 h 505777"/>
              <a:gd name="connsiteX9" fmla="*/ 350614 w 504919"/>
              <a:gd name="connsiteY9" fmla="*/ 374618 h 505777"/>
              <a:gd name="connsiteX10" fmla="*/ 323183 w 504919"/>
              <a:gd name="connsiteY10" fmla="*/ 392620 h 505777"/>
              <a:gd name="connsiteX11" fmla="*/ 289750 w 504919"/>
              <a:gd name="connsiteY11" fmla="*/ 398621 h 505777"/>
              <a:gd name="connsiteX12" fmla="*/ 137160 w 504919"/>
              <a:gd name="connsiteY12" fmla="*/ 398621 h 505777"/>
              <a:gd name="connsiteX13" fmla="*/ 43720 w 504919"/>
              <a:gd name="connsiteY13" fmla="*/ 498062 h 505777"/>
              <a:gd name="connsiteX14" fmla="*/ 25718 w 504919"/>
              <a:gd name="connsiteY14" fmla="*/ 505778 h 505777"/>
              <a:gd name="connsiteX15" fmla="*/ 7714 w 504919"/>
              <a:gd name="connsiteY15" fmla="*/ 498920 h 505777"/>
              <a:gd name="connsiteX16" fmla="*/ 0 w 504919"/>
              <a:gd name="connsiteY16" fmla="*/ 480060 h 505777"/>
              <a:gd name="connsiteX17" fmla="*/ 0 w 504919"/>
              <a:gd name="connsiteY17" fmla="*/ 184309 h 505777"/>
              <a:gd name="connsiteX18" fmla="*/ 25718 w 504919"/>
              <a:gd name="connsiteY18" fmla="*/ 120872 h 505777"/>
              <a:gd name="connsiteX19" fmla="*/ 89153 w 504919"/>
              <a:gd name="connsiteY19" fmla="*/ 95155 h 505777"/>
              <a:gd name="connsiteX20" fmla="*/ 126872 w 504919"/>
              <a:gd name="connsiteY20" fmla="*/ 95155 h 505777"/>
              <a:gd name="connsiteX21" fmla="*/ 126872 w 504919"/>
              <a:gd name="connsiteY21" fmla="*/ 89154 h 505777"/>
              <a:gd name="connsiteX22" fmla="*/ 152590 w 504919"/>
              <a:gd name="connsiteY22" fmla="*/ 25718 h 505777"/>
              <a:gd name="connsiteX23" fmla="*/ 216027 w 504919"/>
              <a:gd name="connsiteY23" fmla="*/ 0 h 505777"/>
              <a:gd name="connsiteX24" fmla="*/ 415766 w 504919"/>
              <a:gd name="connsiteY24" fmla="*/ 0 h 505777"/>
              <a:gd name="connsiteX25" fmla="*/ 289750 w 504919"/>
              <a:gd name="connsiteY25" fmla="*/ 348043 h 505777"/>
              <a:gd name="connsiteX26" fmla="*/ 317183 w 504919"/>
              <a:gd name="connsiteY26" fmla="*/ 336899 h 505777"/>
              <a:gd name="connsiteX27" fmla="*/ 328326 w 504919"/>
              <a:gd name="connsiteY27" fmla="*/ 310325 h 505777"/>
              <a:gd name="connsiteX28" fmla="*/ 328326 w 504919"/>
              <a:gd name="connsiteY28" fmla="*/ 303467 h 505777"/>
              <a:gd name="connsiteX29" fmla="*/ 215170 w 504919"/>
              <a:gd name="connsiteY29" fmla="*/ 303467 h 505777"/>
              <a:gd name="connsiteX30" fmla="*/ 151733 w 504919"/>
              <a:gd name="connsiteY30" fmla="*/ 277749 h 505777"/>
              <a:gd name="connsiteX31" fmla="*/ 126015 w 504919"/>
              <a:gd name="connsiteY31" fmla="*/ 216027 h 505777"/>
              <a:gd name="connsiteX32" fmla="*/ 126015 w 504919"/>
              <a:gd name="connsiteY32" fmla="*/ 145733 h 505777"/>
              <a:gd name="connsiteX33" fmla="*/ 88296 w 504919"/>
              <a:gd name="connsiteY33" fmla="*/ 145733 h 505777"/>
              <a:gd name="connsiteX34" fmla="*/ 60865 w 504919"/>
              <a:gd name="connsiteY34" fmla="*/ 156877 h 505777"/>
              <a:gd name="connsiteX35" fmla="*/ 49720 w 504919"/>
              <a:gd name="connsiteY35" fmla="*/ 184309 h 505777"/>
              <a:gd name="connsiteX36" fmla="*/ 49720 w 504919"/>
              <a:gd name="connsiteY36" fmla="*/ 416623 h 505777"/>
              <a:gd name="connsiteX37" fmla="*/ 107156 w 504919"/>
              <a:gd name="connsiteY37" fmla="*/ 355759 h 505777"/>
              <a:gd name="connsiteX38" fmla="*/ 126015 w 504919"/>
              <a:gd name="connsiteY38" fmla="*/ 348043 h 505777"/>
              <a:gd name="connsiteX39" fmla="*/ 289750 w 504919"/>
              <a:gd name="connsiteY39" fmla="*/ 348043 h 505777"/>
              <a:gd name="connsiteX40" fmla="*/ 454343 w 504919"/>
              <a:gd name="connsiteY40" fmla="*/ 89154 h 505777"/>
              <a:gd name="connsiteX41" fmla="*/ 443198 w 504919"/>
              <a:gd name="connsiteY41" fmla="*/ 61722 h 505777"/>
              <a:gd name="connsiteX42" fmla="*/ 415766 w 504919"/>
              <a:gd name="connsiteY42" fmla="*/ 50578 h 505777"/>
              <a:gd name="connsiteX43" fmla="*/ 214313 w 504919"/>
              <a:gd name="connsiteY43" fmla="*/ 50578 h 505777"/>
              <a:gd name="connsiteX44" fmla="*/ 186880 w 504919"/>
              <a:gd name="connsiteY44" fmla="*/ 61722 h 505777"/>
              <a:gd name="connsiteX45" fmla="*/ 175736 w 504919"/>
              <a:gd name="connsiteY45" fmla="*/ 89154 h 505777"/>
              <a:gd name="connsiteX46" fmla="*/ 175736 w 504919"/>
              <a:gd name="connsiteY46" fmla="*/ 215170 h 505777"/>
              <a:gd name="connsiteX47" fmla="*/ 186880 w 504919"/>
              <a:gd name="connsiteY47" fmla="*/ 241745 h 505777"/>
              <a:gd name="connsiteX48" fmla="*/ 214313 w 504919"/>
              <a:gd name="connsiteY48" fmla="*/ 252889 h 505777"/>
              <a:gd name="connsiteX49" fmla="*/ 378047 w 504919"/>
              <a:gd name="connsiteY49" fmla="*/ 252889 h 505777"/>
              <a:gd name="connsiteX50" fmla="*/ 396906 w 504919"/>
              <a:gd name="connsiteY50" fmla="*/ 260604 h 505777"/>
              <a:gd name="connsiteX51" fmla="*/ 454343 w 504919"/>
              <a:gd name="connsiteY51" fmla="*/ 321469 h 505777"/>
              <a:gd name="connsiteX52" fmla="*/ 454343 w 504919"/>
              <a:gd name="connsiteY52" fmla="*/ 89154 h 50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504919" h="505777">
                <a:moveTo>
                  <a:pt x="415766" y="857"/>
                </a:moveTo>
                <a:cubicBezTo>
                  <a:pt x="440626" y="857"/>
                  <a:pt x="462057" y="9430"/>
                  <a:pt x="479202" y="26575"/>
                </a:cubicBezTo>
                <a:cubicBezTo>
                  <a:pt x="496347" y="43720"/>
                  <a:pt x="504919" y="64294"/>
                  <a:pt x="504919" y="90011"/>
                </a:cubicBezTo>
                <a:lnTo>
                  <a:pt x="504919" y="385763"/>
                </a:lnTo>
                <a:cubicBezTo>
                  <a:pt x="504919" y="393478"/>
                  <a:pt x="502348" y="399478"/>
                  <a:pt x="497205" y="404622"/>
                </a:cubicBezTo>
                <a:cubicBezTo>
                  <a:pt x="492061" y="408908"/>
                  <a:pt x="486060" y="411480"/>
                  <a:pt x="479202" y="411480"/>
                </a:cubicBezTo>
                <a:cubicBezTo>
                  <a:pt x="472345" y="411480"/>
                  <a:pt x="466343" y="408908"/>
                  <a:pt x="461200" y="403765"/>
                </a:cubicBezTo>
                <a:lnTo>
                  <a:pt x="378047" y="316325"/>
                </a:lnTo>
                <a:cubicBezTo>
                  <a:pt x="377190" y="328327"/>
                  <a:pt x="374618" y="338614"/>
                  <a:pt x="369475" y="348901"/>
                </a:cubicBezTo>
                <a:cubicBezTo>
                  <a:pt x="364331" y="358330"/>
                  <a:pt x="358330" y="367760"/>
                  <a:pt x="350614" y="374618"/>
                </a:cubicBezTo>
                <a:cubicBezTo>
                  <a:pt x="342900" y="382333"/>
                  <a:pt x="333469" y="388334"/>
                  <a:pt x="323183" y="392620"/>
                </a:cubicBezTo>
                <a:cubicBezTo>
                  <a:pt x="312896" y="396907"/>
                  <a:pt x="301752" y="398621"/>
                  <a:pt x="289750" y="398621"/>
                </a:cubicBezTo>
                <a:lnTo>
                  <a:pt x="137160" y="398621"/>
                </a:lnTo>
                <a:lnTo>
                  <a:pt x="43720" y="498062"/>
                </a:lnTo>
                <a:cubicBezTo>
                  <a:pt x="39433" y="503206"/>
                  <a:pt x="33432" y="505778"/>
                  <a:pt x="25718" y="505778"/>
                </a:cubicBezTo>
                <a:cubicBezTo>
                  <a:pt x="18859" y="505778"/>
                  <a:pt x="12859" y="503206"/>
                  <a:pt x="7714" y="498920"/>
                </a:cubicBezTo>
                <a:cubicBezTo>
                  <a:pt x="2571" y="494633"/>
                  <a:pt x="0" y="487775"/>
                  <a:pt x="0" y="480060"/>
                </a:cubicBezTo>
                <a:lnTo>
                  <a:pt x="0" y="184309"/>
                </a:lnTo>
                <a:cubicBezTo>
                  <a:pt x="0" y="159449"/>
                  <a:pt x="8573" y="138017"/>
                  <a:pt x="25718" y="120872"/>
                </a:cubicBezTo>
                <a:cubicBezTo>
                  <a:pt x="42863" y="103727"/>
                  <a:pt x="63436" y="95155"/>
                  <a:pt x="89153" y="95155"/>
                </a:cubicBezTo>
                <a:lnTo>
                  <a:pt x="126872" y="95155"/>
                </a:lnTo>
                <a:lnTo>
                  <a:pt x="126872" y="89154"/>
                </a:lnTo>
                <a:cubicBezTo>
                  <a:pt x="126872" y="64294"/>
                  <a:pt x="135445" y="42863"/>
                  <a:pt x="152590" y="25718"/>
                </a:cubicBezTo>
                <a:cubicBezTo>
                  <a:pt x="169735" y="8573"/>
                  <a:pt x="190309" y="0"/>
                  <a:pt x="216027" y="0"/>
                </a:cubicBezTo>
                <a:lnTo>
                  <a:pt x="415766" y="0"/>
                </a:lnTo>
                <a:close/>
                <a:moveTo>
                  <a:pt x="289750" y="348043"/>
                </a:moveTo>
                <a:cubicBezTo>
                  <a:pt x="300895" y="348043"/>
                  <a:pt x="310324" y="344615"/>
                  <a:pt x="317183" y="336899"/>
                </a:cubicBezTo>
                <a:cubicBezTo>
                  <a:pt x="324040" y="330041"/>
                  <a:pt x="328326" y="320612"/>
                  <a:pt x="328326" y="310325"/>
                </a:cubicBezTo>
                <a:lnTo>
                  <a:pt x="328326" y="303467"/>
                </a:lnTo>
                <a:lnTo>
                  <a:pt x="215170" y="303467"/>
                </a:lnTo>
                <a:cubicBezTo>
                  <a:pt x="190309" y="303467"/>
                  <a:pt x="168878" y="294894"/>
                  <a:pt x="151733" y="277749"/>
                </a:cubicBezTo>
                <a:cubicBezTo>
                  <a:pt x="134588" y="260604"/>
                  <a:pt x="126015" y="240030"/>
                  <a:pt x="126015" y="216027"/>
                </a:cubicBezTo>
                <a:lnTo>
                  <a:pt x="126015" y="145733"/>
                </a:lnTo>
                <a:lnTo>
                  <a:pt x="88296" y="145733"/>
                </a:lnTo>
                <a:cubicBezTo>
                  <a:pt x="77153" y="145733"/>
                  <a:pt x="67722" y="149161"/>
                  <a:pt x="60865" y="156877"/>
                </a:cubicBezTo>
                <a:cubicBezTo>
                  <a:pt x="54006" y="163735"/>
                  <a:pt x="49720" y="173165"/>
                  <a:pt x="49720" y="184309"/>
                </a:cubicBezTo>
                <a:lnTo>
                  <a:pt x="49720" y="416623"/>
                </a:lnTo>
                <a:lnTo>
                  <a:pt x="107156" y="355759"/>
                </a:lnTo>
                <a:cubicBezTo>
                  <a:pt x="112300" y="350615"/>
                  <a:pt x="118300" y="348043"/>
                  <a:pt x="126015" y="348043"/>
                </a:cubicBezTo>
                <a:lnTo>
                  <a:pt x="289750" y="348043"/>
                </a:lnTo>
                <a:close/>
                <a:moveTo>
                  <a:pt x="454343" y="89154"/>
                </a:moveTo>
                <a:cubicBezTo>
                  <a:pt x="454343" y="78010"/>
                  <a:pt x="450913" y="68580"/>
                  <a:pt x="443198" y="61722"/>
                </a:cubicBezTo>
                <a:cubicBezTo>
                  <a:pt x="436339" y="54864"/>
                  <a:pt x="426910" y="50578"/>
                  <a:pt x="415766" y="50578"/>
                </a:cubicBezTo>
                <a:lnTo>
                  <a:pt x="214313" y="50578"/>
                </a:lnTo>
                <a:cubicBezTo>
                  <a:pt x="203168" y="50578"/>
                  <a:pt x="193738" y="54007"/>
                  <a:pt x="186880" y="61722"/>
                </a:cubicBezTo>
                <a:cubicBezTo>
                  <a:pt x="180023" y="68580"/>
                  <a:pt x="175736" y="78010"/>
                  <a:pt x="175736" y="89154"/>
                </a:cubicBezTo>
                <a:lnTo>
                  <a:pt x="175736" y="215170"/>
                </a:lnTo>
                <a:cubicBezTo>
                  <a:pt x="175736" y="225457"/>
                  <a:pt x="179164" y="234887"/>
                  <a:pt x="186880" y="241745"/>
                </a:cubicBezTo>
                <a:cubicBezTo>
                  <a:pt x="193738" y="248603"/>
                  <a:pt x="203168" y="252889"/>
                  <a:pt x="214313" y="252889"/>
                </a:cubicBezTo>
                <a:lnTo>
                  <a:pt x="378047" y="252889"/>
                </a:lnTo>
                <a:cubicBezTo>
                  <a:pt x="384904" y="252889"/>
                  <a:pt x="391763" y="255460"/>
                  <a:pt x="396906" y="260604"/>
                </a:cubicBezTo>
                <a:lnTo>
                  <a:pt x="454343" y="321469"/>
                </a:lnTo>
                <a:lnTo>
                  <a:pt x="454343" y="89154"/>
                </a:lnTo>
                <a:close/>
              </a:path>
            </a:pathLst>
          </a:custGeom>
          <a:solidFill>
            <a:schemeClr val="accent5"/>
          </a:solidFill>
          <a:ln w="8572" cap="flat">
            <a:noFill/>
            <a:prstDash val="solid"/>
            <a:miter/>
          </a:ln>
        </p:spPr>
        <p:txBody>
          <a:bodyPr rtlCol="0" anchor="ctr"/>
          <a:lstStyle/>
          <a:p>
            <a:pPr marL="0" marR="0" lvl="0" indent="0" algn="l" defTabSz="1088776" rtl="0" eaLnBrk="1" fontAlgn="auto" latinLnBrk="0" hangingPunct="1">
              <a:lnSpc>
                <a:spcPct val="100000"/>
              </a:lnSpc>
              <a:spcBef>
                <a:spcPts val="0"/>
              </a:spcBef>
              <a:spcAft>
                <a:spcPts val="0"/>
              </a:spcAft>
              <a:buClrTx/>
              <a:buSzTx/>
              <a:buFontTx/>
              <a:buNone/>
              <a:tabLst/>
              <a:defRPr/>
            </a:pPr>
            <a:endParaRPr kumimoji="0" lang="de-DE" sz="2100" b="0" i="0" u="none" strike="noStrike" kern="1200" cap="none" spc="0" normalizeH="0" baseline="0" noProof="0">
              <a:ln>
                <a:noFill/>
              </a:ln>
              <a:solidFill>
                <a:srgbClr val="000000"/>
              </a:solidFill>
              <a:effectLst/>
              <a:uLnTx/>
              <a:uFillTx/>
              <a:latin typeface="Arial"/>
              <a:ea typeface="+mn-ea"/>
              <a:cs typeface="+mn-cs"/>
            </a:endParaRPr>
          </a:p>
        </p:txBody>
      </p:sp>
      <p:pic>
        <p:nvPicPr>
          <p:cNvPr id="9" name="Picture 8">
            <a:extLst>
              <a:ext uri="{FF2B5EF4-FFF2-40B4-BE49-F238E27FC236}">
                <a16:creationId xmlns:a16="http://schemas.microsoft.com/office/drawing/2014/main" id="{3E8CEBDA-41DB-6D5F-A85C-24F2D375885B}"/>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504002" y="2203419"/>
            <a:ext cx="752144" cy="753834"/>
          </a:xfrm>
          <a:prstGeom prst="rect">
            <a:avLst/>
          </a:prstGeom>
        </p:spPr>
      </p:pic>
      <p:sp>
        <p:nvSpPr>
          <p:cNvPr id="11" name="TextBox 10">
            <a:extLst>
              <a:ext uri="{FF2B5EF4-FFF2-40B4-BE49-F238E27FC236}">
                <a16:creationId xmlns:a16="http://schemas.microsoft.com/office/drawing/2014/main" id="{E074ED10-E760-D262-36C6-6AA503900234}"/>
              </a:ext>
            </a:extLst>
          </p:cNvPr>
          <p:cNvSpPr txBox="1"/>
          <p:nvPr/>
        </p:nvSpPr>
        <p:spPr>
          <a:xfrm>
            <a:off x="1056928" y="2381736"/>
            <a:ext cx="2891167" cy="307777"/>
          </a:xfrm>
          <a:prstGeom prst="rect">
            <a:avLst/>
          </a:prstGeom>
          <a:noFill/>
        </p:spPr>
        <p:txBody>
          <a:bodyPr wrap="square">
            <a:spAutoFit/>
          </a:bodyPr>
          <a:lstStyle/>
          <a:p>
            <a:pPr marL="254250" marR="0" lvl="1" indent="0" algn="l" defTabSz="1088776" rtl="0" eaLnBrk="1" fontAlgn="auto" latinLnBrk="0" hangingPunct="1">
              <a:lnSpc>
                <a:spcPct val="100000"/>
              </a:lnSpc>
              <a:spcBef>
                <a:spcPts val="0"/>
              </a:spcBef>
              <a:spcAft>
                <a:spcPts val="0"/>
              </a:spcAft>
              <a:buClr>
                <a:srgbClr val="F31DED"/>
              </a:buClr>
              <a:buSzTx/>
              <a:buNone/>
              <a:tabLst/>
              <a:defRPr/>
            </a:pPr>
            <a:r>
              <a:rPr kumimoji="0" lang="en-DE" sz="1400" b="0" i="0" u="none" strike="noStrike" kern="0" cap="none" spc="0" normalizeH="0" baseline="0" noProof="0" dirty="0">
                <a:ln>
                  <a:noFill/>
                </a:ln>
                <a:solidFill>
                  <a:srgbClr val="F31DED"/>
                </a:solidFill>
                <a:effectLst/>
                <a:uLnTx/>
                <a:uFillTx/>
                <a:latin typeface="72 Brand" panose="020B0504030603020204" pitchFamily="34" charset="0"/>
                <a:ea typeface="Arial Unicode MS" pitchFamily="34" charset="-128"/>
                <a:hlinkClick r:id="rId8">
                  <a:extLst>
                    <a:ext uri="{A12FA001-AC4F-418D-AE19-62706E023703}">
                      <ahyp:hlinkClr xmlns:ahyp="http://schemas.microsoft.com/office/drawing/2018/hyperlinkcolor" val="tx"/>
                    </a:ext>
                  </a:extLst>
                </a:hlinkClick>
              </a:rPr>
              <a:t>SAP’s Event-Driven Ecosystem</a:t>
            </a:r>
            <a:endParaRPr kumimoji="0" lang="en-DE" sz="1400" b="0" i="0" u="none" strike="noStrike" kern="0" cap="none" spc="0" normalizeH="0" baseline="0" noProof="0" dirty="0">
              <a:ln>
                <a:noFill/>
              </a:ln>
              <a:solidFill>
                <a:srgbClr val="F31DED"/>
              </a:solidFill>
              <a:effectLst/>
              <a:uLnTx/>
              <a:uFillTx/>
              <a:latin typeface="72 Brand" panose="020B0504030603020204" pitchFamily="34" charset="0"/>
              <a:ea typeface="Arial Unicode MS" pitchFamily="34" charset="-128"/>
            </a:endParaRPr>
          </a:p>
        </p:txBody>
      </p:sp>
      <p:pic>
        <p:nvPicPr>
          <p:cNvPr id="13" name="Picture 12">
            <a:extLst>
              <a:ext uri="{FF2B5EF4-FFF2-40B4-BE49-F238E27FC236}">
                <a16:creationId xmlns:a16="http://schemas.microsoft.com/office/drawing/2014/main" id="{BA56F4D9-2FA9-8B2D-BBD2-7C69605403CB}"/>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504001" y="3555323"/>
            <a:ext cx="752144" cy="757136"/>
          </a:xfrm>
          <a:prstGeom prst="rect">
            <a:avLst/>
          </a:prstGeom>
        </p:spPr>
      </p:pic>
      <p:sp>
        <p:nvSpPr>
          <p:cNvPr id="16" name="TextBox 15">
            <a:extLst>
              <a:ext uri="{FF2B5EF4-FFF2-40B4-BE49-F238E27FC236}">
                <a16:creationId xmlns:a16="http://schemas.microsoft.com/office/drawing/2014/main" id="{758E3B9D-984E-3A52-7399-A379B7DCC588}"/>
              </a:ext>
            </a:extLst>
          </p:cNvPr>
          <p:cNvSpPr txBox="1"/>
          <p:nvPr/>
        </p:nvSpPr>
        <p:spPr>
          <a:xfrm>
            <a:off x="1056928" y="3759984"/>
            <a:ext cx="3165764" cy="307777"/>
          </a:xfrm>
          <a:prstGeom prst="rect">
            <a:avLst/>
          </a:prstGeom>
          <a:noFill/>
        </p:spPr>
        <p:txBody>
          <a:bodyPr wrap="square">
            <a:spAutoFit/>
          </a:bodyPr>
          <a:lstStyle/>
          <a:p>
            <a:pPr marL="254250" marR="0" lvl="1" algn="l" defTabSz="1088776" rtl="0" eaLnBrk="1" fontAlgn="auto" latinLnBrk="0" hangingPunct="1">
              <a:lnSpc>
                <a:spcPct val="100000"/>
              </a:lnSpc>
              <a:spcBef>
                <a:spcPts val="0"/>
              </a:spcBef>
              <a:spcAft>
                <a:spcPts val="0"/>
              </a:spcAft>
              <a:buClr>
                <a:srgbClr val="F31DED"/>
              </a:buClr>
              <a:buSzTx/>
              <a:buNone/>
              <a:tabLst/>
              <a:defRPr/>
            </a:pPr>
            <a:r>
              <a:rPr kumimoji="0" lang="en-DE" sz="1400" b="0" i="0" u="none" strike="noStrike" kern="0" cap="none" spc="0" normalizeH="0" baseline="0" noProof="0" dirty="0">
                <a:ln>
                  <a:noFill/>
                </a:ln>
                <a:solidFill>
                  <a:srgbClr val="F31DED"/>
                </a:solidFill>
                <a:effectLst/>
                <a:uLnTx/>
                <a:uFillTx/>
                <a:latin typeface="72 Brand" panose="020B0504030603020204" pitchFamily="34" charset="0"/>
                <a:ea typeface="Arial Unicode MS" pitchFamily="34" charset="-128"/>
                <a:hlinkClick r:id="rId10">
                  <a:extLst>
                    <a:ext uri="{A12FA001-AC4F-418D-AE19-62706E023703}">
                      <ahyp:hlinkClr xmlns:ahyp="http://schemas.microsoft.com/office/drawing/2018/hyperlinkcolor" val="tx"/>
                    </a:ext>
                  </a:extLst>
                </a:hlinkClick>
              </a:rPr>
              <a:t>Introducing Advanced Event Mesh</a:t>
            </a:r>
            <a:endParaRPr kumimoji="0" lang="en-US" sz="1400" b="0" i="0" u="none" strike="noStrike" kern="0" cap="none" spc="0" normalizeH="0" baseline="0" noProof="0" dirty="0">
              <a:ln>
                <a:noFill/>
              </a:ln>
              <a:solidFill>
                <a:srgbClr val="F31DED"/>
              </a:solidFill>
              <a:effectLst/>
              <a:uLnTx/>
              <a:uFillTx/>
              <a:latin typeface="72 Brand" panose="020B0504030603020204" pitchFamily="34" charset="0"/>
              <a:ea typeface="Arial Unicode MS" pitchFamily="34" charset="-128"/>
            </a:endParaRPr>
          </a:p>
        </p:txBody>
      </p:sp>
      <p:pic>
        <p:nvPicPr>
          <p:cNvPr id="18" name="Picture 17">
            <a:extLst>
              <a:ext uri="{FF2B5EF4-FFF2-40B4-BE49-F238E27FC236}">
                <a16:creationId xmlns:a16="http://schemas.microsoft.com/office/drawing/2014/main" id="{05EBD61F-9283-FC0E-C780-8BD47A83D652}"/>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504001" y="4910530"/>
            <a:ext cx="752144" cy="759076"/>
          </a:xfrm>
          <a:prstGeom prst="rect">
            <a:avLst/>
          </a:prstGeom>
        </p:spPr>
      </p:pic>
      <p:pic>
        <p:nvPicPr>
          <p:cNvPr id="20" name="Picture 19">
            <a:extLst>
              <a:ext uri="{FF2B5EF4-FFF2-40B4-BE49-F238E27FC236}">
                <a16:creationId xmlns:a16="http://schemas.microsoft.com/office/drawing/2014/main" id="{C871A500-DDEF-E06F-02FC-F8438C362AE0}"/>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5048159" y="2203419"/>
            <a:ext cx="760766" cy="759076"/>
          </a:xfrm>
          <a:prstGeom prst="rect">
            <a:avLst/>
          </a:prstGeom>
        </p:spPr>
      </p:pic>
      <p:sp>
        <p:nvSpPr>
          <p:cNvPr id="22" name="TextBox 21">
            <a:extLst>
              <a:ext uri="{FF2B5EF4-FFF2-40B4-BE49-F238E27FC236}">
                <a16:creationId xmlns:a16="http://schemas.microsoft.com/office/drawing/2014/main" id="{B8631B08-504D-FCFA-6DEA-483507A0F1E9}"/>
              </a:ext>
            </a:extLst>
          </p:cNvPr>
          <p:cNvSpPr txBox="1"/>
          <p:nvPr/>
        </p:nvSpPr>
        <p:spPr>
          <a:xfrm>
            <a:off x="5889475" y="2347848"/>
            <a:ext cx="2044264" cy="375552"/>
          </a:xfrm>
          <a:prstGeom prst="rect">
            <a:avLst/>
          </a:prstGeom>
          <a:noFill/>
        </p:spPr>
        <p:txBody>
          <a:bodyPr wrap="square">
            <a:spAutoFit/>
          </a:bodyPr>
          <a:lstStyle/>
          <a:p>
            <a:pPr marL="0" lvl="1" fontAlgn="base">
              <a:lnSpc>
                <a:spcPct val="150000"/>
              </a:lnSpc>
              <a:spcAft>
                <a:spcPct val="0"/>
              </a:spcAft>
              <a:buClr>
                <a:srgbClr val="36A41D"/>
              </a:buClr>
              <a:buNone/>
              <a:defRPr/>
            </a:pPr>
            <a:r>
              <a:rPr kumimoji="0" lang="en-GB" sz="1400" b="0" i="0" u="sng" strike="noStrike" kern="0" cap="none" spc="0" normalizeH="0" baseline="0" noProof="0" dirty="0">
                <a:ln>
                  <a:noFill/>
                </a:ln>
                <a:solidFill>
                  <a:srgbClr val="36A41D"/>
                </a:solidFill>
                <a:effectLst/>
                <a:uLnTx/>
                <a:uFillTx/>
                <a:latin typeface="72 Brand" panose="020B0504030603020204" pitchFamily="34" charset="0"/>
                <a:ea typeface="Arial Unicode MS" pitchFamily="34" charset="-128"/>
                <a:cs typeface="Arial Unicode MS" pitchFamily="34" charset="-128"/>
                <a:hlinkClick r:id="rId13">
                  <a:extLst>
                    <a:ext uri="{A12FA001-AC4F-418D-AE19-62706E023703}">
                      <ahyp:hlinkClr xmlns:ahyp="http://schemas.microsoft.com/office/drawing/2018/hyperlinkcolor" val="tx"/>
                    </a:ext>
                  </a:extLst>
                </a:hlinkClick>
              </a:rPr>
              <a:t>Discovery Center</a:t>
            </a:r>
            <a:endParaRPr kumimoji="0" lang="en-GB" sz="1400" b="0" i="0" u="sng" strike="noStrike" kern="0" cap="none" spc="0" normalizeH="0" baseline="0" noProof="0" dirty="0">
              <a:ln>
                <a:noFill/>
              </a:ln>
              <a:solidFill>
                <a:srgbClr val="36A41D"/>
              </a:solidFill>
              <a:effectLst/>
              <a:uLnTx/>
              <a:uFillTx/>
              <a:latin typeface="72 Brand" panose="020B0504030603020204" pitchFamily="34" charset="0"/>
              <a:ea typeface="Arial Unicode MS" pitchFamily="34" charset="-128"/>
              <a:cs typeface="Arial Unicode MS" pitchFamily="34" charset="-128"/>
              <a:hlinkClick r:id="rId14">
                <a:extLst>
                  <a:ext uri="{A12FA001-AC4F-418D-AE19-62706E023703}">
                    <ahyp:hlinkClr xmlns:ahyp="http://schemas.microsoft.com/office/drawing/2018/hyperlinkcolor" val="tx"/>
                  </a:ext>
                </a:extLst>
              </a:hlinkClick>
            </a:endParaRPr>
          </a:p>
        </p:txBody>
      </p:sp>
      <p:pic>
        <p:nvPicPr>
          <p:cNvPr id="26" name="Picture 25">
            <a:extLst>
              <a:ext uri="{FF2B5EF4-FFF2-40B4-BE49-F238E27FC236}">
                <a16:creationId xmlns:a16="http://schemas.microsoft.com/office/drawing/2014/main" id="{CE79F987-C65E-FBCA-6B69-DB3B85695962}"/>
              </a:ext>
            </a:extLst>
          </p:cNvPr>
          <p:cNvPicPr>
            <a:picLocks noChangeAspect="1"/>
          </p:cNvPicPr>
          <p:nvPr/>
        </p:nvPicPr>
        <p:blipFill>
          <a:blip r:embed="rId15" cstate="screen">
            <a:extLst>
              <a:ext uri="{28A0092B-C50C-407E-A947-70E740481C1C}">
                <a14:useLocalDpi xmlns:a14="http://schemas.microsoft.com/office/drawing/2010/main"/>
              </a:ext>
            </a:extLst>
          </a:blip>
          <a:stretch>
            <a:fillRect/>
          </a:stretch>
        </p:blipFill>
        <p:spPr>
          <a:xfrm>
            <a:off x="5053813" y="3555323"/>
            <a:ext cx="758890" cy="757137"/>
          </a:xfrm>
          <a:prstGeom prst="rect">
            <a:avLst/>
          </a:prstGeom>
        </p:spPr>
      </p:pic>
      <p:sp>
        <p:nvSpPr>
          <p:cNvPr id="28" name="TextBox 27">
            <a:extLst>
              <a:ext uri="{FF2B5EF4-FFF2-40B4-BE49-F238E27FC236}">
                <a16:creationId xmlns:a16="http://schemas.microsoft.com/office/drawing/2014/main" id="{A9A9BAB5-AABB-D5B2-5C60-A3FD5E6BC07F}"/>
              </a:ext>
            </a:extLst>
          </p:cNvPr>
          <p:cNvSpPr txBox="1"/>
          <p:nvPr/>
        </p:nvSpPr>
        <p:spPr>
          <a:xfrm>
            <a:off x="5889475" y="3685043"/>
            <a:ext cx="1087582" cy="375552"/>
          </a:xfrm>
          <a:prstGeom prst="rect">
            <a:avLst/>
          </a:prstGeom>
          <a:noFill/>
        </p:spPr>
        <p:txBody>
          <a:bodyPr wrap="square">
            <a:spAutoFit/>
          </a:bodyPr>
          <a:lstStyle/>
          <a:p>
            <a:pPr marL="0" marR="0" lvl="1" algn="l" defTabSz="1088776" rtl="0" eaLnBrk="1" fontAlgn="base" latinLnBrk="0" hangingPunct="1">
              <a:lnSpc>
                <a:spcPct val="150000"/>
              </a:lnSpc>
              <a:spcBef>
                <a:spcPts val="0"/>
              </a:spcBef>
              <a:spcAft>
                <a:spcPct val="0"/>
              </a:spcAft>
              <a:buClr>
                <a:srgbClr val="36A41D"/>
              </a:buClr>
              <a:buSzPct val="100000"/>
              <a:buNone/>
              <a:tabLst/>
              <a:defRPr/>
            </a:pPr>
            <a:r>
              <a:rPr kumimoji="0" lang="en-GB" sz="1400" b="0" i="0" u="sng" strike="noStrike" kern="0" cap="none" spc="0" normalizeH="0" baseline="0" noProof="0" dirty="0">
                <a:ln>
                  <a:noFill/>
                </a:ln>
                <a:solidFill>
                  <a:srgbClr val="36A41D"/>
                </a:solidFill>
                <a:effectLst/>
                <a:uLnTx/>
                <a:uFillTx/>
                <a:latin typeface="72 Brand" panose="020B0504030603020204" pitchFamily="34" charset="0"/>
                <a:ea typeface="Arial Unicode MS" pitchFamily="34" charset="-128"/>
                <a:cs typeface="Arial Unicode MS" pitchFamily="34" charset="-128"/>
                <a:hlinkClick r:id="rId16">
                  <a:extLst>
                    <a:ext uri="{A12FA001-AC4F-418D-AE19-62706E023703}">
                      <ahyp:hlinkClr xmlns:ahyp="http://schemas.microsoft.com/office/drawing/2018/hyperlinkcolor" val="tx"/>
                    </a:ext>
                  </a:extLst>
                </a:hlinkClick>
              </a:rPr>
              <a:t>Road map</a:t>
            </a:r>
            <a:endParaRPr kumimoji="0" lang="en-GB" sz="1400" b="0" i="0" u="sng" strike="noStrike" kern="0" cap="none" spc="0" normalizeH="0" baseline="0" noProof="0" dirty="0">
              <a:ln>
                <a:noFill/>
              </a:ln>
              <a:solidFill>
                <a:srgbClr val="36A41D"/>
              </a:solidFill>
              <a:effectLst/>
              <a:uLnTx/>
              <a:uFillTx/>
              <a:latin typeface="72 Brand" panose="020B0504030603020204" pitchFamily="34" charset="0"/>
              <a:ea typeface="Arial Unicode MS" pitchFamily="34" charset="-128"/>
              <a:cs typeface="Arial Unicode MS" pitchFamily="34" charset="-128"/>
            </a:endParaRPr>
          </a:p>
        </p:txBody>
      </p:sp>
      <p:pic>
        <p:nvPicPr>
          <p:cNvPr id="31" name="Picture 30">
            <a:extLst>
              <a:ext uri="{FF2B5EF4-FFF2-40B4-BE49-F238E27FC236}">
                <a16:creationId xmlns:a16="http://schemas.microsoft.com/office/drawing/2014/main" id="{7E77DA30-0979-E611-CC83-3ABB60A63064}"/>
              </a:ext>
            </a:extLst>
          </p:cNvPr>
          <p:cNvPicPr>
            <a:picLocks noChangeAspect="1"/>
          </p:cNvPicPr>
          <p:nvPr/>
        </p:nvPicPr>
        <p:blipFill>
          <a:blip r:embed="rId17" cstate="screen">
            <a:extLst>
              <a:ext uri="{28A0092B-C50C-407E-A947-70E740481C1C}">
                <a14:useLocalDpi xmlns:a14="http://schemas.microsoft.com/office/drawing/2010/main"/>
              </a:ext>
            </a:extLst>
          </a:blip>
          <a:stretch>
            <a:fillRect/>
          </a:stretch>
        </p:blipFill>
        <p:spPr>
          <a:xfrm>
            <a:off x="5043338" y="4907274"/>
            <a:ext cx="765587" cy="765587"/>
          </a:xfrm>
          <a:prstGeom prst="rect">
            <a:avLst/>
          </a:prstGeom>
        </p:spPr>
      </p:pic>
      <p:pic>
        <p:nvPicPr>
          <p:cNvPr id="33" name="Picture 32">
            <a:extLst>
              <a:ext uri="{FF2B5EF4-FFF2-40B4-BE49-F238E27FC236}">
                <a16:creationId xmlns:a16="http://schemas.microsoft.com/office/drawing/2014/main" id="{2D4486E6-4873-7876-B28C-7F1C3E3F16B9}"/>
              </a:ext>
            </a:extLst>
          </p:cNvPr>
          <p:cNvPicPr>
            <a:picLocks noChangeAspect="1"/>
          </p:cNvPicPr>
          <p:nvPr/>
        </p:nvPicPr>
        <p:blipFill>
          <a:blip r:embed="rId18" cstate="screen">
            <a:extLst>
              <a:ext uri="{28A0092B-C50C-407E-A947-70E740481C1C}">
                <a14:useLocalDpi xmlns:a14="http://schemas.microsoft.com/office/drawing/2010/main"/>
              </a:ext>
            </a:extLst>
          </a:blip>
          <a:stretch>
            <a:fillRect/>
          </a:stretch>
        </p:blipFill>
        <p:spPr>
          <a:xfrm>
            <a:off x="8216604" y="4907274"/>
            <a:ext cx="764105" cy="762332"/>
          </a:xfrm>
          <a:prstGeom prst="rect">
            <a:avLst/>
          </a:prstGeom>
        </p:spPr>
      </p:pic>
      <p:sp>
        <p:nvSpPr>
          <p:cNvPr id="35" name="TextBox 34">
            <a:extLst>
              <a:ext uri="{FF2B5EF4-FFF2-40B4-BE49-F238E27FC236}">
                <a16:creationId xmlns:a16="http://schemas.microsoft.com/office/drawing/2014/main" id="{4EFA3154-7A7D-586E-022D-2606642E5DA8}"/>
              </a:ext>
            </a:extLst>
          </p:cNvPr>
          <p:cNvSpPr txBox="1"/>
          <p:nvPr/>
        </p:nvSpPr>
        <p:spPr>
          <a:xfrm>
            <a:off x="8827571" y="4982118"/>
            <a:ext cx="3756891" cy="523220"/>
          </a:xfrm>
          <a:prstGeom prst="rect">
            <a:avLst/>
          </a:prstGeom>
          <a:noFill/>
        </p:spPr>
        <p:txBody>
          <a:bodyPr wrap="square">
            <a:spAutoFit/>
          </a:bodyPr>
          <a:lstStyle/>
          <a:p>
            <a:pPr marL="171450" marR="0" lvl="1" algn="l" defTabSz="1088776" rtl="0" eaLnBrk="1" fontAlgn="base" latinLnBrk="0" hangingPunct="1">
              <a:lnSpc>
                <a:spcPct val="100000"/>
              </a:lnSpc>
              <a:spcBef>
                <a:spcPts val="0"/>
              </a:spcBef>
              <a:spcAft>
                <a:spcPts val="0"/>
              </a:spcAft>
              <a:buClr>
                <a:srgbClr val="049F9A"/>
              </a:buClr>
              <a:buSzTx/>
              <a:buNone/>
              <a:tabLst/>
              <a:defRPr/>
            </a:pPr>
            <a:r>
              <a:rPr kumimoji="0" lang="en-GB" sz="1400" b="0" i="0" u="none" strike="noStrike" kern="0" cap="none" spc="0" normalizeH="0" baseline="0" noProof="0" dirty="0">
                <a:ln>
                  <a:noFill/>
                </a:ln>
                <a:solidFill>
                  <a:srgbClr val="049F9A"/>
                </a:solidFill>
                <a:effectLst/>
                <a:uLnTx/>
                <a:uFillTx/>
                <a:latin typeface="72 Brand" panose="020B0504030603020204" pitchFamily="34" charset="0"/>
                <a:ea typeface="Arial Unicode MS"/>
                <a:cs typeface="Arial Unicode MS"/>
                <a:hlinkClick r:id="rId19">
                  <a:extLst>
                    <a:ext uri="{A12FA001-AC4F-418D-AE19-62706E023703}">
                      <ahyp:hlinkClr xmlns:ahyp="http://schemas.microsoft.com/office/drawing/2018/hyperlinkcolor" val="tx"/>
                    </a:ext>
                  </a:extLst>
                </a:hlinkClick>
              </a:rPr>
              <a:t>Devtoberfest: SAP S/4HANA and Advanced Event Mesh</a:t>
            </a:r>
            <a:endParaRPr kumimoji="0" lang="en-GB" sz="1400" b="0" i="0" u="none" strike="noStrike" kern="0" cap="none" spc="0" normalizeH="0" baseline="0" noProof="0" dirty="0">
              <a:ln>
                <a:noFill/>
              </a:ln>
              <a:solidFill>
                <a:srgbClr val="049F9A"/>
              </a:solidFill>
              <a:effectLst/>
              <a:uLnTx/>
              <a:uFillTx/>
              <a:latin typeface="72 Brand" panose="020B0504030603020204" pitchFamily="34" charset="0"/>
              <a:ea typeface="Arial Unicode MS"/>
              <a:cs typeface="Arial Unicode MS"/>
            </a:endParaRPr>
          </a:p>
        </p:txBody>
      </p:sp>
      <p:pic>
        <p:nvPicPr>
          <p:cNvPr id="38" name="Picture 37">
            <a:extLst>
              <a:ext uri="{FF2B5EF4-FFF2-40B4-BE49-F238E27FC236}">
                <a16:creationId xmlns:a16="http://schemas.microsoft.com/office/drawing/2014/main" id="{64F7DA72-0404-E6BC-DDF4-C7219DFDECAE}"/>
              </a:ext>
            </a:extLst>
          </p:cNvPr>
          <p:cNvPicPr>
            <a:picLocks noChangeAspect="1"/>
          </p:cNvPicPr>
          <p:nvPr/>
        </p:nvPicPr>
        <p:blipFill>
          <a:blip r:embed="rId20" cstate="screen">
            <a:extLst>
              <a:ext uri="{28A0092B-C50C-407E-A947-70E740481C1C}">
                <a14:useLocalDpi xmlns:a14="http://schemas.microsoft.com/office/drawing/2010/main"/>
              </a:ext>
            </a:extLst>
          </a:blip>
          <a:stretch>
            <a:fillRect/>
          </a:stretch>
        </p:blipFill>
        <p:spPr>
          <a:xfrm>
            <a:off x="8216604" y="3552564"/>
            <a:ext cx="783026" cy="781234"/>
          </a:xfrm>
          <a:prstGeom prst="rect">
            <a:avLst/>
          </a:prstGeom>
        </p:spPr>
      </p:pic>
      <p:sp>
        <p:nvSpPr>
          <p:cNvPr id="40" name="TextBox 39">
            <a:extLst>
              <a:ext uri="{FF2B5EF4-FFF2-40B4-BE49-F238E27FC236}">
                <a16:creationId xmlns:a16="http://schemas.microsoft.com/office/drawing/2014/main" id="{83890D4D-8E75-108D-56A7-AB81EDB97DC3}"/>
              </a:ext>
            </a:extLst>
          </p:cNvPr>
          <p:cNvSpPr txBox="1"/>
          <p:nvPr/>
        </p:nvSpPr>
        <p:spPr>
          <a:xfrm>
            <a:off x="8886733" y="3789292"/>
            <a:ext cx="2623147" cy="307777"/>
          </a:xfrm>
          <a:prstGeom prst="rect">
            <a:avLst/>
          </a:prstGeom>
          <a:noFill/>
        </p:spPr>
        <p:txBody>
          <a:bodyPr wrap="square">
            <a:spAutoFit/>
          </a:bodyPr>
          <a:lstStyle/>
          <a:p>
            <a:pPr marL="171450" marR="0" lvl="1" algn="l" defTabSz="1088776" rtl="0" eaLnBrk="1" fontAlgn="base" latinLnBrk="0" hangingPunct="1">
              <a:lnSpc>
                <a:spcPct val="100000"/>
              </a:lnSpc>
              <a:spcBef>
                <a:spcPts val="0"/>
              </a:spcBef>
              <a:spcAft>
                <a:spcPts val="0"/>
              </a:spcAft>
              <a:buClr>
                <a:srgbClr val="049F9A"/>
              </a:buClr>
              <a:buSzTx/>
              <a:buNone/>
              <a:tabLst/>
              <a:defRPr/>
            </a:pPr>
            <a:r>
              <a:rPr kumimoji="0" lang="en-US" sz="1400" b="0" i="0" u="none" strike="noStrike" kern="0" cap="none" spc="0" normalizeH="0" baseline="0" noProof="0" dirty="0">
                <a:ln>
                  <a:noFill/>
                </a:ln>
                <a:solidFill>
                  <a:srgbClr val="049F9A"/>
                </a:solidFill>
                <a:effectLst/>
                <a:uLnTx/>
                <a:uFillTx/>
                <a:latin typeface="72 Brand" panose="020B0504030603020204" pitchFamily="34" charset="0"/>
                <a:ea typeface="Arial Unicode MS"/>
                <a:cs typeface="+mn-cs"/>
                <a:hlinkClick r:id="rId21">
                  <a:extLst>
                    <a:ext uri="{A12FA001-AC4F-418D-AE19-62706E023703}">
                      <ahyp:hlinkClr xmlns:ahyp="http://schemas.microsoft.com/office/drawing/2018/hyperlinkcolor" val="tx"/>
                    </a:ext>
                  </a:extLst>
                </a:hlinkClick>
              </a:rPr>
              <a:t>TechEd: Deep dive into AEM </a:t>
            </a:r>
            <a:endParaRPr kumimoji="0" lang="en-US" sz="1400" b="0" i="0" u="none" strike="noStrike" kern="0" cap="none" spc="0" normalizeH="0" baseline="0" noProof="0" dirty="0">
              <a:ln>
                <a:noFill/>
              </a:ln>
              <a:solidFill>
                <a:srgbClr val="049F9A"/>
              </a:solidFill>
              <a:effectLst/>
              <a:uLnTx/>
              <a:uFillTx/>
              <a:latin typeface="72 Brand" panose="020B0504030603020204" pitchFamily="34" charset="0"/>
              <a:ea typeface="Arial Unicode MS"/>
              <a:cs typeface="+mn-cs"/>
            </a:endParaRPr>
          </a:p>
        </p:txBody>
      </p:sp>
      <p:pic>
        <p:nvPicPr>
          <p:cNvPr id="42" name="Picture 41">
            <a:extLst>
              <a:ext uri="{FF2B5EF4-FFF2-40B4-BE49-F238E27FC236}">
                <a16:creationId xmlns:a16="http://schemas.microsoft.com/office/drawing/2014/main" id="{B8385466-0A28-D2E4-735C-170EDD8B88D7}"/>
              </a:ext>
            </a:extLst>
          </p:cNvPr>
          <p:cNvPicPr>
            <a:picLocks noChangeAspect="1"/>
          </p:cNvPicPr>
          <p:nvPr/>
        </p:nvPicPr>
        <p:blipFill>
          <a:blip r:embed="rId22" cstate="screen">
            <a:extLst>
              <a:ext uri="{28A0092B-C50C-407E-A947-70E740481C1C}">
                <a14:useLocalDpi xmlns:a14="http://schemas.microsoft.com/office/drawing/2010/main"/>
              </a:ext>
            </a:extLst>
          </a:blip>
          <a:stretch>
            <a:fillRect/>
          </a:stretch>
        </p:blipFill>
        <p:spPr>
          <a:xfrm>
            <a:off x="8216604" y="2203419"/>
            <a:ext cx="764105" cy="769165"/>
          </a:xfrm>
          <a:prstGeom prst="rect">
            <a:avLst/>
          </a:prstGeom>
        </p:spPr>
      </p:pic>
    </p:spTree>
    <p:extLst>
      <p:ext uri="{BB962C8B-B14F-4D97-AF65-F5344CB8AC3E}">
        <p14:creationId xmlns:p14="http://schemas.microsoft.com/office/powerpoint/2010/main" val="3518595812"/>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ivider"/>
          <p:cNvSpPr>
            <a:spLocks noGrp="1"/>
          </p:cNvSpPr>
          <p:nvPr>
            <p:ph type="ctrTitle"/>
          </p:nvPr>
        </p:nvSpPr>
        <p:spPr bwMode="gray">
          <a:xfrm>
            <a:off x="329802" y="1275448"/>
            <a:ext cx="11535570" cy="677108"/>
          </a:xfrm>
        </p:spPr>
        <p:txBody>
          <a:bodyPr/>
          <a:lstStyle/>
          <a:p>
            <a:r>
              <a:rPr lang="en-DE" dirty="0"/>
              <a:t>Questions</a:t>
            </a:r>
            <a:r>
              <a:rPr lang="en-DE"/>
              <a:t>/Feedback?</a:t>
            </a:r>
            <a:endParaRPr lang="en-US" dirty="0"/>
          </a:p>
        </p:txBody>
      </p:sp>
      <p:pic>
        <p:nvPicPr>
          <p:cNvPr id="11" name="Picture Placeholder 10">
            <a:extLst>
              <a:ext uri="{FF2B5EF4-FFF2-40B4-BE49-F238E27FC236}">
                <a16:creationId xmlns:a16="http://schemas.microsoft.com/office/drawing/2014/main" id="{F240D377-13AC-08D9-D32D-8EBD361F629E}"/>
              </a:ext>
            </a:extLst>
          </p:cNvPr>
          <p:cNvPicPr>
            <a:picLocks noGrp="1" noChangeAspect="1"/>
          </p:cNvPicPr>
          <p:nvPr>
            <p:ph type="pic" sz="quarter" idx="12"/>
          </p:nvPr>
        </p:nvPicPr>
        <p:blipFill>
          <a:blip r:embed="rId2" cstate="screen">
            <a:extLst>
              <a:ext uri="{28A0092B-C50C-407E-A947-70E740481C1C}">
                <a14:useLocalDpi xmlns:a14="http://schemas.microsoft.com/office/drawing/2010/main"/>
              </a:ext>
            </a:extLst>
          </a:blip>
          <a:srcRect/>
          <a:stretch>
            <a:fillRect/>
          </a:stretch>
        </p:blipFill>
        <p:spPr/>
      </p:pic>
    </p:spTree>
    <p:extLst>
      <p:ext uri="{BB962C8B-B14F-4D97-AF65-F5344CB8AC3E}">
        <p14:creationId xmlns:p14="http://schemas.microsoft.com/office/powerpoint/2010/main" val="377978720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SP_AGENDA" val="TOC TOCShowsSubsections Dividers SectionNumber SlideNumber"/>
</p:tagLst>
</file>

<file path=ppt/tags/tag1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100 [4]&quot; Source=&quot;Harvey 100&quot; /&gt;"/>
</p:tagLst>
</file>

<file path=ppt/tags/tag10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4/100 [94]&quot; Source=&quot;Harvey 100&quot; /&gt;"/>
</p:tagLst>
</file>

<file path=ppt/tags/tag10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5/100 [95]&quot; Source=&quot;Harvey 100&quot; /&gt;"/>
</p:tagLst>
</file>

<file path=ppt/tags/tag10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6/100 [96]&quot; Source=&quot;Harvey 100&quot; /&gt;"/>
</p:tagLst>
</file>

<file path=ppt/tags/tag10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7/100 [97]&quot; Source=&quot;Harvey 100&quot; /&gt;"/>
</p:tagLst>
</file>

<file path=ppt/tags/tag10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8/100 [98]&quot; Source=&quot;Harvey 100&quot; /&gt;"/>
</p:tagLst>
</file>

<file path=ppt/tags/tag10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9/100 [99]&quot; Source=&quot;Harvey 100&quot; /&gt;"/>
</p:tagLst>
</file>

<file path=ppt/tags/tag10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00/100 [100]&quot; Source=&quot;Harvey 100&quot; /&gt;"/>
</p:tagLst>
</file>

<file path=ppt/tags/tag107.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0/8 [0]&quot; /&gt;"/>
</p:tagLst>
</file>

<file path=ppt/tags/tag108.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1/8 [1]&quot; /&gt;"/>
</p:tagLst>
</file>

<file path=ppt/tags/tag109.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2/8 [2]&quot; /&gt;"/>
</p:tagLst>
</file>

<file path=ppt/tags/tag1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100 [5]&quot; Source=&quot;Harvey 100&quot; /&gt;"/>
</p:tagLst>
</file>

<file path=ppt/tags/tag110.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3/8 [3]&quot; /&gt;"/>
</p:tagLst>
</file>

<file path=ppt/tags/tag111.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4/8 [4]&quot; /&gt;"/>
</p:tagLst>
</file>

<file path=ppt/tags/tag112.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5/8 [5]&quot; /&gt;"/>
</p:tagLst>
</file>

<file path=ppt/tags/tag113.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6/8 [6]&quot; /&gt;"/>
</p:tagLst>
</file>

<file path=ppt/tags/tag114.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7/8 [7]&quot; /&gt;"/>
</p:tagLst>
</file>

<file path=ppt/tags/tag115.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8/8 [8]&quot; /&gt;"/>
</p:tagLst>
</file>

<file path=ppt/tags/tag116.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0/4 [0]&quot; /&gt;"/>
</p:tagLst>
</file>

<file path=ppt/tags/tag117.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1/4 [1]&quot; /&gt;"/>
</p:tagLst>
</file>

<file path=ppt/tags/tag118.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2/4 [2]&quot; /&gt;"/>
</p:tagLst>
</file>

<file path=ppt/tags/tag119.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3/4 [3]&quot; /&gt;"/>
</p:tagLst>
</file>

<file path=ppt/tags/tag1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100 [6]&quot; Source=&quot;Harvey 100&quot; /&gt;"/>
</p:tagLst>
</file>

<file path=ppt/tags/tag120.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4/4 [4]&quot; /&gt;"/>
</p:tagLst>
</file>

<file path=ppt/tags/tag121.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False&quot; Source=&quot;Group 4&quot; Layer=&quot;Harvey 0/3 [0]&quot; /&gt;"/>
</p:tagLst>
</file>

<file path=ppt/tags/tag122.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False&quot; Source=&quot;Group 4&quot; Layer=&quot;Harvey 1/3 [1]&quot; /&gt;"/>
</p:tagLst>
</file>

<file path=ppt/tags/tag123.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False&quot; Source=&quot;Group 4&quot; Layer=&quot;Harvey 2/3 [2]&quot; /&gt;"/>
</p:tagLst>
</file>

<file path=ppt/tags/tag124.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False&quot; Source=&quot;Group 4&quot; Layer=&quot;Harvey 3/3 [3]&quot; /&gt;"/>
</p:tagLst>
</file>

<file path=ppt/tags/tag12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2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100 [7]&quot; Source=&quot;Harvey 100&quot; /&gt;"/>
</p:tagLst>
</file>

<file path=ppt/tags/tag1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100 [8]&quot; Source=&quot;Harvey 100&quot; /&gt;"/>
</p:tagLst>
</file>

<file path=ppt/tags/tag1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100 [9]&quot; Source=&quot;Harvey 100&quot; /&gt;"/>
</p:tagLst>
</file>

<file path=ppt/tags/tag1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0/100 [10]&quot; Source=&quot;Harvey 100&quot; /&gt;"/>
</p:tagLst>
</file>

<file path=ppt/tags/tag1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1/100 [11]&quot; Source=&quot;Harvey 100&quot; /&gt;"/>
</p:tagLst>
</file>

<file path=ppt/tags/tag1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2/100 [12]&quot; Source=&quot;Harvey 100&quot; /&gt;"/>
</p:tagLst>
</file>

<file path=ppt/tags/tag1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3/100 [13]&quot; Source=&quot;Harvey 100&quot; /&gt;"/>
</p:tagLst>
</file>

<file path=ppt/tags/tag2.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True&quot; Source=&quot;Group 4&quot; Layer=&quot;Group 4&quot; /&gt;"/>
</p:tagLst>
</file>

<file path=ppt/tags/tag2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4/100 [14]&quot; Source=&quot;Harvey 100&quot; /&gt;"/>
</p:tagLst>
</file>

<file path=ppt/tags/tag2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5/100 [15]&quot; Source=&quot;Harvey 100&quot; /&gt;"/>
</p:tagLst>
</file>

<file path=ppt/tags/tag2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6/100 [16]&quot; Source=&quot;Harvey 100&quot; /&gt;"/>
</p:tagLst>
</file>

<file path=ppt/tags/tag2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7/100 [17]&quot; Source=&quot;Harvey 100&quot; /&gt;"/>
</p:tagLst>
</file>

<file path=ppt/tags/tag2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8/100 [18]&quot; Source=&quot;Harvey 100&quot; /&gt;"/>
</p:tagLst>
</file>

<file path=ppt/tags/tag2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9/100 [19]&quot; Source=&quot;Harvey 100&quot; /&gt;"/>
</p:tagLst>
</file>

<file path=ppt/tags/tag2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0/100 [20]&quot; Source=&quot;Harvey 100&quot; /&gt;"/>
</p:tagLst>
</file>

<file path=ppt/tags/tag2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1/100 [21]&quot; Source=&quot;Harvey 100&quot; /&gt;"/>
</p:tagLst>
</file>

<file path=ppt/tags/tag2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2/100 [22]&quot; Source=&quot;Harvey 100&quot; /&gt;"/>
</p:tagLst>
</file>

<file path=ppt/tags/tag2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3/100 [23]&quot; Source=&quot;Harvey 100&quot; /&gt;"/>
</p:tagLst>
</file>

<file path=ppt/tags/tag3.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True&quot; Source=&quot;Group 5&quot; Layer=&quot;Group 5&quot; /&gt;"/>
</p:tagLst>
</file>

<file path=ppt/tags/tag3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4/100 [24]&quot; Source=&quot;Harvey 100&quot; /&gt;"/>
</p:tagLst>
</file>

<file path=ppt/tags/tag3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5/100 [25]&quot; Source=&quot;Harvey 100&quot; /&gt;"/>
</p:tagLst>
</file>

<file path=ppt/tags/tag3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6/100 [26]&quot; Source=&quot;Harvey 100&quot; /&gt;"/>
</p:tagLst>
</file>

<file path=ppt/tags/tag3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7/100 [27]&quot; Source=&quot;Harvey 100&quot; /&gt;"/>
</p:tagLst>
</file>

<file path=ppt/tags/tag3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8/100 [28]&quot; Source=&quot;Harvey 100&quot; /&gt;"/>
</p:tagLst>
</file>

<file path=ppt/tags/tag3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9/100 [29]&quot; Source=&quot;Harvey 100&quot; /&gt;"/>
</p:tagLst>
</file>

<file path=ppt/tags/tag3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0/100 [30]&quot; Source=&quot;Harvey 100&quot; /&gt;"/>
</p:tagLst>
</file>

<file path=ppt/tags/tag3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1/100 [31]&quot; Source=&quot;Harvey 100&quot; /&gt;"/>
</p:tagLst>
</file>

<file path=ppt/tags/tag3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2/100 [32]&quot; Source=&quot;Harvey 100&quot; /&gt;"/>
</p:tagLst>
</file>

<file path=ppt/tags/tag3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3/100 [33]&quot; Source=&quot;Harvey 100&quot; /&gt;"/>
</p:tagLst>
</file>

<file path=ppt/tags/tag4.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True&quot; Source=&quot;Harvey 8&quot; Layer=&quot;Harvey 8&quot; /&gt;"/>
</p:tagLst>
</file>

<file path=ppt/tags/tag4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4/100 [34]&quot; Source=&quot;Harvey 100&quot; /&gt;"/>
</p:tagLst>
</file>

<file path=ppt/tags/tag4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5/100 [35]&quot; Source=&quot;Harvey 100&quot; /&gt;"/>
</p:tagLst>
</file>

<file path=ppt/tags/tag4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6/100 [36]&quot; Source=&quot;Harvey 100&quot; /&gt;"/>
</p:tagLst>
</file>

<file path=ppt/tags/tag4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7/100 [37]&quot; Source=&quot;Harvey 100&quot; /&gt;"/>
</p:tagLst>
</file>

<file path=ppt/tags/tag4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8/100 [38]&quot; Source=&quot;Harvey 100&quot; /&gt;"/>
</p:tagLst>
</file>

<file path=ppt/tags/tag4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9/100 [39]&quot; Source=&quot;Harvey 100&quot; /&gt;"/>
</p:tagLst>
</file>

<file path=ppt/tags/tag4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0/100 [40]&quot; Source=&quot;Harvey 100&quot; /&gt;"/>
</p:tagLst>
</file>

<file path=ppt/tags/tag4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1/100 [41]&quot; Source=&quot;Harvey 100&quot; /&gt;"/>
</p:tagLst>
</file>

<file path=ppt/tags/tag4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2/100 [42]&quot; Source=&quot;Harvey 100&quot; /&gt;"/>
</p:tagLst>
</file>

<file path=ppt/tags/tag4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3/100 [43]&quot; Source=&quot;Harvey 100&quot; /&gt;"/>
</p:tagLst>
</file>

<file path=ppt/tags/tag5.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d5f66dcd-7c8d-4661-849b-23a9587c15e3&quot; /&gt;"/>
  <p:tag name="SP_POWERSHAPE" val="&lt;PowerShapeTag ClassVersion=&quot;0&quot; GUID=&quot;81f1f80b-b882-418d-8bbb-9c38d8d27274&quot; IsConsolidated=&quot;False&quot; IsTopLevel=&quot;True&quot; Layer=&quot;Harvey 100&quot; Source=&quot;Harvey 100&quot; /&gt;"/>
</p:tagLst>
</file>

<file path=ppt/tags/tag5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4/100 [44]&quot; Source=&quot;Harvey 100&quot; /&gt;"/>
</p:tagLst>
</file>

<file path=ppt/tags/tag5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5/100 [45]&quot; Source=&quot;Harvey 100&quot; /&gt;"/>
</p:tagLst>
</file>

<file path=ppt/tags/tag5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6/100 [46]&quot; Source=&quot;Harvey 100&quot; /&gt;"/>
</p:tagLst>
</file>

<file path=ppt/tags/tag5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7/100 [47]&quot; Source=&quot;Harvey 100&quot; /&gt;"/>
</p:tagLst>
</file>

<file path=ppt/tags/tag5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8/100 [48]&quot; Source=&quot;Harvey 100&quot; /&gt;"/>
</p:tagLst>
</file>

<file path=ppt/tags/tag5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9/100 [49]&quot; Source=&quot;Harvey 100&quot; /&gt;"/>
</p:tagLst>
</file>

<file path=ppt/tags/tag5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0/100 [50]&quot; Source=&quot;Harvey 100&quot; /&gt;"/>
</p:tagLst>
</file>

<file path=ppt/tags/tag5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1/100 [51]&quot; Source=&quot;Harvey 100&quot; /&gt;"/>
</p:tagLst>
</file>

<file path=ppt/tags/tag5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2/100 [52]&quot; Source=&quot;Harvey 100&quot; /&gt;"/>
</p:tagLst>
</file>

<file path=ppt/tags/tag5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3/100 [53]&quot; Source=&quot;Harvey 100&quot; /&gt;"/>
</p:tagLst>
</file>

<file path=ppt/tags/tag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0/100 [0]&quot; Source=&quot;Harvey 100&quot; /&gt;"/>
</p:tagLst>
</file>

<file path=ppt/tags/tag6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4/100 [54]&quot; Source=&quot;Harvey 100&quot; /&gt;"/>
</p:tagLst>
</file>

<file path=ppt/tags/tag6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5/100 [55]&quot; Source=&quot;Harvey 100&quot; /&gt;"/>
</p:tagLst>
</file>

<file path=ppt/tags/tag6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6/100 [56]&quot; Source=&quot;Harvey 100&quot; /&gt;"/>
</p:tagLst>
</file>

<file path=ppt/tags/tag6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7/100 [57]&quot; Source=&quot;Harvey 100&quot; /&gt;"/>
</p:tagLst>
</file>

<file path=ppt/tags/tag6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8/100 [58]&quot; Source=&quot;Harvey 100&quot; /&gt;"/>
</p:tagLst>
</file>

<file path=ppt/tags/tag6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9/100 [59]&quot; Source=&quot;Harvey 100&quot; /&gt;"/>
</p:tagLst>
</file>

<file path=ppt/tags/tag6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0/100 [60]&quot; Source=&quot;Harvey 100&quot; /&gt;"/>
</p:tagLst>
</file>

<file path=ppt/tags/tag6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1/100 [61]&quot; Source=&quot;Harvey 100&quot; /&gt;"/>
</p:tagLst>
</file>

<file path=ppt/tags/tag6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2/100 [62]&quot; Source=&quot;Harvey 100&quot; /&gt;"/>
</p:tagLst>
</file>

<file path=ppt/tags/tag6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3/100 [63]&quot; Source=&quot;Harvey 100&quot; /&gt;"/>
</p:tagLst>
</file>

<file path=ppt/tags/tag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100 [1]&quot; Source=&quot;Harvey 100&quot; /&gt;"/>
</p:tagLst>
</file>

<file path=ppt/tags/tag7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4/100 [64]&quot; Source=&quot;Harvey 100&quot; /&gt;"/>
</p:tagLst>
</file>

<file path=ppt/tags/tag7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5/100 [65]&quot; Source=&quot;Harvey 100&quot; /&gt;"/>
</p:tagLst>
</file>

<file path=ppt/tags/tag7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6/100 [66]&quot; Source=&quot;Harvey 100&quot; /&gt;"/>
</p:tagLst>
</file>

<file path=ppt/tags/tag7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7/100 [67]&quot; Source=&quot;Harvey 100&quot; /&gt;"/>
</p:tagLst>
</file>

<file path=ppt/tags/tag7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8/100 [68]&quot; Source=&quot;Harvey 100&quot; /&gt;"/>
</p:tagLst>
</file>

<file path=ppt/tags/tag7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9/100 [69]&quot; Source=&quot;Harvey 100&quot; /&gt;"/>
</p:tagLst>
</file>

<file path=ppt/tags/tag7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0/100 [70]&quot; Source=&quot;Harvey 100&quot; /&gt;"/>
</p:tagLst>
</file>

<file path=ppt/tags/tag7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1/100 [71]&quot; Source=&quot;Harvey 100&quot; /&gt;"/>
</p:tagLst>
</file>

<file path=ppt/tags/tag7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2/100 [72]&quot; Source=&quot;Harvey 100&quot; /&gt;"/>
</p:tagLst>
</file>

<file path=ppt/tags/tag7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3/100 [73]&quot; Source=&quot;Harvey 100&quot; /&gt;"/>
</p:tagLst>
</file>

<file path=ppt/tags/tag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100 [2]&quot; Source=&quot;Harvey 100&quot; /&gt;"/>
</p:tagLst>
</file>

<file path=ppt/tags/tag8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4/100 [74]&quot; Source=&quot;Harvey 100&quot; /&gt;"/>
</p:tagLst>
</file>

<file path=ppt/tags/tag8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5/100 [75]&quot; Source=&quot;Harvey 100&quot; /&gt;"/>
</p:tagLst>
</file>

<file path=ppt/tags/tag8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6/100 [76]&quot; Source=&quot;Harvey 100&quot; /&gt;"/>
</p:tagLst>
</file>

<file path=ppt/tags/tag8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7/100 [77]&quot; Source=&quot;Harvey 100&quot; /&gt;"/>
</p:tagLst>
</file>

<file path=ppt/tags/tag8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8/100 [78]&quot; Source=&quot;Harvey 100&quot; /&gt;"/>
</p:tagLst>
</file>

<file path=ppt/tags/tag8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9/100 [79]&quot; Source=&quot;Harvey 100&quot; /&gt;"/>
</p:tagLst>
</file>

<file path=ppt/tags/tag8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0/100 [80]&quot; Source=&quot;Harvey 100&quot; /&gt;"/>
</p:tagLst>
</file>

<file path=ppt/tags/tag8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1/100 [81]&quot; Source=&quot;Harvey 100&quot; /&gt;"/>
</p:tagLst>
</file>

<file path=ppt/tags/tag8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2/100 [82]&quot; Source=&quot;Harvey 100&quot; /&gt;"/>
</p:tagLst>
</file>

<file path=ppt/tags/tag8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3/100 [83]&quot; Source=&quot;Harvey 100&quot; /&gt;"/>
</p:tagLst>
</file>

<file path=ppt/tags/tag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100 [3]&quot; Source=&quot;Harvey 100&quot; /&gt;"/>
</p:tagLst>
</file>

<file path=ppt/tags/tag9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4/100 [84]&quot; Source=&quot;Harvey 100&quot; /&gt;"/>
</p:tagLst>
</file>

<file path=ppt/tags/tag9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5/100 [85]&quot; Source=&quot;Harvey 100&quot; /&gt;"/>
</p:tagLst>
</file>

<file path=ppt/tags/tag9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6/100 [86]&quot; Source=&quot;Harvey 100&quot; /&gt;"/>
</p:tagLst>
</file>

<file path=ppt/tags/tag9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7/100 [87]&quot; Source=&quot;Harvey 100&quot; /&gt;"/>
</p:tagLst>
</file>

<file path=ppt/tags/tag9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8/100 [88]&quot; Source=&quot;Harvey 100&quot; /&gt;"/>
</p:tagLst>
</file>

<file path=ppt/tags/tag9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9/100 [89]&quot; Source=&quot;Harvey 100&quot; /&gt;"/>
</p:tagLst>
</file>

<file path=ppt/tags/tag9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0/100 [90]&quot; Source=&quot;Harvey 100&quot; /&gt;"/>
</p:tagLst>
</file>

<file path=ppt/tags/tag9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1/100 [91]&quot; Source=&quot;Harvey 100&quot; /&gt;"/>
</p:tagLst>
</file>

<file path=ppt/tags/tag9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2/100 [92]&quot; Source=&quot;Harvey 100&quot; /&gt;"/>
</p:tagLst>
</file>

<file path=ppt/tags/tag9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3/100 [93]&quot; Source=&quot;Harvey 100&quot; /&gt;"/>
</p:tagLst>
</file>

<file path=ppt/theme/theme1.xml><?xml version="1.0" encoding="utf-8"?>
<a:theme xmlns:a="http://schemas.openxmlformats.org/drawingml/2006/main" name="SAP Template 2023">
  <a:themeElements>
    <a:clrScheme name="SAP Colors 2023">
      <a:dk1>
        <a:srgbClr val="000000"/>
      </a:dk1>
      <a:lt1>
        <a:srgbClr val="FFFFFF"/>
      </a:lt1>
      <a:dk2>
        <a:srgbClr val="1B90FF"/>
      </a:dk2>
      <a:lt2>
        <a:srgbClr val="89D1FF"/>
      </a:lt2>
      <a:accent1>
        <a:srgbClr val="E76500"/>
      </a:accent1>
      <a:accent2>
        <a:srgbClr val="049F9A"/>
      </a:accent2>
      <a:accent3>
        <a:srgbClr val="36A41D"/>
      </a:accent3>
      <a:accent4>
        <a:srgbClr val="FA4F96"/>
      </a:accent4>
      <a:accent5>
        <a:srgbClr val="F31DED"/>
      </a:accent5>
      <a:accent6>
        <a:srgbClr val="7858FF"/>
      </a:accent6>
      <a:hlink>
        <a:srgbClr val="0070F2"/>
      </a:hlink>
      <a:folHlink>
        <a:srgbClr val="0070F2"/>
      </a:folHlink>
    </a:clrScheme>
    <a:fontScheme name="SAP 2023">
      <a:majorFont>
        <a:latin typeface="72 Brand Medium"/>
        <a:ea typeface=""/>
        <a:cs typeface=""/>
      </a:majorFont>
      <a:minorFont>
        <a:latin typeface="72 Brand"/>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noFill/>
        <a:ln w="25400" algn="ctr">
          <a:solidFill>
            <a:schemeClr val="tx1"/>
          </a:solidFill>
          <a:miter lim="800000"/>
          <a:headEnd/>
          <a:tailEnd/>
        </a:ln>
      </a:spPr>
      <a:bodyPr lIns="90000" tIns="72000" rIns="90000" bIns="72000" rtlCol="0" anchor="ctr"/>
      <a:lstStyle>
        <a:defPPr marR="0" algn="ctr" defTabSz="914400" eaLnBrk="1" fontAlgn="base" latinLnBrk="0" hangingPunct="1">
          <a:lnSpc>
            <a:spcPct val="100000"/>
          </a:lnSpc>
          <a:spcBef>
            <a:spcPct val="50000"/>
          </a:spcBef>
          <a:spcAft>
            <a:spcPct val="0"/>
          </a:spcAft>
          <a:buClr>
            <a:srgbClr val="F0AB00"/>
          </a:buClr>
          <a:buSzPct val="80000"/>
          <a:tabLst/>
          <a:defRPr kumimoji="0" sz="1800" b="0" i="0" u="none" strike="noStrike" kern="0" cap="none" spc="0" normalizeH="0" baseline="0" noProof="0" dirty="0" err="1" smtClean="0">
            <a:ln>
              <a:noFill/>
            </a:ln>
            <a:effectLst/>
            <a:uLnTx/>
            <a:uFillTx/>
            <a:ea typeface="Arial Unicode MS" pitchFamily="34" charset="-128"/>
            <a:cs typeface="Arial Unicode MS" pitchFamily="34" charset="-128"/>
          </a:defRPr>
        </a:defPPr>
      </a:lstStyle>
    </a:spDef>
    <a:lnDef>
      <a:spPr>
        <a:ln w="25400">
          <a:solidFill>
            <a:schemeClr val="tx1"/>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fontAlgn="base">
          <a:spcBef>
            <a:spcPct val="50000"/>
          </a:spcBef>
          <a:spcAft>
            <a:spcPct val="0"/>
          </a:spcAft>
          <a:buClr>
            <a:schemeClr val="tx1"/>
          </a:buClr>
          <a:buSzPct val="100000"/>
          <a:defRPr sz="1800" kern="0" dirty="0" err="1" smtClean="0">
            <a:latin typeface="72 Brand" panose="020B0504030603020204" pitchFamily="34" charset="0"/>
            <a:ea typeface="Arial Unicode MS" pitchFamily="34" charset="-128"/>
            <a:cs typeface="Arial Unicode MS" pitchFamily="34" charset="-128"/>
          </a:defRPr>
        </a:defPPr>
      </a:lstStyle>
    </a:txDef>
  </a:objectDefaults>
  <a:extraClrSchemeLst/>
  <a:custClrLst>
    <a:custClr name="Blue 2">
      <a:srgbClr val="D1EFFF"/>
    </a:custClr>
    <a:custClr name="Blue 4">
      <a:srgbClr val="89D1FF"/>
    </a:custClr>
    <a:custClr name="Blue 6">
      <a:srgbClr val="1B90FF"/>
    </a:custClr>
    <a:custClr name="Blue 7">
      <a:srgbClr val="0070F2"/>
    </a:custClr>
    <a:custClr name="Blue 10">
      <a:srgbClr val="002A86"/>
    </a:custClr>
    <a:custClr name="Blue 11">
      <a:srgbClr val="00144A"/>
    </a:custClr>
    <a:custClr name="Mango 2">
      <a:srgbClr val="FFF3B8"/>
    </a:custClr>
    <a:custClr name="Mango 4">
      <a:srgbClr val="FFC933"/>
    </a:custClr>
    <a:custClr name="Mango 6">
      <a:srgbClr val="E76500"/>
    </a:custClr>
    <a:custClr name="Mango 7">
      <a:srgbClr val="C35500"/>
    </a:custClr>
    <a:custClr name="Mango 10">
      <a:srgbClr val="6D1900"/>
    </a:custClr>
    <a:custClr name="Mango 11">
      <a:srgbClr val="450B00"/>
    </a:custClr>
    <a:custClr name="Teal 2">
      <a:srgbClr val="C2FCEE"/>
    </a:custClr>
    <a:custClr name="Teal 4">
      <a:srgbClr val="2CE0BF"/>
    </a:custClr>
    <a:custClr name="Teal 6">
      <a:srgbClr val="049F9A"/>
    </a:custClr>
    <a:custClr name="Teal 7">
      <a:srgbClr val="07838F"/>
    </a:custClr>
    <a:custClr name="Teal 10">
      <a:srgbClr val="02414C"/>
    </a:custClr>
    <a:custClr name="Teal 11">
      <a:srgbClr val="012931"/>
    </a:custClr>
    <a:custClr name="Green 2">
      <a:srgbClr val="EBF5CB"/>
    </a:custClr>
    <a:custClr name="Green 4">
      <a:srgbClr val="97DD40"/>
    </a:custClr>
    <a:custClr name="Green 6">
      <a:srgbClr val="36A41D"/>
    </a:custClr>
    <a:custClr name="Green 7">
      <a:srgbClr val="188918"/>
    </a:custClr>
    <a:custClr name="Green 10">
      <a:srgbClr val="164323"/>
    </a:custClr>
    <a:custClr name="Green 11">
      <a:srgbClr val="0E2B16"/>
    </a:custClr>
    <a:custClr name="Red 2">
      <a:srgbClr val="FFD5EA"/>
    </a:custClr>
    <a:custClr name="Red 4">
      <a:srgbClr val="FF8CB2"/>
    </a:custClr>
    <a:custClr name="Red 6">
      <a:srgbClr val="EE3939"/>
    </a:custClr>
    <a:custClr name="Red 7">
      <a:srgbClr val="D20A0A"/>
    </a:custClr>
    <a:custClr name="Red 10">
      <a:srgbClr val="5A0404"/>
    </a:custClr>
    <a:custClr name="Red 11">
      <a:srgbClr val="350000"/>
    </a:custClr>
    <a:custClr name="Raspberry 2">
      <a:srgbClr val="FFDCE8"/>
    </a:custClr>
    <a:custClr name="Raspberry 4">
      <a:srgbClr val="FEADC8"/>
    </a:custClr>
    <a:custClr name="Raspberry 6">
      <a:srgbClr val="FA4F96"/>
    </a:custClr>
    <a:custClr name="Raspberry 7">
      <a:srgbClr val="DF1278"/>
    </a:custClr>
    <a:custClr name="Raspberry 10">
      <a:srgbClr val="71014B"/>
    </a:custClr>
    <a:custClr name="Raspberry 11">
      <a:srgbClr val="510136"/>
    </a:custClr>
    <a:custClr name="Pink 2">
      <a:srgbClr val="FFDCF3"/>
    </a:custClr>
    <a:custClr name="Pink 4">
      <a:srgbClr val="FF8AF0"/>
    </a:custClr>
    <a:custClr name="Pink 6">
      <a:srgbClr val="F31DED"/>
    </a:custClr>
    <a:custClr name="Pink 7">
      <a:srgbClr val="CC00DC"/>
    </a:custClr>
    <a:custClr name="Pink 10">
      <a:srgbClr val="510080"/>
    </a:custClr>
    <a:custClr name="Pink 11">
      <a:srgbClr val="28004A"/>
    </a:custClr>
    <a:custClr name="Indigo 2">
      <a:srgbClr val="E2D8FF"/>
    </a:custClr>
    <a:custClr name="Indigo 4">
      <a:srgbClr val="B894FF"/>
    </a:custClr>
    <a:custClr name="Indigo 6">
      <a:srgbClr val="7858FF"/>
    </a:custClr>
    <a:custClr name="Indigo 7">
      <a:srgbClr val="5D36FF"/>
    </a:custClr>
    <a:custClr name="Indigo 10">
      <a:srgbClr val="1C0C6E"/>
    </a:custClr>
    <a:custClr name="Indigo 11">
      <a:srgbClr val="0E0637"/>
    </a:custClr>
  </a:custClrLst>
  <a:extLst>
    <a:ext uri="{05A4C25C-085E-4340-85A3-A5531E510DB2}">
      <thm15:themeFamily xmlns:thm15="http://schemas.microsoft.com/office/thememl/2012/main" name="SAP_2023" id="{E0C336FB-8C14-4946-9A4E-21A5D4B5AD48}" vid="{56AE5F8D-7AE6-D749-9D93-DA55A8954983}"/>
    </a:ext>
  </a:extLst>
</a:theme>
</file>

<file path=ppt/theme/theme2.xml><?xml version="1.0" encoding="utf-8"?>
<a:theme xmlns:a="http://schemas.openxmlformats.org/drawingml/2006/main" name="Office Theme">
  <a:themeElements>
    <a:clrScheme name="SAP_Colors2011_1.1">
      <a:dk1>
        <a:srgbClr val="000000"/>
      </a:dk1>
      <a:lt1>
        <a:srgbClr val="FFFFFF"/>
      </a:lt1>
      <a:dk2>
        <a:srgbClr val="0076CB"/>
      </a:dk2>
      <a:lt2>
        <a:srgbClr val="CCCCCC"/>
      </a:lt2>
      <a:accent1>
        <a:srgbClr val="F0AB00"/>
      </a:accent1>
      <a:accent2>
        <a:srgbClr val="666666"/>
      </a:accent2>
      <a:accent3>
        <a:srgbClr val="0076CB"/>
      </a:accent3>
      <a:accent4>
        <a:srgbClr val="4FB81C"/>
      </a:accent4>
      <a:accent5>
        <a:srgbClr val="E35500"/>
      </a:accent5>
      <a:accent6>
        <a:srgbClr val="760A85"/>
      </a:accent6>
      <a:hlink>
        <a:srgbClr val="666666"/>
      </a:hlink>
      <a:folHlink>
        <a:srgbClr val="CCCCCC"/>
      </a:folHlink>
    </a:clrScheme>
    <a:fontScheme name="SAP_Fonts2011">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Blue 2">
      <a:srgbClr val="D1EFFF"/>
    </a:custClr>
  </a:custClrLst>
</a:theme>
</file>

<file path=ppt/theme/theme3.xml><?xml version="1.0" encoding="utf-8"?>
<a:theme xmlns:a="http://schemas.openxmlformats.org/drawingml/2006/main" name="Office Theme">
  <a:themeElements>
    <a:clrScheme name="SAP_Colors2011">
      <a:dk1>
        <a:srgbClr val="000000"/>
      </a:dk1>
      <a:lt1>
        <a:srgbClr val="FFFFFF"/>
      </a:lt1>
      <a:dk2>
        <a:srgbClr val="00AFE3"/>
      </a:dk2>
      <a:lt2>
        <a:srgbClr val="CCCCCC"/>
      </a:lt2>
      <a:accent1>
        <a:srgbClr val="FDB913"/>
      </a:accent1>
      <a:accent2>
        <a:srgbClr val="626366"/>
      </a:accent2>
      <a:accent3>
        <a:srgbClr val="0082C9"/>
      </a:accent3>
      <a:accent4>
        <a:srgbClr val="4BBE44"/>
      </a:accent4>
      <a:accent5>
        <a:srgbClr val="B1D249"/>
      </a:accent5>
      <a:accent6>
        <a:srgbClr val="80298F"/>
      </a:accent6>
      <a:hlink>
        <a:srgbClr val="04357B"/>
      </a:hlink>
      <a:folHlink>
        <a:srgbClr val="999999"/>
      </a:folHlink>
    </a:clrScheme>
    <a:fontScheme name="SAP_Fonts2011">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Blue 2">
      <a:srgbClr val="D1EFFF"/>
    </a:custClr>
  </a:custClrLst>
</a:theme>
</file>

<file path=ppt/webextensions/_rels/taskpanes.xml.rels><?xml version="1.0" encoding="UTF-8" standalone="yes"?>
<Relationships xmlns="http://schemas.openxmlformats.org/package/2006/relationships"><Relationship Id="rId2" Type="http://schemas.microsoft.com/office/2011/relationships/webextension" Target="webextension2.xml"/><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350" row="0">
    <wetp:webextensionref xmlns:r="http://schemas.openxmlformats.org/officeDocument/2006/relationships" r:id="rId1"/>
  </wetp:taskpane>
  <wetp:taskpane dockstate="right" visibility="0" width="350" row="0">
    <wetp:webextensionref xmlns:r="http://schemas.openxmlformats.org/officeDocument/2006/relationships" r:id="rId2"/>
  </wetp:taskpane>
</wetp:taskpanes>
</file>

<file path=ppt/webextensions/webextension1.xml><?xml version="1.0" encoding="utf-8"?>
<we:webextension xmlns:we="http://schemas.microsoft.com/office/webextensions/webextension/2010/11" id="{D0FCFAFA-D3D3-1441-8101-DA629D03A5D9}">
  <we:reference id="b0692d11-e342-a550-cfba-e8c57e47b8f1" version="1.0.0.8" store="EXCatalog" storeType="EXCatalog"/>
  <we:alternateReferences/>
  <we:properties/>
  <we:bindings/>
  <we:snapshot xmlns:r="http://schemas.openxmlformats.org/officeDocument/2006/relationships"/>
</we:webextension>
</file>

<file path=ppt/webextensions/webextension2.xml><?xml version="1.0" encoding="utf-8"?>
<we:webextension xmlns:we="http://schemas.microsoft.com/office/webextensions/webextension/2010/11" id="{E65AE667-A5F5-0F47-8627-5174A8B7EA47}">
  <we:reference id="b8d7a30b-109c-4c41-a1df-a6cb639730b5" version="2.0.0.5" store="EXCatalog" storeType="EXCatalog"/>
  <we:alternateReferences/>
  <we:properties/>
  <we:bindings/>
  <we:snapshot xmlns:r="http://schemas.openxmlformats.org/officeDocument/2006/relationships"/>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11.xml.rels><?xml version="1.0" encoding="UTF-8" standalone="yes"?>
<Relationships xmlns="http://schemas.openxmlformats.org/package/2006/relationships"><Relationship Id="rId1" Type="http://schemas.openxmlformats.org/officeDocument/2006/relationships/customXmlProps" Target="itemProps11.xml"/></Relationships>
</file>

<file path=customXml/_rels/item12.xml.rels><?xml version="1.0" encoding="UTF-8" standalone="yes"?>
<Relationships xmlns="http://schemas.openxmlformats.org/package/2006/relationships"><Relationship Id="rId1" Type="http://schemas.openxmlformats.org/officeDocument/2006/relationships/customXmlProps" Target="itemProps12.xml"/></Relationships>
</file>

<file path=customXml/_rels/item13.xml.rels><?xml version="1.0" encoding="UTF-8" standalone="yes"?>
<Relationships xmlns="http://schemas.openxmlformats.org/package/2006/relationships"><Relationship Id="rId1" Type="http://schemas.openxmlformats.org/officeDocument/2006/relationships/customXmlProps" Target="itemProps13.xml"/></Relationships>
</file>

<file path=customXml/_rels/item14.xml.rels><?xml version="1.0" encoding="UTF-8" standalone="yes"?>
<Relationships xmlns="http://schemas.openxmlformats.org/package/2006/relationships"><Relationship Id="rId1" Type="http://schemas.openxmlformats.org/officeDocument/2006/relationships/customXmlProps" Target="itemProps14.xml"/></Relationships>
</file>

<file path=customXml/_rels/item15.xml.rels><?xml version="1.0" encoding="UTF-8" standalone="yes"?>
<Relationships xmlns="http://schemas.openxmlformats.org/package/2006/relationships"><Relationship Id="rId1" Type="http://schemas.openxmlformats.org/officeDocument/2006/relationships/customXmlProps" Target="itemProps15.xml"/></Relationships>
</file>

<file path=customXml/_rels/item16.xml.rels><?xml version="1.0" encoding="UTF-8" standalone="yes"?>
<Relationships xmlns="http://schemas.openxmlformats.org/package/2006/relationships"><Relationship Id="rId1" Type="http://schemas.openxmlformats.org/officeDocument/2006/relationships/customXmlProps" Target="itemProps16.xml"/></Relationships>
</file>

<file path=customXml/_rels/item17.xml.rels><?xml version="1.0" encoding="UTF-8" standalone="yes"?>
<Relationships xmlns="http://schemas.openxmlformats.org/package/2006/relationships"><Relationship Id="rId1" Type="http://schemas.openxmlformats.org/officeDocument/2006/relationships/customXmlProps" Target="itemProps17.xml"/></Relationships>
</file>

<file path=customXml/_rels/item18.xml.rels><?xml version="1.0" encoding="UTF-8" standalone="yes"?>
<Relationships xmlns="http://schemas.openxmlformats.org/package/2006/relationships"><Relationship Id="rId1" Type="http://schemas.openxmlformats.org/officeDocument/2006/relationships/customXmlProps" Target="itemProps18.xml"/></Relationships>
</file>

<file path=customXml/_rels/item19.xml.rels><?xml version="1.0" encoding="UTF-8" standalone="yes"?>
<Relationships xmlns="http://schemas.openxmlformats.org/package/2006/relationships"><Relationship Id="rId1" Type="http://schemas.openxmlformats.org/officeDocument/2006/relationships/customXmlProps" Target="itemProps19.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20.xml.rels><?xml version="1.0" encoding="UTF-8" standalone="yes"?>
<Relationships xmlns="http://schemas.openxmlformats.org/package/2006/relationships"><Relationship Id="rId1" Type="http://schemas.openxmlformats.org/officeDocument/2006/relationships/customXmlProps" Target="itemProps20.xml"/></Relationships>
</file>

<file path=customXml/_rels/item21.xml.rels><?xml version="1.0" encoding="UTF-8" standalone="yes"?>
<Relationships xmlns="http://schemas.openxmlformats.org/package/2006/relationships"><Relationship Id="rId1" Type="http://schemas.openxmlformats.org/officeDocument/2006/relationships/customXmlProps" Target="itemProps21.xml"/></Relationships>
</file>

<file path=customXml/_rels/item22.xml.rels><?xml version="1.0" encoding="UTF-8" standalone="yes"?>
<Relationships xmlns="http://schemas.openxmlformats.org/package/2006/relationships"><Relationship Id="rId1" Type="http://schemas.openxmlformats.org/officeDocument/2006/relationships/customXmlProps" Target="itemProps22.xml"/></Relationships>
</file>

<file path=customXml/_rels/item23.xml.rels><?xml version="1.0" encoding="UTF-8" standalone="yes"?>
<Relationships xmlns="http://schemas.openxmlformats.org/package/2006/relationships"><Relationship Id="rId1" Type="http://schemas.openxmlformats.org/officeDocument/2006/relationships/customXmlProps" Target="itemProps23.xml"/></Relationships>
</file>

<file path=customXml/_rels/item24.xml.rels><?xml version="1.0" encoding="UTF-8" standalone="yes"?>
<Relationships xmlns="http://schemas.openxmlformats.org/package/2006/relationships"><Relationship Id="rId1" Type="http://schemas.openxmlformats.org/officeDocument/2006/relationships/customXmlProps" Target="itemProps24.xml"/></Relationships>
</file>

<file path=customXml/_rels/item25.xml.rels><?xml version="1.0" encoding="UTF-8" standalone="yes"?>
<Relationships xmlns="http://schemas.openxmlformats.org/package/2006/relationships"><Relationship Id="rId1" Type="http://schemas.openxmlformats.org/officeDocument/2006/relationships/customXmlProps" Target="itemProps25.xml"/></Relationships>
</file>

<file path=customXml/_rels/item26.xml.rels><?xml version="1.0" encoding="UTF-8" standalone="yes"?>
<Relationships xmlns="http://schemas.openxmlformats.org/package/2006/relationships"><Relationship Id="rId1" Type="http://schemas.openxmlformats.org/officeDocument/2006/relationships/customXmlProps" Target="itemProps26.xml"/></Relationships>
</file>

<file path=customXml/_rels/item27.xml.rels><?xml version="1.0" encoding="UTF-8" standalone="yes"?>
<Relationships xmlns="http://schemas.openxmlformats.org/package/2006/relationships"><Relationship Id="rId1" Type="http://schemas.openxmlformats.org/officeDocument/2006/relationships/customXmlProps" Target="itemProps27.xml"/></Relationships>
</file>

<file path=customXml/_rels/item28.xml.rels><?xml version="1.0" encoding="UTF-8" standalone="yes"?>
<Relationships xmlns="http://schemas.openxmlformats.org/package/2006/relationships"><Relationship Id="rId1" Type="http://schemas.openxmlformats.org/officeDocument/2006/relationships/customXmlProps" Target="itemProps28.xml"/></Relationships>
</file>

<file path=customXml/_rels/item29.xml.rels><?xml version="1.0" encoding="UTF-8" standalone="yes"?>
<Relationships xmlns="http://schemas.openxmlformats.org/package/2006/relationships"><Relationship Id="rId1" Type="http://schemas.openxmlformats.org/officeDocument/2006/relationships/customXmlProps" Target="itemProps29.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30.xml.rels><?xml version="1.0" encoding="UTF-8" standalone="yes"?>
<Relationships xmlns="http://schemas.openxmlformats.org/package/2006/relationships"><Relationship Id="rId1" Type="http://schemas.openxmlformats.org/officeDocument/2006/relationships/customXmlProps" Target="itemProps30.xml"/></Relationships>
</file>

<file path=customXml/_rels/item31.xml.rels><?xml version="1.0" encoding="UTF-8" standalone="yes"?>
<Relationships xmlns="http://schemas.openxmlformats.org/package/2006/relationships"><Relationship Id="rId1" Type="http://schemas.openxmlformats.org/officeDocument/2006/relationships/customXmlProps" Target="itemProps31.xml"/></Relationships>
</file>

<file path=customXml/_rels/item32.xml.rels><?xml version="1.0" encoding="UTF-8" standalone="yes"?>
<Relationships xmlns="http://schemas.openxmlformats.org/package/2006/relationships"><Relationship Id="rId1" Type="http://schemas.openxmlformats.org/officeDocument/2006/relationships/customXmlProps" Target="itemProps32.xml"/></Relationships>
</file>

<file path=customXml/_rels/item33.xml.rels><?xml version="1.0" encoding="UTF-8" standalone="yes"?>
<Relationships xmlns="http://schemas.openxmlformats.org/package/2006/relationships"><Relationship Id="rId1" Type="http://schemas.openxmlformats.org/officeDocument/2006/relationships/customXmlProps" Target="itemProps33.xml"/></Relationships>
</file>

<file path=customXml/_rels/item34.xml.rels><?xml version="1.0" encoding="UTF-8" standalone="yes"?>
<Relationships xmlns="http://schemas.openxmlformats.org/package/2006/relationships"><Relationship Id="rId1" Type="http://schemas.openxmlformats.org/officeDocument/2006/relationships/customXmlProps" Target="itemProps34.xml"/></Relationships>
</file>

<file path=customXml/_rels/item35.xml.rels><?xml version="1.0" encoding="UTF-8" standalone="yes"?>
<Relationships xmlns="http://schemas.openxmlformats.org/package/2006/relationships"><Relationship Id="rId1" Type="http://schemas.openxmlformats.org/officeDocument/2006/relationships/customXmlProps" Target="itemProps35.xml"/></Relationships>
</file>

<file path=customXml/_rels/item36.xml.rels><?xml version="1.0" encoding="UTF-8" standalone="yes"?>
<Relationships xmlns="http://schemas.openxmlformats.org/package/2006/relationships"><Relationship Id="rId1" Type="http://schemas.openxmlformats.org/officeDocument/2006/relationships/customXmlProps" Target="itemProps36.xml"/></Relationships>
</file>

<file path=customXml/_rels/item37.xml.rels><?xml version="1.0" encoding="UTF-8" standalone="yes"?>
<Relationships xmlns="http://schemas.openxmlformats.org/package/2006/relationships"><Relationship Id="rId1" Type="http://schemas.openxmlformats.org/officeDocument/2006/relationships/customXmlProps" Target="itemProps37.xml"/></Relationships>
</file>

<file path=customXml/_rels/item38.xml.rels><?xml version="1.0" encoding="UTF-8" standalone="yes"?>
<Relationships xmlns="http://schemas.openxmlformats.org/package/2006/relationships"><Relationship Id="rId1" Type="http://schemas.openxmlformats.org/officeDocument/2006/relationships/customXmlProps" Target="itemProps38.xml"/></Relationships>
</file>

<file path=customXml/_rels/item39.xml.rels><?xml version="1.0" encoding="UTF-8" standalone="yes"?>
<Relationships xmlns="http://schemas.openxmlformats.org/package/2006/relationships"><Relationship Id="rId1" Type="http://schemas.openxmlformats.org/officeDocument/2006/relationships/customXmlProps" Target="itemProps39.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40.xml.rels><?xml version="1.0" encoding="UTF-8" standalone="yes"?>
<Relationships xmlns="http://schemas.openxmlformats.org/package/2006/relationships"><Relationship Id="rId1" Type="http://schemas.openxmlformats.org/officeDocument/2006/relationships/customXmlProps" Target="itemProps40.xml"/></Relationships>
</file>

<file path=customXml/_rels/item41.xml.rels><?xml version="1.0" encoding="UTF-8" standalone="yes"?>
<Relationships xmlns="http://schemas.openxmlformats.org/package/2006/relationships"><Relationship Id="rId1" Type="http://schemas.openxmlformats.org/officeDocument/2006/relationships/customXmlProps" Target="itemProps41.xml"/></Relationships>
</file>

<file path=customXml/_rels/item42.xml.rels><?xml version="1.0" encoding="UTF-8" standalone="yes"?>
<Relationships xmlns="http://schemas.openxmlformats.org/package/2006/relationships"><Relationship Id="rId1" Type="http://schemas.openxmlformats.org/officeDocument/2006/relationships/customXmlProps" Target="itemProps42.xml"/></Relationships>
</file>

<file path=customXml/_rels/item43.xml.rels><?xml version="1.0" encoding="UTF-8" standalone="yes"?>
<Relationships xmlns="http://schemas.openxmlformats.org/package/2006/relationships"><Relationship Id="rId1" Type="http://schemas.openxmlformats.org/officeDocument/2006/relationships/customXmlProps" Target="itemProps43.xml"/></Relationships>
</file>

<file path=customXml/_rels/item44.xml.rels><?xml version="1.0" encoding="UTF-8" standalone="yes"?>
<Relationships xmlns="http://schemas.openxmlformats.org/package/2006/relationships"><Relationship Id="rId1" Type="http://schemas.openxmlformats.org/officeDocument/2006/relationships/customXmlProps" Target="itemProps44.xml"/></Relationships>
</file>

<file path=customXml/_rels/item45.xml.rels><?xml version="1.0" encoding="UTF-8" standalone="yes"?>
<Relationships xmlns="http://schemas.openxmlformats.org/package/2006/relationships"><Relationship Id="rId1" Type="http://schemas.openxmlformats.org/officeDocument/2006/relationships/customXmlProps" Target="itemProps45.xml"/></Relationships>
</file>

<file path=customXml/_rels/item46.xml.rels><?xml version="1.0" encoding="UTF-8" standalone="yes"?>
<Relationships xmlns="http://schemas.openxmlformats.org/package/2006/relationships"><Relationship Id="rId1" Type="http://schemas.openxmlformats.org/officeDocument/2006/relationships/customXmlProps" Target="itemProps46.xml"/></Relationships>
</file>

<file path=customXml/_rels/item47.xml.rels><?xml version="1.0" encoding="UTF-8" standalone="yes"?>
<Relationships xmlns="http://schemas.openxmlformats.org/package/2006/relationships"><Relationship Id="rId1" Type="http://schemas.openxmlformats.org/officeDocument/2006/relationships/customXmlProps" Target="itemProps47.xml"/></Relationships>
</file>

<file path=customXml/_rels/item48.xml.rels><?xml version="1.0" encoding="UTF-8" standalone="yes"?>
<Relationships xmlns="http://schemas.openxmlformats.org/package/2006/relationships"><Relationship Id="rId1" Type="http://schemas.openxmlformats.org/officeDocument/2006/relationships/customXmlProps" Target="itemProps48.xml"/></Relationships>
</file>

<file path=customXml/_rels/item49.xml.rels><?xml version="1.0" encoding="UTF-8" standalone="yes"?>
<Relationships xmlns="http://schemas.openxmlformats.org/package/2006/relationships"><Relationship Id="rId1" Type="http://schemas.openxmlformats.org/officeDocument/2006/relationships/customXmlProps" Target="itemProps49.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50.xml.rels><?xml version="1.0" encoding="UTF-8" standalone="yes"?>
<Relationships xmlns="http://schemas.openxmlformats.org/package/2006/relationships"><Relationship Id="rId1" Type="http://schemas.openxmlformats.org/officeDocument/2006/relationships/customXmlProps" Target="itemProps50.xml"/></Relationships>
</file>

<file path=customXml/_rels/item51.xml.rels><?xml version="1.0" encoding="UTF-8" standalone="yes"?>
<Relationships xmlns="http://schemas.openxmlformats.org/package/2006/relationships"><Relationship Id="rId1" Type="http://schemas.openxmlformats.org/officeDocument/2006/relationships/customXmlProps" Target="itemProps51.xml"/></Relationships>
</file>

<file path=customXml/_rels/item52.xml.rels><?xml version="1.0" encoding="UTF-8" standalone="yes"?>
<Relationships xmlns="http://schemas.openxmlformats.org/package/2006/relationships"><Relationship Id="rId1" Type="http://schemas.openxmlformats.org/officeDocument/2006/relationships/customXmlProps" Target="itemProps52.xml"/></Relationships>
</file>

<file path=customXml/_rels/item53.xml.rels><?xml version="1.0" encoding="UTF-8" standalone="yes"?>
<Relationships xmlns="http://schemas.openxmlformats.org/package/2006/relationships"><Relationship Id="rId1" Type="http://schemas.openxmlformats.org/officeDocument/2006/relationships/customXmlProps" Target="itemProps53.xml"/></Relationships>
</file>

<file path=customXml/_rels/item54.xml.rels><?xml version="1.0" encoding="UTF-8" standalone="yes"?>
<Relationships xmlns="http://schemas.openxmlformats.org/package/2006/relationships"><Relationship Id="rId1" Type="http://schemas.openxmlformats.org/officeDocument/2006/relationships/customXmlProps" Target="itemProps54.xml"/></Relationships>
</file>

<file path=customXml/_rels/item55.xml.rels><?xml version="1.0" encoding="UTF-8" standalone="yes"?>
<Relationships xmlns="http://schemas.openxmlformats.org/package/2006/relationships"><Relationship Id="rId1" Type="http://schemas.openxmlformats.org/officeDocument/2006/relationships/customXmlProps" Target="itemProps55.xml"/></Relationships>
</file>

<file path=customXml/_rels/item56.xml.rels><?xml version="1.0" encoding="UTF-8" standalone="yes"?>
<Relationships xmlns="http://schemas.openxmlformats.org/package/2006/relationships"><Relationship Id="rId1" Type="http://schemas.openxmlformats.org/officeDocument/2006/relationships/customXmlProps" Target="itemProps56.xml"/></Relationships>
</file>

<file path=customXml/_rels/item57.xml.rels><?xml version="1.0" encoding="UTF-8" standalone="yes"?>
<Relationships xmlns="http://schemas.openxmlformats.org/package/2006/relationships"><Relationship Id="rId1" Type="http://schemas.openxmlformats.org/officeDocument/2006/relationships/customXmlProps" Target="itemProps57.xml"/></Relationships>
</file>

<file path=customXml/_rels/item58.xml.rels><?xml version="1.0" encoding="UTF-8" standalone="yes"?>
<Relationships xmlns="http://schemas.openxmlformats.org/package/2006/relationships"><Relationship Id="rId1" Type="http://schemas.openxmlformats.org/officeDocument/2006/relationships/customXmlProps" Target="itemProps58.xml"/></Relationships>
</file>

<file path=customXml/_rels/item59.xml.rels><?xml version="1.0" encoding="UTF-8" standalone="yes"?>
<Relationships xmlns="http://schemas.openxmlformats.org/package/2006/relationships"><Relationship Id="rId1" Type="http://schemas.openxmlformats.org/officeDocument/2006/relationships/customXmlProps" Target="itemProps59.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60.xml.rels><?xml version="1.0" encoding="UTF-8" standalone="yes"?>
<Relationships xmlns="http://schemas.openxmlformats.org/package/2006/relationships"><Relationship Id="rId1" Type="http://schemas.openxmlformats.org/officeDocument/2006/relationships/customXmlProps" Target="itemProps60.xml"/></Relationships>
</file>

<file path=customXml/_rels/item61.xml.rels><?xml version="1.0" encoding="UTF-8" standalone="yes"?>
<Relationships xmlns="http://schemas.openxmlformats.org/package/2006/relationships"><Relationship Id="rId1" Type="http://schemas.openxmlformats.org/officeDocument/2006/relationships/customXmlProps" Target="itemProps61.xml"/></Relationships>
</file>

<file path=customXml/_rels/item62.xml.rels><?xml version="1.0" encoding="UTF-8" standalone="yes"?>
<Relationships xmlns="http://schemas.openxmlformats.org/package/2006/relationships"><Relationship Id="rId1" Type="http://schemas.openxmlformats.org/officeDocument/2006/relationships/customXmlProps" Target="itemProps62.xml"/></Relationships>
</file>

<file path=customXml/_rels/item63.xml.rels><?xml version="1.0" encoding="UTF-8" standalone="yes"?>
<Relationships xmlns="http://schemas.openxmlformats.org/package/2006/relationships"><Relationship Id="rId1" Type="http://schemas.openxmlformats.org/officeDocument/2006/relationships/customXmlProps" Target="itemProps63.xml"/></Relationships>
</file>

<file path=customXml/_rels/item64.xml.rels><?xml version="1.0" encoding="UTF-8" standalone="yes"?>
<Relationships xmlns="http://schemas.openxmlformats.org/package/2006/relationships"><Relationship Id="rId1" Type="http://schemas.openxmlformats.org/officeDocument/2006/relationships/customXmlProps" Target="itemProps64.xml"/></Relationships>
</file>

<file path=customXml/_rels/item65.xml.rels><?xml version="1.0" encoding="UTF-8" standalone="yes"?>
<Relationships xmlns="http://schemas.openxmlformats.org/package/2006/relationships"><Relationship Id="rId1" Type="http://schemas.openxmlformats.org/officeDocument/2006/relationships/customXmlProps" Target="itemProps65.xml"/></Relationships>
</file>

<file path=customXml/_rels/item66.xml.rels><?xml version="1.0" encoding="UTF-8" standalone="yes"?>
<Relationships xmlns="http://schemas.openxmlformats.org/package/2006/relationships"><Relationship Id="rId1" Type="http://schemas.openxmlformats.org/officeDocument/2006/relationships/customXmlProps" Target="itemProps66.xml"/></Relationships>
</file>

<file path=customXml/_rels/item67.xml.rels><?xml version="1.0" encoding="UTF-8" standalone="yes"?>
<Relationships xmlns="http://schemas.openxmlformats.org/package/2006/relationships"><Relationship Id="rId1" Type="http://schemas.openxmlformats.org/officeDocument/2006/relationships/customXmlProps" Target="itemProps67.xml"/></Relationships>
</file>

<file path=customXml/_rels/item68.xml.rels><?xml version="1.0" encoding="UTF-8" standalone="yes"?>
<Relationships xmlns="http://schemas.openxmlformats.org/package/2006/relationships"><Relationship Id="rId1" Type="http://schemas.openxmlformats.org/officeDocument/2006/relationships/customXmlProps" Target="itemProps68.xml"/></Relationships>
</file>

<file path=customXml/_rels/item69.xml.rels><?xml version="1.0" encoding="UTF-8" standalone="yes"?>
<Relationships xmlns="http://schemas.openxmlformats.org/package/2006/relationships"><Relationship Id="rId1" Type="http://schemas.openxmlformats.org/officeDocument/2006/relationships/customXmlProps" Target="itemProps69.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70.xml.rels><?xml version="1.0" encoding="UTF-8" standalone="yes"?>
<Relationships xmlns="http://schemas.openxmlformats.org/package/2006/relationships"><Relationship Id="rId1" Type="http://schemas.openxmlformats.org/officeDocument/2006/relationships/customXmlProps" Target="itemProps70.xml"/></Relationships>
</file>

<file path=customXml/_rels/item71.xml.rels><?xml version="1.0" encoding="UTF-8" standalone="yes"?>
<Relationships xmlns="http://schemas.openxmlformats.org/package/2006/relationships"><Relationship Id="rId1" Type="http://schemas.openxmlformats.org/officeDocument/2006/relationships/customXmlProps" Target="itemProps71.xml"/></Relationships>
</file>

<file path=customXml/_rels/item72.xml.rels><?xml version="1.0" encoding="UTF-8" standalone="yes"?>
<Relationships xmlns="http://schemas.openxmlformats.org/package/2006/relationships"><Relationship Id="rId1" Type="http://schemas.openxmlformats.org/officeDocument/2006/relationships/customXmlProps" Target="itemProps72.xml"/></Relationships>
</file>

<file path=customXml/_rels/item73.xml.rels><?xml version="1.0" encoding="UTF-8" standalone="yes"?>
<Relationships xmlns="http://schemas.openxmlformats.org/package/2006/relationships"><Relationship Id="rId1" Type="http://schemas.openxmlformats.org/officeDocument/2006/relationships/customXmlProps" Target="itemProps73.xml"/></Relationships>
</file>

<file path=customXml/_rels/item74.xml.rels><?xml version="1.0" encoding="UTF-8" standalone="yes"?>
<Relationships xmlns="http://schemas.openxmlformats.org/package/2006/relationships"><Relationship Id="rId1" Type="http://schemas.openxmlformats.org/officeDocument/2006/relationships/customXmlProps" Target="itemProps74.xml"/></Relationships>
</file>

<file path=customXml/_rels/item75.xml.rels><?xml version="1.0" encoding="UTF-8" standalone="yes"?>
<Relationships xmlns="http://schemas.openxmlformats.org/package/2006/relationships"><Relationship Id="rId1" Type="http://schemas.openxmlformats.org/officeDocument/2006/relationships/customXmlProps" Target="itemProps75.xml"/></Relationships>
</file>

<file path=customXml/_rels/item76.xml.rels><?xml version="1.0" encoding="UTF-8" standalone="yes"?>
<Relationships xmlns="http://schemas.openxmlformats.org/package/2006/relationships"><Relationship Id="rId1" Type="http://schemas.openxmlformats.org/officeDocument/2006/relationships/customXmlProps" Target="itemProps76.xml"/></Relationships>
</file>

<file path=customXml/_rels/item77.xml.rels><?xml version="1.0" encoding="UTF-8" standalone="yes"?>
<Relationships xmlns="http://schemas.openxmlformats.org/package/2006/relationships"><Relationship Id="rId1" Type="http://schemas.openxmlformats.org/officeDocument/2006/relationships/customXmlProps" Target="itemProps77.xml"/></Relationships>
</file>

<file path=customXml/_rels/item78.xml.rels><?xml version="1.0" encoding="UTF-8" standalone="yes"?>
<Relationships xmlns="http://schemas.openxmlformats.org/package/2006/relationships"><Relationship Id="rId1" Type="http://schemas.openxmlformats.org/officeDocument/2006/relationships/customXmlProps" Target="itemProps78.xml"/></Relationships>
</file>

<file path=customXml/_rels/item79.xml.rels><?xml version="1.0" encoding="UTF-8" standalone="yes"?>
<Relationships xmlns="http://schemas.openxmlformats.org/package/2006/relationships"><Relationship Id="rId1" Type="http://schemas.openxmlformats.org/officeDocument/2006/relationships/customXmlProps" Target="itemProps79.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TemplafySlideFormConfiguration><![CDATA[{"formFields":[],"formDataEntries":[]}]]></TemplafySlideFormConfiguration>
</file>

<file path=customXml/item10.xml><?xml version="1.0" encoding="utf-8"?>
<TemplafySlideTemplateConfiguration><![CDATA[{"slideVersion":1,"isValidatorEnabled":false,"isLocked":false,"elementsMetadata":[],"slideId":"953956199819640832","enableDocumentContentUpdater":false,"version":"2.0"}]]></TemplafySlideTemplateConfiguration>
</file>

<file path=customXml/item11.xml><?xml version="1.0" encoding="utf-8"?>
<TemplafySlideFormConfiguration><![CDATA[{"formFields":[],"formDataEntries":[]}]]></TemplafySlideFormConfiguration>
</file>

<file path=customXml/item12.xml><?xml version="1.0" encoding="utf-8"?>
<TemplafySlideTemplateConfiguration><![CDATA[{"slideVersion":11,"isValidatorEnabled":false,"isLocked":false,"elementsMetadata":[],"slideId":"638331234103040955","enableDocumentContentUpdater":false,"version":"2.0"}]]></TemplafySlideTemplateConfiguration>
</file>

<file path=customXml/item13.xml><?xml version="1.0" encoding="utf-8"?>
<TemplafySlideFormConfiguration><![CDATA[{"formFields":[],"formDataEntries":[]}]]></TemplafySlideFormConfiguration>
</file>

<file path=customXml/item14.xml><?xml version="1.0" encoding="utf-8"?>
<ct:contentTypeSchema xmlns:ct="http://schemas.microsoft.com/office/2006/metadata/contentType" xmlns:ma="http://schemas.microsoft.com/office/2006/metadata/properties/metaAttributes" ct:_="" ma:_="" ma:contentTypeName="Document" ma:contentTypeID="0x010100792858075F139349BF45700718E8A7A4" ma:contentTypeVersion="14" ma:contentTypeDescription="Create a new document." ma:contentTypeScope="" ma:versionID="7e433ee3cb8a380390d62af9a5ea3062">
  <xsd:schema xmlns:xsd="http://www.w3.org/2001/XMLSchema" xmlns:xs="http://www.w3.org/2001/XMLSchema" xmlns:p="http://schemas.microsoft.com/office/2006/metadata/properties" xmlns:ns2="6e7234bd-dad5-4aa9-bec4-5d84954c5428" xmlns:ns3="7e25dd57-ca4d-441d-9244-a0da05019e99" targetNamespace="http://schemas.microsoft.com/office/2006/metadata/properties" ma:root="true" ma:fieldsID="54e662073846ae5d226d91709bc9ceee" ns2:_="" ns3:_="">
    <xsd:import namespace="6e7234bd-dad5-4aa9-bec4-5d84954c5428"/>
    <xsd:import namespace="7e25dd57-ca4d-441d-9244-a0da05019e99"/>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3:SharedWithUsers" minOccurs="0"/>
                <xsd:element ref="ns3:SharedWithDetails" minOccurs="0"/>
                <xsd:element ref="ns2:MediaServiceDateTaken" minOccurs="0"/>
                <xsd:element ref="ns2:MediaServiceGenerationTime" minOccurs="0"/>
                <xsd:element ref="ns2:MediaServiceEventHashCode" minOccurs="0"/>
                <xsd:element ref="ns2:MediaLengthInSeconds" minOccurs="0"/>
                <xsd:element ref="ns2:lcf76f155ced4ddcb4097134ff3c332f" minOccurs="0"/>
                <xsd:element ref="ns3:TaxCatchAll" minOccurs="0"/>
                <xsd:element ref="ns2: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e7234bd-dad5-4aa9-bec4-5d84954c542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MediaServiceDateTaken" ma:index="14" nillable="true" ma:displayName="MediaServiceDateTaken" ma:hidden="true" ma:indexed="true" ma:internalName="MediaServiceDateTaken"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element name="lcf76f155ced4ddcb4097134ff3c332f" ma:index="19" nillable="true" ma:taxonomy="true" ma:internalName="lcf76f155ced4ddcb4097134ff3c332f" ma:taxonomyFieldName="MediaServiceImageTags" ma:displayName="Image Tags" ma:readOnly="false" ma:fieldId="{5cf76f15-5ced-4ddc-b409-7134ff3c332f}" ma:taxonomyMulti="true" ma:sspId="c7b3fb9d-ee0a-40a8-bd42-4026b75186d8" ma:termSetId="09814cd3-568e-fe90-9814-8d621ff8fb84" ma:anchorId="fba54fb3-c3e1-fe81-a776-ca4b69148c4d" ma:open="true" ma:isKeyword="false">
      <xsd:complexType>
        <xsd:sequence>
          <xsd:element ref="pc:Terms" minOccurs="0" maxOccurs="1"/>
        </xsd:sequence>
      </xsd:complexType>
    </xsd:element>
    <xsd:element name="MediaServiceOCR" ma:index="21" nillable="true" ma:displayName="Extracted Text"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7e25dd57-ca4d-441d-9244-a0da05019e99"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TaxCatchAll" ma:index="20" nillable="true" ma:displayName="Taxonomy Catch All Column" ma:hidden="true" ma:list="{98017931-c079-4b48-84cf-9ce2dba525f5}" ma:internalName="TaxCatchAll" ma:showField="CatchAllData" ma:web="7e25dd57-ca4d-441d-9244-a0da05019e99">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15.xml><?xml version="1.0" encoding="utf-8"?>
<TemplafySlideTemplateConfiguration><![CDATA[{"slideVersion":11,"isValidatorEnabled":false,"isLocked":false,"elementsMetadata":[],"slideId":"638331234103040955","enableDocumentContentUpdater":false,"version":"2.0"}]]></TemplafySlideTemplateConfiguration>
</file>

<file path=customXml/item16.xml><?xml version="1.0" encoding="utf-8"?>
<TemplafySlideTemplateConfiguration><![CDATA[{"slideVersion":11,"isValidatorEnabled":false,"isLocked":false,"elementsMetadata":[],"slideId":"638331234103040955","enableDocumentContentUpdater":false,"version":"2.0"}]]></TemplafySlideTemplateConfiguration>
</file>

<file path=customXml/item17.xml><?xml version="1.0" encoding="utf-8"?>
<TemplafySlideFormConfiguration><![CDATA[{"formFields":[{"required":false,"placeholder":"","lines":1,"defaultValue":"{{StringJoin(\" \", UserProfile.FirstName,UserProfile.LastName)}}","helpTexts":{"prefix":"After your name, include your preferred pronouns (they/them, she/her, he/him)."},"shareValue":false,"type":"textBox","name":"SpeakerName","label":"Name and Pronouns"},{"required":false,"placeholder":"","lines":1,"defaultValue":"{{UserProfile.Email}}","shareValue":false,"type":"textBox","name":"Email","label":"Email"}],"formDataEntries":[]}]]></TemplafySlideFormConfiguration>
</file>

<file path=customXml/item18.xml><?xml version="1.0" encoding="utf-8"?>
<TemplafySlideTemplateConfiguration><![CDATA[{"slideVersion":1,"isValidatorEnabled":false,"isLocked":false,"elementsMetadata":[],"slideId":"953956199819640832","enableDocumentContentUpdater":false,"version":"2.0"}]]></TemplafySlideTemplateConfiguration>
</file>

<file path=customXml/item19.xml><?xml version="1.0" encoding="utf-8"?>
<TemplafySlideTemplateConfiguration><![CDATA[{"slideVersion":11,"isValidatorEnabled":false,"isLocked":false,"elementsMetadata":[],"slideId":"638331234103040955","enableDocumentContentUpdater":false,"version":"2.0"}]]></TemplafySlideTemplateConfiguration>
</file>

<file path=customXml/item2.xml><?xml version="1.0" encoding="utf-8"?>
<TemplafySlideFormConfiguration><![CDATA[{"formFields":[],"formDataEntries":[]}]]></TemplafySlideFormConfiguration>
</file>

<file path=customXml/item20.xml><?xml version="1.0" encoding="utf-8"?>
<TemplafySlideTemplateConfiguration><![CDATA[{"slideVersion":8,"isValidatorEnabled":false,"isLocked":false,"elementsMetadata":[],"slideId":"638331234102931200","enableDocumentContentUpdater":false,"version":"2.0"}]]></TemplafySlideTemplateConfiguration>
</file>

<file path=customXml/item21.xml><?xml version="1.0" encoding="utf-8"?>
<?mso-contentType ?>
<FormTemplates xmlns="http://schemas.microsoft.com/sharepoint/v3/contenttype/forms">
  <Display>DocumentLibraryForm</Display>
  <Edit>DocumentLibraryForm</Edit>
  <New>DocumentLibraryForm</New>
</FormTemplates>
</file>

<file path=customXml/item22.xml><?xml version="1.0" encoding="utf-8"?>
<TemplafySlideTemplateConfiguration><![CDATA[{"slideVersion":1,"isValidatorEnabled":false,"isLocked":false,"elementsMetadata":[],"slideId":"638331234103099669","enableDocumentContentUpdater":false,"version":"2.0"}]]></TemplafySlideTemplateConfiguration>
</file>

<file path=customXml/item23.xml><?xml version="1.0" encoding="utf-8"?>
<TemplafySlideFormConfiguration><![CDATA[{"formFields":[],"formDataEntries":[]}]]></TemplafySlideFormConfiguration>
</file>

<file path=customXml/item24.xml><?xml version="1.0" encoding="utf-8"?>
<TemplafySlideFormConfiguration><![CDATA[{"formFields":[],"formDataEntries":[]}]]></TemplafySlideFormConfiguration>
</file>

<file path=customXml/item25.xml><?xml version="1.0" encoding="utf-8"?>
<TemplafySlideTemplateConfiguration><![CDATA[{"slideVersion":1,"isValidatorEnabled":false,"isLocked":false,"elementsMetadata":[],"slideId":"638331234103040955","enableDocumentContentUpdater":false,"version":"2.0"}]]></TemplafySlideTemplateConfiguration>
</file>

<file path=customXml/item26.xml><?xml version="1.0" encoding="utf-8"?>
<TemplafySlideTemplateConfiguration><![CDATA[{"slideVersion":1,"isValidatorEnabled":false,"isLocked":false,"elementsMetadata":[],"slideId":"953956199819640832","enableDocumentContentUpdater":false,"version":"2.0"}]]></TemplafySlideTemplateConfiguration>
</file>

<file path=customXml/item27.xml><?xml version="1.0" encoding="utf-8"?>
<TemplafySlideFormConfiguration><![CDATA[{"formFields":[],"formDataEntries":[]}]]></TemplafySlideFormConfiguration>
</file>

<file path=customXml/item28.xml><?xml version="1.0" encoding="utf-8"?>
<TemplafySlideTemplateConfiguration><![CDATA[{"slideVersion":11,"isValidatorEnabled":false,"isLocked":false,"elementsMetadata":[],"slideId":"638331234103040955","enableDocumentContentUpdater":false,"version":"2.0"}]]></TemplafySlideTemplateConfiguration>
</file>

<file path=customXml/item29.xml><?xml version="1.0" encoding="utf-8"?>
<TemplafySlideFormConfiguration><![CDATA[{"formFields":[],"formDataEntries":[]}]]></TemplafySlideFormConfiguration>
</file>

<file path=customXml/item3.xml><?xml version="1.0" encoding="utf-8"?>
<TemplafySlideFormConfiguration><![CDATA[{"formFields":[],"formDataEntries":[]}]]></TemplafySlideFormConfiguration>
</file>

<file path=customXml/item30.xml><?xml version="1.0" encoding="utf-8"?>
<TemplafySlideTemplateConfiguration><![CDATA[{"slideVersion":1,"isValidatorEnabled":false,"isLocked":false,"elementsMetadata":[{"type":"shape","elementConfiguration":{"binding":"{{Form.SpeakerName}}","type":"text","disableUpdates":false}},{"type":"shape","elementConfiguration":{"binding":"{{Form.Email}}","type":"text","disableUpdates":false}},{"type":"shape","elementConfiguration":{"binding":"{{DataSources.PPTCopyRight[\"Slide 5 copyright\"].CopyrightMessage}}","visibility":"","type":"text","disableUpdates":false}}],"slideId":"638331234103056874","enableDocumentContentUpdater":false,"version":"2.0"}]]></TemplafySlideTemplateConfiguration>
</file>

<file path=customXml/item31.xml><?xml version="1.0" encoding="utf-8"?>
<TemplafySlideTemplateConfiguration><![CDATA[{"slideVersion":11,"isValidatorEnabled":false,"isLocked":false,"elementsMetadata":[],"slideId":"638331234103040955","enableDocumentContentUpdater":false,"version":"2.0"}]]></TemplafySlideTemplateConfiguration>
</file>

<file path=customXml/item32.xml><?xml version="1.0" encoding="utf-8"?>
<TemplafySlideTemplateConfiguration><![CDATA[{"slideVersion":11,"isValidatorEnabled":false,"isLocked":false,"elementsMetadata":[],"slideId":"638331234103040955","enableDocumentContentUpdater":false,"version":"2.0"}]]></TemplafySlideTemplateConfiguration>
</file>

<file path=customXml/item33.xml><?xml version="1.0" encoding="utf-8"?>
<TemplafySlideFormConfiguration><![CDATA[{"formFields":[],"formDataEntries":[]}]]></TemplafySlideFormConfiguration>
</file>

<file path=customXml/item34.xml><?xml version="1.0" encoding="utf-8"?>
<p:properties xmlns:p="http://schemas.microsoft.com/office/2006/metadata/properties" xmlns:xsi="http://www.w3.org/2001/XMLSchema-instance" xmlns:pc="http://schemas.microsoft.com/office/infopath/2007/PartnerControls">
  <documentManagement>
    <TaxCatchAll xmlns="7e25dd57-ca4d-441d-9244-a0da05019e99" xsi:nil="true"/>
    <lcf76f155ced4ddcb4097134ff3c332f xmlns="6e7234bd-dad5-4aa9-bec4-5d84954c5428">
      <Terms xmlns="http://schemas.microsoft.com/office/infopath/2007/PartnerControls"/>
    </lcf76f155ced4ddcb4097134ff3c332f>
  </documentManagement>
</p:properties>
</file>

<file path=customXml/item35.xml><?xml version="1.0" encoding="utf-8"?>
<TemplafySlideFormConfiguration><![CDATA[{"formFields":[],"formDataEntries":[]}]]></TemplafySlideFormConfiguration>
</file>

<file path=customXml/item36.xml><?xml version="1.0" encoding="utf-8"?>
<TemplafySlideTemplateConfiguration><![CDATA[{"slideVersion":11,"isValidatorEnabled":false,"isLocked":false,"elementsMetadata":[],"slideId":"638331234103040955","enableDocumentContentUpdater":false,"version":"2.0"}]]></TemplafySlideTemplateConfiguration>
</file>

<file path=customXml/item37.xml><?xml version="1.0" encoding="utf-8"?>
<TemplafyFormConfiguration><![CDATA[{"formFields":[{"distinct":false,"hideIfNoUserInteractionRequired":false,"required":true,"autoSelectFirstOption":false,"shareValue":false,"type":"dropDown","dataSourceName":"PPTSubBrandLogos2023","dataSourceFieldName":"Name","name":"SAPLogo","label":"Select Template"},{"distinct":false,"hideIfNoUserInteractionRequired":false,"required":true,"autoSelectFirstOption":false,"shareValue":false,"type":"dropDown","dataSourceName":"Classification","dataSourceFieldName":"Name","name":"Classification","label":"Select Classification"},{"required":false,"shareValue":false,"type":"datePicker","name":"Date","label":"Date"},{"required":false,"placeholder":"","lines":1,"defaultValue":"{{StringJoin(\" \", UserProfile.FirstName,UserProfile.LastName)}}","helpTexts":{"prefix":"After your name, include your preferred pronouns (they/them, she/her, he/him)."},"shareValue":false,"type":"textBox","name":"SpeakerName","label":"Name and Pronouns"},{"required":false,"placeholder":"","lines":1,"defaultValue":"{{UserProfile.Email}}","shareValue":false,"type":"textBox","name":"Email","label":"Email"}],"formDataEntries":[{"name":"SAPLogo","value":"pxB0tb4qiCEYCgGk2fAV86fXsKRk9ZMKiRC3VaLJ5C8="},{"name":"Classification","value":"OmrOP8d402txjl1Zr787gUA6bTWeMdaxGEF9U5BKD64="},{"name":"SpeakerName","value":"YnPwfaWtJd9yqRikMcavEg=="},{"name":"Email","value":"v35+JSpO6F5yjM5PrFdVwQ=="}]}]]></TemplafyFormConfiguration>
</file>

<file path=customXml/item38.xml><?xml version="1.0" encoding="utf-8"?>
<TemplafySlideTemplateConfiguration><![CDATA[{"slideVersion":8,"isValidatorEnabled":false,"isLocked":false,"elementsMetadata":[],"slideId":"638331234102931200","enableDocumentContentUpdater":false,"version":"2.0"}]]></TemplafySlideTemplateConfiguration>
</file>

<file path=customXml/item39.xml><?xml version="1.0" encoding="utf-8"?>
<TemplafySlideTemplateConfiguration><![CDATA[{"slideVersion":11,"isValidatorEnabled":false,"isLocked":false,"elementsMetadata":[],"slideId":"638331234103040955","enableDocumentContentUpdater":false,"version":"2.0"}]]></TemplafySlideTemplateConfiguration>
</file>

<file path=customXml/item4.xml><?xml version="1.0" encoding="utf-8"?>
<TemplafySlideFormConfiguration><![CDATA[{"formFields":[],"formDataEntries":[]}]]></TemplafySlideFormConfiguration>
</file>

<file path=customXml/item40.xml><?xml version="1.0" encoding="utf-8"?>
<TemplafyTemplateConfiguration><![CDATA[{"elementsMetadata":[{"type":"shape","id":"1df0b5c3-c399-4d80-afa5-baa0f5e07b52","elementConfiguration":{"binding":"{{ DataSources.Classification[Form.Classification.Name].Display}}","type":"text","disableUpdates":false}},{"type":"shape","id":"4730df89-118a-4dac-850a-22582fba25ef","elementConfiguration":{"inheritDimensions":"{{InheritDimensions.InheritNone}}","width":"","height":"1 cm","image":"{{Form.SAPLogo.SubbrandBlue}}","visibility":"","type":"image","disableUpdates":false}},{"type":"shape","id":"3b3005ec-996c-4d76-a358-795127b0f977","elementConfiguration":{"binding":"{{Form.Classification.Display}}","visibility":"","type":"text","disableUpdates":false}},{"type":"shape","id":"4fb6f5d1-82cd-4ab1-ae44-7e64d037ef1d","elementConfiguration":{"binding":"{{Form.Classification.Display}}","visibility":"","type":"text","disableUpdates":false}},{"type":"shape","id":"6e8f8d3c-486c-440f-9e89-010c51d1337f","elementConfiguration":{"inheritDimensions":"{{InheritDimensions.InheritNone}}","width":"","height":"1 cm","image":"{{Form.SAPLogo.SubbrandBlack}}","visibility":"","type":"image","disableUpdates":false}},{"type":"shape","id":"c91d4f96-eb02-4c57-a0e1-338790f88ede","elementConfiguration":{"inheritDimensions":"{{InheritDimensions.InheritNone}}","width":"","height":"1 cm","image":"{{Form.SAPLogo.SubbrandWhite}}","visibility":"","type":"image","disableUpdates":false}},{"type":"shape","id":"54a69f23-ff76-4f65-96bb-a6bf00e9647f","elementConfiguration":{"binding":"{{Form.Classification.Display}}","visibility":"","type":"text","disableUpdates":false}},{"type":"shape","id":"6c7bdae5-f4a4-41ef-bce1-a9de047427a3","elementConfiguration":{"inheritDimensions":"{{InheritDimensions.InheritNone}}","width":"","height":"1 cm","image":"{{Form.SAPLogo.SubbrandBlue}}","visibility":"","type":"image","disableUpdates":false}},{"type":"shape","id":"31826e07-6bd8-46cf-99a6-aba87324adbb","elementConfiguration":{"binding":"{{Form.Classification.Display}}","visibility":"","type":"text","disableUpdates":false}},{"type":"shape","id":"f232a519-5ff6-4053-bb5b-b23e1adaee18","elementConfiguration":{"inheritDimensions":"{{InheritDimensions.InheritNone}}","width":"","height":"1 cm","image":"{{Form.SAPLogo.SubbrandBlue}}","visibility":"","type":"image","disableUpdates":false}},{"type":"shape","id":"27682cf1-0696-470f-9efa-616f4870e8a0","elementConfiguration":{"binding":"{{Form.Classification.Display}}","visibility":"","type":"text","disableUpdates":false}},{"type":"shape","id":"e60c395f-8fa7-41cf-b146-37c7272e7cfb","elementConfiguration":{"inheritDimensions":"{{InheritDimensions.InheritNone}}","width":"","height":"1 cm","image":"{{Form.SAPLogo.SubbrandBlue}}","visibility":"","type":"image","disableUpdates":false}},{"type":"shape","id":"55d87788-2e60-4526-97e4-cc625eeee8de","elementConfiguration":{"binding":"{{Form.Classification.Display}}","visibility":"","type":"text","disableUpdates":false}},{"type":"shape","id":"bbbbfe71-eb37-4ff2-9c3b-eb5f58cbcbf4","elementConfiguration":{"inheritDimensions":"{{InheritDimensions.InheritNone}}","width":"","height":"1 cm","image":"{{Form.SAPLogo.SubbrandWhite}}","visibility":"","type":"image","disableUpdates":false}},{"type":"shape","id":"fb8eac9c-b638-44dd-a22a-7637e30f5e37","elementConfiguration":{"binding":"{{Form.Classification.Display}}","visibility":"","type":"text","disableUpdates":false}},{"type":"shape","id":"eb9adf6b-a999-43b4-87a5-c81e58f16e94","elementConfiguration":{"binding":"{{DataSources.PPTCopyRight[\"Slide 5 copyright\"].CopyrightMessage}}","visibility":"","type":"text","disableUpdates":false}},{"type":"shape","id":"e1ce98cc-b5e7-4d57-bbf2-b85890640f17","elementConfiguration":{"inheritDimensions":"{{InheritDimensions.InheritNone}}","width":"","height":"1 cm","image":"{{Form.SAPLogo.SubbrandBlack}}","visibility":"","type":"image","disableUpdates":false}},{"type":"shape","id":"e21c6111-be2c-44a0-a2aa-df88facd3edb","elementConfiguration":{"binding":"{{Form.Classification.Display}}","visibility":"","type":"text","disableUpdates":false}},{"type":"shape","id":"2de5be2a-d3c3-4ddf-bfce-d8d47df28dbb","elementConfiguration":{"inheritDimensions":"{{InheritDimensions.InheritNone}}","width":"","height":"1 cm","image":"{{Form.SAPLogo.SubbrandWhite}}","visibility":"","type":"image","disableUpdates":false}},{"type":"shape","id":"ae7c7b96-b70f-4e7a-b733-583422dd9c67","elementConfiguration":{"binding":"{{Form.Classification.Display}}","visibility":"","type":"text","disableUpdates":false}},{"type":"shape","id":"c1eb01f2-9e1f-430d-b8b5-2c5ca45c20b6","elementConfiguration":{"inheritDimensions":"{{InheritDimensions.InheritNone}}","width":"","height":"1 cm","image":"{{Form.SAPLogo.SubbrandBlack}}","visibility":"","type":"image","disableUpdates":false}},{"type":"shape","id":"790acb4e-ca71-45a1-a6aa-15bb3a352e16","elementConfiguration":{"binding":"{{Form.Classification.Display}}","visibility":"","type":"text","disableUpdates":false}},{"type":"shape","id":"2fc7f057-0369-4ed6-8a09-948d28d95ffb","elementConfiguration":{"inheritDimensions":"{{InheritDimensions.InheritNone}}","width":"","height":"1 cm","image":"{{Form.SAPLogo.SubbrandWhite}}","visibility":"","type":"image","disableUpdates":false}},{"type":"shape","id":"9c26c798-5a7f-4e71-a771-0737e45e4efe","elementConfiguration":{"binding":"{{Form.Classification.Display}}","visibility":"","type":"text","disableUpdates":false}},{"type":"shape","id":"1c29bb78-5811-4cd4-811f-7882c0a69982","elementConfiguration":{"inheritDimensions":"{{InheritDimensions.InheritNone}}","width":"","height":"1 cm","image":"{{Form.SAPLogo.SubbrandWhite}}","visibility":"","type":"image","disableUpdates":false}},{"type":"shape","id":"58f345ad-7bdb-419e-8713-85ce06a158f4","elementConfiguration":{"binding":"{{Form.Classification.Display}}","visibility":"","type":"text","disableUpdates":false}},{"type":"shape","id":"3fa50bdb-3142-405e-880c-0380db712567","elementConfiguration":{"binding":"{{StringJoin(\", \", Form.SpeakerName,\"SAP\")}}","type":"text","disableUpdates":false}},{"type":"shape","id":"7ba1bdc3-6de1-4200-a6e0-b1800360e955","elementConfiguration":{"binding":"{{FormatDateTime(Form.Date,\"MMMM dd, yyyy\",\"en-US\")}}","type":"text","disableUpdates":false}},{"type":"shape","id":"038d2caa-100a-48e2-a85a-ae9df4466d25","elementConfiguration":{"binding":"{{StringJoin(\", \", Form.SpeakerName,\"SAP\")}}","type":"text","disableUpdates":false}},{"type":"shape","id":"06373794-4453-4ce4-8a0f-1e74545fdebf","elementConfiguration":{"binding":"{{FormatDateTime(Form.Date,\"MMMM dd, yyyy\",\"en-US\")}}","type":"text","disableUpdates":false}},{"type":"shape","id":"17da9310-e182-49c8-9e08-07dbe704575b","elementConfiguration":{"binding":"{{Form.SpeakerName}}","type":"text","disableUpdates":false}},{"type":"shape","id":"a5258a79-f3e0-48a9-bce0-c4a339708677","elementConfiguration":{"binding":"{{Form.Email}}","type":"text","disableUpdates":false}},{"type":"shape","id":"00227b4d-4db8-4a4b-b540-7d73284d492e","elementConfiguration":{"binding":"{{StringJoin(\", \", Form.SpeakerName,\"SAP\")}}","type":"text","disableUpdates":false}},{"type":"shape","id":"f246cb59-7dc1-4e47-aa19-199113a496ad","elementConfiguration":{"binding":"{{FormatDateTime(Form.Date,\"MMMM dd, yyyy\",\"en-US\")}}","type":"text","disableUpdates":false}},{"type":"shape","id":"b3642e98-d784-4710-b703-2415031999c0","elementConfiguration":{"binding":"{{StringJoin(\", \", Form.SpeakerName,\"SAP\")}}","type":"text","disableUpdates":false}},{"type":"shape","id":"b1649ea4-f984-49ae-a3a1-5e732da06700","elementConfiguration":{"binding":"{{FormatDateTime(Form.Date,\"MMMM dd, yyyy\",\"en-US\")}}","type":"text","disableUpdates":false}},{"type":"shape","id":"817f2cac-476f-4f09-9a5b-f65cb78c8457","elementConfiguration":{"binding":"{{StringJoin(\", \", Form.SpeakerName,\"SAP\")}}","type":"text","disableUpdates":false}},{"type":"shape","id":"378927af-789e-478a-98db-01e3a717f61a","elementConfiguration":{"binding":"{{FormatDateTime(Form.Date,\"MMMM dd, yyyy\",\"en-US\")}}","type":"text","disableUpdates":false}},{"type":"shape","id":"f623d31c-4198-4495-bf52-bf36155f6b34","elementConfiguration":{"binding":"{{StringJoin(\", \", Form.SpeakerName,\"SAP\")}}","type":"text","disableUpdates":false}},{"type":"shape","id":"da33ba28-87ff-4f5f-b399-aa059e6b787a","elementConfiguration":{"binding":"{{FormatDateTime(Form.Date,\"MMMM dd, yyyy\",\"en-US\")}}","type":"text","disableUpdates":false}}],"transformationConfigurations":[],"templateName":"SAP Template NEW","templateDescription":"","enableDocumentContentUpdater":true,"version":"2.0"}]]></TemplafyTemplateConfiguration>
</file>

<file path=customXml/item41.xml><?xml version="1.0" encoding="utf-8"?>
<TemplafySlideTemplateConfiguration><![CDATA[{"slideVersion":1,"isValidatorEnabled":false,"isLocked":false,"elementsMetadata":[],"slideId":"953956199819640832","enableDocumentContentUpdater":false,"version":"2.0"}]]></TemplafySlideTemplateConfiguration>
</file>

<file path=customXml/item42.xml><?xml version="1.0" encoding="utf-8"?>
<TemplafySlideFormConfiguration><![CDATA[{"formFields":[],"formDataEntries":[]}]]></TemplafySlideFormConfiguration>
</file>

<file path=customXml/item43.xml><?xml version="1.0" encoding="utf-8"?>
<TemplafySlideTemplateConfiguration><![CDATA[{"slideVersion":1,"isValidatorEnabled":false,"isLocked":false,"elementsMetadata":[],"slideId":"638331234103040955","enableDocumentContentUpdater":false,"version":"2.0"}]]></TemplafySlideTemplateConfiguration>
</file>

<file path=customXml/item44.xml><?xml version="1.0" encoding="utf-8"?>
<TemplafySlideFormConfiguration><![CDATA[{"formFields":[],"formDataEntries":[]}]]></TemplafySlideFormConfiguration>
</file>

<file path=customXml/item45.xml><?xml version="1.0" encoding="utf-8"?>
<TemplafySlideTemplateConfiguration><![CDATA[{"slideVersion":11,"isValidatorEnabled":false,"isLocked":false,"elementsMetadata":[],"slideId":"638331234103040955","enableDocumentContentUpdater":false,"version":"2.0"}]]></TemplafySlideTemplateConfiguration>
</file>

<file path=customXml/item46.xml><?xml version="1.0" encoding="utf-8"?>
<TemplafySlideFormConfiguration><![CDATA[{"formFields":[],"formDataEntries":[]}]]></TemplafySlideFormConfiguration>
</file>

<file path=customXml/item47.xml><?xml version="1.0" encoding="utf-8"?>
<TemplafySlideFormConfiguration><![CDATA[{"formFields":[],"formDataEntries":[]}]]></TemplafySlideFormConfiguration>
</file>

<file path=customXml/item48.xml><?xml version="1.0" encoding="utf-8"?>
<TemplafySlideTemplateConfiguration><![CDATA[{"slideVersion":1,"isValidatorEnabled":false,"isLocked":false,"elementsMetadata":[],"slideId":"638331234102899225","enableDocumentContentUpdater":false,"version":"2.0"}]]></TemplafySlideTemplateConfiguration>
</file>

<file path=customXml/item49.xml><?xml version="1.0" encoding="utf-8"?>
<TemplafySlideFormConfiguration><![CDATA[{"formFields":[],"formDataEntries":[]}]]></TemplafySlideFormConfiguration>
</file>

<file path=customXml/item5.xml><?xml version="1.0" encoding="utf-8"?>
<TemplafySlideFormConfiguration><![CDATA[{"formFields":[],"formDataEntries":[]}]]></TemplafySlideFormConfiguration>
</file>

<file path=customXml/item50.xml><?xml version="1.0" encoding="utf-8"?>
<TemplafySlideFormConfiguration><![CDATA[{"formFields":[{"distinct":false,"hideIfNoUserInteractionRequired":false,"required":true,"autoSelectFirstOption":false,"shareValue":false,"type":"dropDown","dataSourceName":"PPTSubBrandLogos2023","dataSourceFieldName":"Name","name":"SAPLogo","label":"Select Template"},{"distinct":false,"hideIfNoUserInteractionRequired":false,"required":true,"autoSelectFirstOption":false,"shareValue":false,"type":"dropDown","dataSourceName":"Classification","dataSourceFieldName":"Name","name":"Classification","label":"Select Classification"},{"required":false,"shareValue":false,"type":"datePicker","name":"Date","label":"Date"},{"required":false,"placeholder":"","lines":1,"defaultValue":"{{StringJoin(\" \", UserProfile.FirstName,UserProfile.LastName)}}","helpTexts":{"prefix":"After your name, include your preferred pronouns (they/them, she/her, he/him)."},"shareValue":false,"type":"textBox","name":"SpeakerName","label":"Name and Pronouns"}],"formDataEntries":[]}]]></TemplafySlideFormConfiguration>
</file>

<file path=customXml/item51.xml><?xml version="1.0" encoding="utf-8"?>
<TemplafySlideTemplateConfiguration><![CDATA[{"slideVersion":11,"isValidatorEnabled":false,"isLocked":false,"elementsMetadata":[],"slideId":"638331234103040955","enableDocumentContentUpdater":false,"version":"2.0"}]]></TemplafySlideTemplateConfiguration>
</file>

<file path=customXml/item52.xml><?xml version="1.0" encoding="utf-8"?>
<TemplafySlideTemplateConfiguration><![CDATA[{"slideVersion":11,"isValidatorEnabled":false,"isLocked":false,"elementsMetadata":[],"slideId":"638331234103040955","enableDocumentContentUpdater":false,"version":"2.0"}]]></TemplafySlideTemplateConfiguration>
</file>

<file path=customXml/item53.xml><?xml version="1.0" encoding="utf-8"?>
<TemplafySlideTemplateConfiguration><![CDATA[{"slideVersion":1,"isValidatorEnabled":false,"isLocked":false,"elementsMetadata":[],"slideId":"638331234103040955","enableDocumentContentUpdater":false,"version":"2.0"}]]></TemplafySlideTemplateConfiguration>
</file>

<file path=customXml/item54.xml><?xml version="1.0" encoding="utf-8"?>
<TemplafySlideFormConfiguration><![CDATA[{"formFields":[],"formDataEntries":[]}]]></TemplafySlideFormConfiguration>
</file>

<file path=customXml/item55.xml><?xml version="1.0" encoding="utf-8"?>
<TemplafySlideFormConfiguration><![CDATA[{"formFields":[],"formDataEntries":[]}]]></TemplafySlideFormConfiguration>
</file>

<file path=customXml/item56.xml><?xml version="1.0" encoding="utf-8"?>
<TemplafySlideTemplateConfiguration><![CDATA[{"slideVersion":11,"isValidatorEnabled":false,"isLocked":false,"elementsMetadata":[],"slideId":"638331234103040955","enableDocumentContentUpdater":false,"version":"2.0"}]]></TemplafySlideTemplateConfiguration>
</file>

<file path=customXml/item57.xml><?xml version="1.0" encoding="utf-8"?>
<TemplafySlideTemplateConfiguration><![CDATA[{"slideVersion":1,"isValidatorEnabled":false,"isLocked":false,"elementsMetadata":[{"type":"shape","elementConfiguration":{"binding":"{{StringJoin(\", \", Form.SpeakerName,\"SAP\")}}","type":"text","disableUpdates":false}},{"type":"shape","elementConfiguration":{"binding":"{{FormatDateTime(Form.Date,\"MMMM dd, yyyy\",\"en-US\")}}","type":"text","disableUpdates":false}},{"type":"shape","elementConfiguration":{"inheritDimensions":"{{InheritDimensions.InheritNone}}","width":"","height":"1 cm","image":"{{Form.SAPLogo.SubbrandBlue}}","visibility":"","type":"image","disableUpdates":false}},{"type":"shape","elementConfiguration":{"binding":"{{Form.Classification.Display}}","visibility":"","type":"text","disableUpdates":false}}],"slideId":"638331234101560684","enableDocumentContentUpdater":false,"version":"2.0"}]]></TemplafySlideTemplateConfiguration>
</file>

<file path=customXml/item58.xml><?xml version="1.0" encoding="utf-8"?>
<TemplafySlideFormConfiguration><![CDATA[{"formFields":[],"formDataEntries":[]}]]></TemplafySlideFormConfiguration>
</file>

<file path=customXml/item59.xml><?xml version="1.0" encoding="utf-8"?>
<TemplafySlideFormConfiguration><![CDATA[{"formFields":[],"formDataEntries":[]}]]></TemplafySlideFormConfiguration>
</file>

<file path=customXml/item6.xml><?xml version="1.0" encoding="utf-8"?>
<TemplafySlideTemplateConfiguration><![CDATA[{"slideVersion":1,"isValidatorEnabled":false,"isLocked":false,"elementsMetadata":[],"slideId":"638331234103040955","enableDocumentContentUpdater":false,"version":"2.0"}]]></TemplafySlideTemplateConfiguration>
</file>

<file path=customXml/item60.xml><?xml version="1.0" encoding="utf-8"?>
<TemplafySlideTemplateConfiguration><![CDATA[{"slideVersion":1,"isValidatorEnabled":false,"isLocked":false,"elementsMetadata":[],"slideId":"638331234103040955","enableDocumentContentUpdater":false,"version":"2.0"}]]></TemplafySlideTemplateConfiguration>
</file>

<file path=customXml/item61.xml><?xml version="1.0" encoding="utf-8"?>
<TemplafySlideTemplateConfiguration><![CDATA[{"slideVersion":1,"isValidatorEnabled":false,"isLocked":false,"elementsMetadata":[],"slideId":"953956199819640832","enableDocumentContentUpdater":false,"version":"2.0"}]]></TemplafySlideTemplateConfiguration>
</file>

<file path=customXml/item62.xml><?xml version="1.0" encoding="utf-8"?>
<TemplafySlideTemplateConfiguration><![CDATA[{"slideVersion":11,"isValidatorEnabled":false,"isLocked":false,"elementsMetadata":[],"slideId":"638331234103040955","enableDocumentContentUpdater":false,"version":"2.0"}]]></TemplafySlideTemplateConfiguration>
</file>

<file path=customXml/item63.xml><?xml version="1.0" encoding="utf-8"?>
<TemplafySlideFormConfiguration><![CDATA[{"formFields":[],"formDataEntries":[]}]]></TemplafySlideFormConfiguration>
</file>

<file path=customXml/item64.xml><?xml version="1.0" encoding="utf-8"?>
<TemplafySlideTemplateConfiguration><![CDATA[{"slideVersion":1,"isValidatorEnabled":false,"isLocked":false,"elementsMetadata":[],"slideId":"638331234103040955","enableDocumentContentUpdater":false,"version":"2.0"}]]></TemplafySlideTemplateConfiguration>
</file>

<file path=customXml/item65.xml><?xml version="1.0" encoding="utf-8"?>
<TemplafySlideTemplateConfiguration><![CDATA[{"slideVersion":1,"isValidatorEnabled":false,"isLocked":false,"elementsMetadata":[],"slideId":"953956199819640832","enableDocumentContentUpdater":false,"version":"2.0"}]]></TemplafySlideTemplateConfiguration>
</file>

<file path=customXml/item66.xml><?xml version="1.0" encoding="utf-8"?>
<TemplafySlideTemplateConfiguration><![CDATA[{"slideVersion":11,"isValidatorEnabled":false,"isLocked":false,"elementsMetadata":[],"slideId":"638331234103040955","enableDocumentContentUpdater":false,"version":"2.0"}]]></TemplafySlideTemplateConfiguration>
</file>

<file path=customXml/item67.xml><?xml version="1.0" encoding="utf-8"?>
<TemplafySlideTemplateConfiguration><![CDATA[{"slideVersion":11,"isValidatorEnabled":false,"isLocked":false,"elementsMetadata":[],"slideId":"638331234103040955","enableDocumentContentUpdater":false,"version":"2.0"}]]></TemplafySlideTemplateConfiguration>
</file>

<file path=customXml/item68.xml><?xml version="1.0" encoding="utf-8"?>
<TemplafySlideFormConfiguration><![CDATA[{"formFields":[],"formDataEntries":[]}]]></TemplafySlideFormConfiguration>
</file>

<file path=customXml/item69.xml><?xml version="1.0" encoding="utf-8"?>
<TemplafySlideFormConfiguration><![CDATA[{"formFields":[],"formDataEntries":[]}]]></TemplafySlideFormConfiguration>
</file>

<file path=customXml/item7.xml><?xml version="1.0" encoding="utf-8"?>
<TemplafySlideTemplateConfiguration><![CDATA[{"slideVersion":11,"isValidatorEnabled":false,"isLocked":false,"elementsMetadata":[],"slideId":"638331234103040955","enableDocumentContentUpdater":false,"version":"2.0"}]]></TemplafySlideTemplateConfiguration>
</file>

<file path=customXml/item70.xml><?xml version="1.0" encoding="utf-8"?>
<TemplafySlideFormConfiguration><![CDATA[{"formFields":[],"formDataEntries":[]}]]></TemplafySlideFormConfiguration>
</file>

<file path=customXml/item71.xml><?xml version="1.0" encoding="utf-8"?>
<TemplafySlideTemplateConfiguration><![CDATA[{"slideVersion":11,"isValidatorEnabled":false,"isLocked":false,"elementsMetadata":[],"slideId":"638331234103040955","enableDocumentContentUpdater":false,"version":"2.0"}]]></TemplafySlideTemplateConfiguration>
</file>

<file path=customXml/item72.xml><?xml version="1.0" encoding="utf-8"?>
<TemplafySlideFormConfiguration><![CDATA[{"formFields":[],"formDataEntries":[]}]]></TemplafySlideFormConfiguration>
</file>

<file path=customXml/item73.xml><?xml version="1.0" encoding="utf-8"?>
<TemplafySlideFormConfiguration><![CDATA[{"formFields":[],"formDataEntries":[]}]]></TemplafySlideFormConfiguration>
</file>

<file path=customXml/item74.xml><?xml version="1.0" encoding="utf-8"?>
<TemplafySlideFormConfiguration><![CDATA[{"formFields":[],"formDataEntries":[]}]]></TemplafySlideFormConfiguration>
</file>

<file path=customXml/item75.xml><?xml version="1.0" encoding="utf-8"?>
<TemplafySlideFormConfiguration><![CDATA[{"formFields":[],"formDataEntries":[]}]]></TemplafySlideFormConfiguration>
</file>

<file path=customXml/item76.xml><?xml version="1.0" encoding="utf-8"?>
<TemplafySlideTemplateConfiguration><![CDATA[{"slideVersion":7,"isValidatorEnabled":false,"isLocked":false,"elementsMetadata":[],"slideId":"638331234103040955","enableDocumentContentUpdater":false,"version":"2.0"}]]></TemplafySlideTemplateConfiguration>
</file>

<file path=customXml/item77.xml><?xml version="1.0" encoding="utf-8"?>
<TemplafySlideFormConfiguration><![CDATA[{"formFields":[],"formDataEntries":[]}]]></TemplafySlideFormConfiguration>
</file>

<file path=customXml/item78.xml><?xml version="1.0" encoding="utf-8"?>
<TemplafySlideFormConfiguration><![CDATA[{"formFields":[],"formDataEntries":[]}]]></TemplafySlideFormConfiguration>
</file>

<file path=customXml/item79.xml><?xml version="1.0" encoding="utf-8"?>
<TemplafySlideFormConfiguration><![CDATA[{"formFields":[],"formDataEntries":[]}]]></TemplafySlideFormConfiguration>
</file>

<file path=customXml/item8.xml><?xml version="1.0" encoding="utf-8"?>
<TemplafySlideFormConfiguration><![CDATA[{"formFields":[],"formDataEntries":[]}]]></TemplafySlideFormConfiguration>
</file>

<file path=customXml/item9.xml><?xml version="1.0" encoding="utf-8"?>
<TemplafySlideFormConfiguration><![CDATA[{"formFields":[],"formDataEntries":[]}]]></TemplafySlideFormConfiguration>
</file>

<file path=customXml/itemProps1.xml><?xml version="1.0" encoding="utf-8"?>
<ds:datastoreItem xmlns:ds="http://schemas.openxmlformats.org/officeDocument/2006/customXml" ds:itemID="{32B4CE40-A540-46F0-A4B7-2503498DD8B0}">
  <ds:schemaRefs/>
</ds:datastoreItem>
</file>

<file path=customXml/itemProps10.xml><?xml version="1.0" encoding="utf-8"?>
<ds:datastoreItem xmlns:ds="http://schemas.openxmlformats.org/officeDocument/2006/customXml" ds:itemID="{0B49BC68-6931-4FE3-B62F-F1790DB0D36D}">
  <ds:schemaRefs/>
</ds:datastoreItem>
</file>

<file path=customXml/itemProps11.xml><?xml version="1.0" encoding="utf-8"?>
<ds:datastoreItem xmlns:ds="http://schemas.openxmlformats.org/officeDocument/2006/customXml" ds:itemID="{47213DDB-209F-4A31-BA4A-86B07FB3A92B}">
  <ds:schemaRefs/>
</ds:datastoreItem>
</file>

<file path=customXml/itemProps12.xml><?xml version="1.0" encoding="utf-8"?>
<ds:datastoreItem xmlns:ds="http://schemas.openxmlformats.org/officeDocument/2006/customXml" ds:itemID="{CB07EC1B-4387-4BE7-A2A4-8761154FFEA0}">
  <ds:schemaRefs/>
</ds:datastoreItem>
</file>

<file path=customXml/itemProps13.xml><?xml version="1.0" encoding="utf-8"?>
<ds:datastoreItem xmlns:ds="http://schemas.openxmlformats.org/officeDocument/2006/customXml" ds:itemID="{09762CCB-97C3-4AF2-90F4-00617CEE08B0}">
  <ds:schemaRefs/>
</ds:datastoreItem>
</file>

<file path=customXml/itemProps14.xml><?xml version="1.0" encoding="utf-8"?>
<ds:datastoreItem xmlns:ds="http://schemas.openxmlformats.org/officeDocument/2006/customXml" ds:itemID="{05219EAB-3155-49CB-8116-0925C2F3D8E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e7234bd-dad5-4aa9-bec4-5d84954c5428"/>
    <ds:schemaRef ds:uri="7e25dd57-ca4d-441d-9244-a0da05019e9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15.xml><?xml version="1.0" encoding="utf-8"?>
<ds:datastoreItem xmlns:ds="http://schemas.openxmlformats.org/officeDocument/2006/customXml" ds:itemID="{27670A3B-616F-4C91-89B4-460B230EE486}">
  <ds:schemaRefs/>
</ds:datastoreItem>
</file>

<file path=customXml/itemProps16.xml><?xml version="1.0" encoding="utf-8"?>
<ds:datastoreItem xmlns:ds="http://schemas.openxmlformats.org/officeDocument/2006/customXml" ds:itemID="{D3038317-4BDB-4A52-9AB1-1CA06B94E8F8}">
  <ds:schemaRefs/>
</ds:datastoreItem>
</file>

<file path=customXml/itemProps17.xml><?xml version="1.0" encoding="utf-8"?>
<ds:datastoreItem xmlns:ds="http://schemas.openxmlformats.org/officeDocument/2006/customXml" ds:itemID="{47869D81-24A3-1649-A7BC-E604AE89024C}">
  <ds:schemaRefs/>
</ds:datastoreItem>
</file>

<file path=customXml/itemProps18.xml><?xml version="1.0" encoding="utf-8"?>
<ds:datastoreItem xmlns:ds="http://schemas.openxmlformats.org/officeDocument/2006/customXml" ds:itemID="{E27A7ED0-BA9C-43E2-A100-F30EE2BB3D8E}">
  <ds:schemaRefs/>
</ds:datastoreItem>
</file>

<file path=customXml/itemProps19.xml><?xml version="1.0" encoding="utf-8"?>
<ds:datastoreItem xmlns:ds="http://schemas.openxmlformats.org/officeDocument/2006/customXml" ds:itemID="{150955E1-6EA8-47BC-B3C8-8030EEDD62EC}">
  <ds:schemaRefs/>
</ds:datastoreItem>
</file>

<file path=customXml/itemProps2.xml><?xml version="1.0" encoding="utf-8"?>
<ds:datastoreItem xmlns:ds="http://schemas.openxmlformats.org/officeDocument/2006/customXml" ds:itemID="{3C45C82C-85BF-431C-BC77-D67ABA2DD0ED}">
  <ds:schemaRefs/>
</ds:datastoreItem>
</file>

<file path=customXml/itemProps20.xml><?xml version="1.0" encoding="utf-8"?>
<ds:datastoreItem xmlns:ds="http://schemas.openxmlformats.org/officeDocument/2006/customXml" ds:itemID="{97E3BD22-8559-41C7-B32B-85AADBCE3220}">
  <ds:schemaRefs/>
</ds:datastoreItem>
</file>

<file path=customXml/itemProps21.xml><?xml version="1.0" encoding="utf-8"?>
<ds:datastoreItem xmlns:ds="http://schemas.openxmlformats.org/officeDocument/2006/customXml" ds:itemID="{291DCB28-1C52-4C0E-804A-6BD2D3F0FB8D}">
  <ds:schemaRefs>
    <ds:schemaRef ds:uri="http://schemas.microsoft.com/sharepoint/v3/contenttype/forms"/>
  </ds:schemaRefs>
</ds:datastoreItem>
</file>

<file path=customXml/itemProps22.xml><?xml version="1.0" encoding="utf-8"?>
<ds:datastoreItem xmlns:ds="http://schemas.openxmlformats.org/officeDocument/2006/customXml" ds:itemID="{0EC57229-3C66-4E28-BE75-EC4AA2288617}">
  <ds:schemaRefs/>
</ds:datastoreItem>
</file>

<file path=customXml/itemProps23.xml><?xml version="1.0" encoding="utf-8"?>
<ds:datastoreItem xmlns:ds="http://schemas.openxmlformats.org/officeDocument/2006/customXml" ds:itemID="{6F8A733D-884E-401E-9A29-9B2A5A24011F}">
  <ds:schemaRefs/>
</ds:datastoreItem>
</file>

<file path=customXml/itemProps24.xml><?xml version="1.0" encoding="utf-8"?>
<ds:datastoreItem xmlns:ds="http://schemas.openxmlformats.org/officeDocument/2006/customXml" ds:itemID="{52937FE8-4F5C-47A1-9305-1C013DCCAC4D}">
  <ds:schemaRefs/>
</ds:datastoreItem>
</file>

<file path=customXml/itemProps25.xml><?xml version="1.0" encoding="utf-8"?>
<ds:datastoreItem xmlns:ds="http://schemas.openxmlformats.org/officeDocument/2006/customXml" ds:itemID="{4A89C9F3-F598-46D4-9877-C849981E6558}">
  <ds:schemaRefs/>
</ds:datastoreItem>
</file>

<file path=customXml/itemProps26.xml><?xml version="1.0" encoding="utf-8"?>
<ds:datastoreItem xmlns:ds="http://schemas.openxmlformats.org/officeDocument/2006/customXml" ds:itemID="{2E566E46-38D1-4FF6-AC12-AFCFCA15E440}">
  <ds:schemaRefs/>
</ds:datastoreItem>
</file>

<file path=customXml/itemProps27.xml><?xml version="1.0" encoding="utf-8"?>
<ds:datastoreItem xmlns:ds="http://schemas.openxmlformats.org/officeDocument/2006/customXml" ds:itemID="{E93E93EC-8EDF-48E3-B66A-6A5439AA80E1}">
  <ds:schemaRefs/>
</ds:datastoreItem>
</file>

<file path=customXml/itemProps28.xml><?xml version="1.0" encoding="utf-8"?>
<ds:datastoreItem xmlns:ds="http://schemas.openxmlformats.org/officeDocument/2006/customXml" ds:itemID="{78AD54F3-4B09-4876-B764-97B5A6BBC743}">
  <ds:schemaRefs/>
</ds:datastoreItem>
</file>

<file path=customXml/itemProps29.xml><?xml version="1.0" encoding="utf-8"?>
<ds:datastoreItem xmlns:ds="http://schemas.openxmlformats.org/officeDocument/2006/customXml" ds:itemID="{7F6898E6-9ADD-4538-B0E5-FC21C8DB6903}">
  <ds:schemaRefs/>
</ds:datastoreItem>
</file>

<file path=customXml/itemProps3.xml><?xml version="1.0" encoding="utf-8"?>
<ds:datastoreItem xmlns:ds="http://schemas.openxmlformats.org/officeDocument/2006/customXml" ds:itemID="{CB50ABBE-C64B-42E6-89E7-D0CEBFF3CB61}">
  <ds:schemaRefs/>
</ds:datastoreItem>
</file>

<file path=customXml/itemProps30.xml><?xml version="1.0" encoding="utf-8"?>
<ds:datastoreItem xmlns:ds="http://schemas.openxmlformats.org/officeDocument/2006/customXml" ds:itemID="{3E4381A6-8E2C-574D-B48E-536A53B18F66}">
  <ds:schemaRefs/>
</ds:datastoreItem>
</file>

<file path=customXml/itemProps31.xml><?xml version="1.0" encoding="utf-8"?>
<ds:datastoreItem xmlns:ds="http://schemas.openxmlformats.org/officeDocument/2006/customXml" ds:itemID="{F75DD8F1-5BDB-4037-AB36-34C0B2F05BCB}">
  <ds:schemaRefs/>
</ds:datastoreItem>
</file>

<file path=customXml/itemProps32.xml><?xml version="1.0" encoding="utf-8"?>
<ds:datastoreItem xmlns:ds="http://schemas.openxmlformats.org/officeDocument/2006/customXml" ds:itemID="{B52934DF-CFD0-4EF0-A78F-39E4ADDE2CAB}">
  <ds:schemaRefs/>
</ds:datastoreItem>
</file>

<file path=customXml/itemProps33.xml><?xml version="1.0" encoding="utf-8"?>
<ds:datastoreItem xmlns:ds="http://schemas.openxmlformats.org/officeDocument/2006/customXml" ds:itemID="{D94320FE-B32D-4EE2-913E-73688918320F}">
  <ds:schemaRefs/>
</ds:datastoreItem>
</file>

<file path=customXml/itemProps34.xml><?xml version="1.0" encoding="utf-8"?>
<ds:datastoreItem xmlns:ds="http://schemas.openxmlformats.org/officeDocument/2006/customXml" ds:itemID="{C1422F45-04DB-421D-8796-270006657806}">
  <ds:schemaRefs>
    <ds:schemaRef ds:uri="http://purl.org/dc/dcmitype/"/>
    <ds:schemaRef ds:uri="http://purl.org/dc/terms/"/>
    <ds:schemaRef ds:uri="6e7234bd-dad5-4aa9-bec4-5d84954c5428"/>
    <ds:schemaRef ds:uri="http://purl.org/dc/elements/1.1/"/>
    <ds:schemaRef ds:uri="http://www.w3.org/XML/1998/namespace"/>
    <ds:schemaRef ds:uri="http://schemas.microsoft.com/office/2006/documentManagement/types"/>
    <ds:schemaRef ds:uri="http://schemas.microsoft.com/office/infopath/2007/PartnerControls"/>
    <ds:schemaRef ds:uri="http://schemas.openxmlformats.org/package/2006/metadata/core-properties"/>
    <ds:schemaRef ds:uri="7e25dd57-ca4d-441d-9244-a0da05019e99"/>
    <ds:schemaRef ds:uri="http://schemas.microsoft.com/office/2006/metadata/properties"/>
  </ds:schemaRefs>
</ds:datastoreItem>
</file>

<file path=customXml/itemProps35.xml><?xml version="1.0" encoding="utf-8"?>
<ds:datastoreItem xmlns:ds="http://schemas.openxmlformats.org/officeDocument/2006/customXml" ds:itemID="{9E0B6CDD-8928-448D-995F-D010E3465137}">
  <ds:schemaRefs/>
</ds:datastoreItem>
</file>

<file path=customXml/itemProps36.xml><?xml version="1.0" encoding="utf-8"?>
<ds:datastoreItem xmlns:ds="http://schemas.openxmlformats.org/officeDocument/2006/customXml" ds:itemID="{3F9F4C22-0637-48BD-A066-283FC27CBBDA}">
  <ds:schemaRefs/>
</ds:datastoreItem>
</file>

<file path=customXml/itemProps37.xml><?xml version="1.0" encoding="utf-8"?>
<ds:datastoreItem xmlns:ds="http://schemas.openxmlformats.org/officeDocument/2006/customXml" ds:itemID="{CC49FFC8-2FF3-4057-96F0-3BCD1A4F0351}">
  <ds:schemaRefs/>
</ds:datastoreItem>
</file>

<file path=customXml/itemProps38.xml><?xml version="1.0" encoding="utf-8"?>
<ds:datastoreItem xmlns:ds="http://schemas.openxmlformats.org/officeDocument/2006/customXml" ds:itemID="{C94BA816-29E8-49A8-AF96-F97B813FB779}">
  <ds:schemaRefs/>
</ds:datastoreItem>
</file>

<file path=customXml/itemProps39.xml><?xml version="1.0" encoding="utf-8"?>
<ds:datastoreItem xmlns:ds="http://schemas.openxmlformats.org/officeDocument/2006/customXml" ds:itemID="{752C2AFA-55C2-4A11-B78F-49D1D2A696ED}">
  <ds:schemaRefs/>
</ds:datastoreItem>
</file>

<file path=customXml/itemProps4.xml><?xml version="1.0" encoding="utf-8"?>
<ds:datastoreItem xmlns:ds="http://schemas.openxmlformats.org/officeDocument/2006/customXml" ds:itemID="{AAD95472-22F6-43B1-A781-371C949AFF97}">
  <ds:schemaRefs/>
</ds:datastoreItem>
</file>

<file path=customXml/itemProps40.xml><?xml version="1.0" encoding="utf-8"?>
<ds:datastoreItem xmlns:ds="http://schemas.openxmlformats.org/officeDocument/2006/customXml" ds:itemID="{626BBCBB-1894-4E66-BA48-9E91CE3ACBA0}">
  <ds:schemaRefs/>
</ds:datastoreItem>
</file>

<file path=customXml/itemProps41.xml><?xml version="1.0" encoding="utf-8"?>
<ds:datastoreItem xmlns:ds="http://schemas.openxmlformats.org/officeDocument/2006/customXml" ds:itemID="{F6FA15A1-7E6A-4ECF-A682-5906F7EF8CB6}">
  <ds:schemaRefs/>
</ds:datastoreItem>
</file>

<file path=customXml/itemProps42.xml><?xml version="1.0" encoding="utf-8"?>
<ds:datastoreItem xmlns:ds="http://schemas.openxmlformats.org/officeDocument/2006/customXml" ds:itemID="{CB8640A1-9A52-4824-A54D-C1E9DC6DF58E}">
  <ds:schemaRefs/>
</ds:datastoreItem>
</file>

<file path=customXml/itemProps43.xml><?xml version="1.0" encoding="utf-8"?>
<ds:datastoreItem xmlns:ds="http://schemas.openxmlformats.org/officeDocument/2006/customXml" ds:itemID="{71B9328A-6F00-4B71-9332-8081400BA0F2}">
  <ds:schemaRefs/>
</ds:datastoreItem>
</file>

<file path=customXml/itemProps44.xml><?xml version="1.0" encoding="utf-8"?>
<ds:datastoreItem xmlns:ds="http://schemas.openxmlformats.org/officeDocument/2006/customXml" ds:itemID="{91D4C477-4CBF-4833-A763-167B6759CA65}">
  <ds:schemaRefs/>
</ds:datastoreItem>
</file>

<file path=customXml/itemProps45.xml><?xml version="1.0" encoding="utf-8"?>
<ds:datastoreItem xmlns:ds="http://schemas.openxmlformats.org/officeDocument/2006/customXml" ds:itemID="{A116A66A-892E-49B8-8AD9-099BEFF58780}">
  <ds:schemaRefs/>
</ds:datastoreItem>
</file>

<file path=customXml/itemProps46.xml><?xml version="1.0" encoding="utf-8"?>
<ds:datastoreItem xmlns:ds="http://schemas.openxmlformats.org/officeDocument/2006/customXml" ds:itemID="{27EC1F13-C036-41F6-B353-D0D856CA5464}">
  <ds:schemaRefs/>
</ds:datastoreItem>
</file>

<file path=customXml/itemProps47.xml><?xml version="1.0" encoding="utf-8"?>
<ds:datastoreItem xmlns:ds="http://schemas.openxmlformats.org/officeDocument/2006/customXml" ds:itemID="{8D60027D-B63E-433E-BB56-64F598DA4B11}">
  <ds:schemaRefs/>
</ds:datastoreItem>
</file>

<file path=customXml/itemProps48.xml><?xml version="1.0" encoding="utf-8"?>
<ds:datastoreItem xmlns:ds="http://schemas.openxmlformats.org/officeDocument/2006/customXml" ds:itemID="{DF3DA119-9F3B-B04F-B2CE-ED7B6150E810}">
  <ds:schemaRefs/>
</ds:datastoreItem>
</file>

<file path=customXml/itemProps49.xml><?xml version="1.0" encoding="utf-8"?>
<ds:datastoreItem xmlns:ds="http://schemas.openxmlformats.org/officeDocument/2006/customXml" ds:itemID="{A3EC6DE2-FD66-684A-AC9E-08E25388DBEF}">
  <ds:schemaRefs/>
</ds:datastoreItem>
</file>

<file path=customXml/itemProps5.xml><?xml version="1.0" encoding="utf-8"?>
<ds:datastoreItem xmlns:ds="http://schemas.openxmlformats.org/officeDocument/2006/customXml" ds:itemID="{E860F1E1-DA5E-48D8-91C1-9AAD49E2B88E}">
  <ds:schemaRefs/>
</ds:datastoreItem>
</file>

<file path=customXml/itemProps50.xml><?xml version="1.0" encoding="utf-8"?>
<ds:datastoreItem xmlns:ds="http://schemas.openxmlformats.org/officeDocument/2006/customXml" ds:itemID="{5E726EAB-FE30-4F4D-A478-DE4759D9A12E}">
  <ds:schemaRefs/>
</ds:datastoreItem>
</file>

<file path=customXml/itemProps51.xml><?xml version="1.0" encoding="utf-8"?>
<ds:datastoreItem xmlns:ds="http://schemas.openxmlformats.org/officeDocument/2006/customXml" ds:itemID="{E2796460-42C7-428A-8144-83093C34E39C}">
  <ds:schemaRefs/>
</ds:datastoreItem>
</file>

<file path=customXml/itemProps52.xml><?xml version="1.0" encoding="utf-8"?>
<ds:datastoreItem xmlns:ds="http://schemas.openxmlformats.org/officeDocument/2006/customXml" ds:itemID="{D8D8F8B4-9402-4BF6-A7BD-9935AF2A4977}">
  <ds:schemaRefs/>
</ds:datastoreItem>
</file>

<file path=customXml/itemProps53.xml><?xml version="1.0" encoding="utf-8"?>
<ds:datastoreItem xmlns:ds="http://schemas.openxmlformats.org/officeDocument/2006/customXml" ds:itemID="{3C10BEF1-1F30-4931-A0F5-34A70F22C553}">
  <ds:schemaRefs/>
</ds:datastoreItem>
</file>

<file path=customXml/itemProps54.xml><?xml version="1.0" encoding="utf-8"?>
<ds:datastoreItem xmlns:ds="http://schemas.openxmlformats.org/officeDocument/2006/customXml" ds:itemID="{C81C95DE-B962-4660-803E-5EF2D36BC84B}">
  <ds:schemaRefs/>
</ds:datastoreItem>
</file>

<file path=customXml/itemProps55.xml><?xml version="1.0" encoding="utf-8"?>
<ds:datastoreItem xmlns:ds="http://schemas.openxmlformats.org/officeDocument/2006/customXml" ds:itemID="{4E60E6FF-A33C-4EC9-9DC5-42D782703E7E}">
  <ds:schemaRefs/>
</ds:datastoreItem>
</file>

<file path=customXml/itemProps56.xml><?xml version="1.0" encoding="utf-8"?>
<ds:datastoreItem xmlns:ds="http://schemas.openxmlformats.org/officeDocument/2006/customXml" ds:itemID="{FB3CBE98-0F50-4DCC-AB6D-9CE0DBAA75FF}">
  <ds:schemaRefs/>
</ds:datastoreItem>
</file>

<file path=customXml/itemProps57.xml><?xml version="1.0" encoding="utf-8"?>
<ds:datastoreItem xmlns:ds="http://schemas.openxmlformats.org/officeDocument/2006/customXml" ds:itemID="{F444086E-23D4-43AE-9B84-AA7543534A61}">
  <ds:schemaRefs/>
</ds:datastoreItem>
</file>

<file path=customXml/itemProps58.xml><?xml version="1.0" encoding="utf-8"?>
<ds:datastoreItem xmlns:ds="http://schemas.openxmlformats.org/officeDocument/2006/customXml" ds:itemID="{3242C73C-92B3-43F9-A466-10C41D0EBB9A}">
  <ds:schemaRefs/>
</ds:datastoreItem>
</file>

<file path=customXml/itemProps59.xml><?xml version="1.0" encoding="utf-8"?>
<ds:datastoreItem xmlns:ds="http://schemas.openxmlformats.org/officeDocument/2006/customXml" ds:itemID="{129BA3AC-5691-42D0-A910-54D274DA946B}">
  <ds:schemaRefs/>
</ds:datastoreItem>
</file>

<file path=customXml/itemProps6.xml><?xml version="1.0" encoding="utf-8"?>
<ds:datastoreItem xmlns:ds="http://schemas.openxmlformats.org/officeDocument/2006/customXml" ds:itemID="{70EA3092-A2C0-4B07-8514-7CA43B148A33}">
  <ds:schemaRefs/>
</ds:datastoreItem>
</file>

<file path=customXml/itemProps60.xml><?xml version="1.0" encoding="utf-8"?>
<ds:datastoreItem xmlns:ds="http://schemas.openxmlformats.org/officeDocument/2006/customXml" ds:itemID="{CE52DDE1-3F51-4E6E-91A3-AE6B08F06688}">
  <ds:schemaRefs/>
</ds:datastoreItem>
</file>

<file path=customXml/itemProps61.xml><?xml version="1.0" encoding="utf-8"?>
<ds:datastoreItem xmlns:ds="http://schemas.openxmlformats.org/officeDocument/2006/customXml" ds:itemID="{5B03D635-EBD2-4667-AE8E-4C370CABBCC3}">
  <ds:schemaRefs/>
</ds:datastoreItem>
</file>

<file path=customXml/itemProps62.xml><?xml version="1.0" encoding="utf-8"?>
<ds:datastoreItem xmlns:ds="http://schemas.openxmlformats.org/officeDocument/2006/customXml" ds:itemID="{056C27C9-3D22-4B6B-BC84-EA6A91A0EAD5}">
  <ds:schemaRefs/>
</ds:datastoreItem>
</file>

<file path=customXml/itemProps63.xml><?xml version="1.0" encoding="utf-8"?>
<ds:datastoreItem xmlns:ds="http://schemas.openxmlformats.org/officeDocument/2006/customXml" ds:itemID="{460F9BBF-D0B3-460C-8B92-6988CF4404BC}">
  <ds:schemaRefs/>
</ds:datastoreItem>
</file>

<file path=customXml/itemProps64.xml><?xml version="1.0" encoding="utf-8"?>
<ds:datastoreItem xmlns:ds="http://schemas.openxmlformats.org/officeDocument/2006/customXml" ds:itemID="{B78E11C8-4F6B-422A-88DD-3EB4A5E52C9C}">
  <ds:schemaRefs/>
</ds:datastoreItem>
</file>

<file path=customXml/itemProps65.xml><?xml version="1.0" encoding="utf-8"?>
<ds:datastoreItem xmlns:ds="http://schemas.openxmlformats.org/officeDocument/2006/customXml" ds:itemID="{1E1C8A8C-DD05-44CF-B77B-6083D663B4EF}">
  <ds:schemaRefs/>
</ds:datastoreItem>
</file>

<file path=customXml/itemProps66.xml><?xml version="1.0" encoding="utf-8"?>
<ds:datastoreItem xmlns:ds="http://schemas.openxmlformats.org/officeDocument/2006/customXml" ds:itemID="{66367C7A-1E87-46B5-8BAB-5AC13AE58AB1}">
  <ds:schemaRefs/>
</ds:datastoreItem>
</file>

<file path=customXml/itemProps67.xml><?xml version="1.0" encoding="utf-8"?>
<ds:datastoreItem xmlns:ds="http://schemas.openxmlformats.org/officeDocument/2006/customXml" ds:itemID="{0E25052C-24B4-4917-9C9E-323C1B9563D3}">
  <ds:schemaRefs/>
</ds:datastoreItem>
</file>

<file path=customXml/itemProps68.xml><?xml version="1.0" encoding="utf-8"?>
<ds:datastoreItem xmlns:ds="http://schemas.openxmlformats.org/officeDocument/2006/customXml" ds:itemID="{2F6B9536-ED4A-4ABF-9887-6040B37B7B01}">
  <ds:schemaRefs/>
</ds:datastoreItem>
</file>

<file path=customXml/itemProps69.xml><?xml version="1.0" encoding="utf-8"?>
<ds:datastoreItem xmlns:ds="http://schemas.openxmlformats.org/officeDocument/2006/customXml" ds:itemID="{839C4E51-4B38-46E1-B463-6783BA03E7FD}">
  <ds:schemaRefs/>
</ds:datastoreItem>
</file>

<file path=customXml/itemProps7.xml><?xml version="1.0" encoding="utf-8"?>
<ds:datastoreItem xmlns:ds="http://schemas.openxmlformats.org/officeDocument/2006/customXml" ds:itemID="{804B0268-FFBF-4CCE-BDB9-02C95353404E}">
  <ds:schemaRefs/>
</ds:datastoreItem>
</file>

<file path=customXml/itemProps70.xml><?xml version="1.0" encoding="utf-8"?>
<ds:datastoreItem xmlns:ds="http://schemas.openxmlformats.org/officeDocument/2006/customXml" ds:itemID="{1ED58F2A-68C1-4418-A6A1-3E48A53701E0}">
  <ds:schemaRefs/>
</ds:datastoreItem>
</file>

<file path=customXml/itemProps71.xml><?xml version="1.0" encoding="utf-8"?>
<ds:datastoreItem xmlns:ds="http://schemas.openxmlformats.org/officeDocument/2006/customXml" ds:itemID="{6511E6AF-CF19-4FD2-A81A-5A71F3AA527D}">
  <ds:schemaRefs/>
</ds:datastoreItem>
</file>

<file path=customXml/itemProps72.xml><?xml version="1.0" encoding="utf-8"?>
<ds:datastoreItem xmlns:ds="http://schemas.openxmlformats.org/officeDocument/2006/customXml" ds:itemID="{9E98954F-9F01-4724-8647-60E6BAE0AD4C}">
  <ds:schemaRefs/>
</ds:datastoreItem>
</file>

<file path=customXml/itemProps73.xml><?xml version="1.0" encoding="utf-8"?>
<ds:datastoreItem xmlns:ds="http://schemas.openxmlformats.org/officeDocument/2006/customXml" ds:itemID="{4694B624-D532-4E40-86FB-13166C5EC67F}">
  <ds:schemaRefs/>
</ds:datastoreItem>
</file>

<file path=customXml/itemProps74.xml><?xml version="1.0" encoding="utf-8"?>
<ds:datastoreItem xmlns:ds="http://schemas.openxmlformats.org/officeDocument/2006/customXml" ds:itemID="{20BBD4BD-B311-4045-98AE-E919CE7EC2B2}">
  <ds:schemaRefs/>
</ds:datastoreItem>
</file>

<file path=customXml/itemProps75.xml><?xml version="1.0" encoding="utf-8"?>
<ds:datastoreItem xmlns:ds="http://schemas.openxmlformats.org/officeDocument/2006/customXml" ds:itemID="{ADFFC913-B5BD-43F9-BE17-B9FF38295AE8}">
  <ds:schemaRefs/>
</ds:datastoreItem>
</file>

<file path=customXml/itemProps76.xml><?xml version="1.0" encoding="utf-8"?>
<ds:datastoreItem xmlns:ds="http://schemas.openxmlformats.org/officeDocument/2006/customXml" ds:itemID="{31197F3C-BBF9-4B14-9057-8B788D9155CF}">
  <ds:schemaRefs/>
</ds:datastoreItem>
</file>

<file path=customXml/itemProps77.xml><?xml version="1.0" encoding="utf-8"?>
<ds:datastoreItem xmlns:ds="http://schemas.openxmlformats.org/officeDocument/2006/customXml" ds:itemID="{3E6447F0-E738-4DD6-9CDA-A3290125F8E8}">
  <ds:schemaRefs/>
</ds:datastoreItem>
</file>

<file path=customXml/itemProps78.xml><?xml version="1.0" encoding="utf-8"?>
<ds:datastoreItem xmlns:ds="http://schemas.openxmlformats.org/officeDocument/2006/customXml" ds:itemID="{EC14F6FD-D265-4456-8D65-0B9C0292810A}">
  <ds:schemaRefs/>
</ds:datastoreItem>
</file>

<file path=customXml/itemProps79.xml><?xml version="1.0" encoding="utf-8"?>
<ds:datastoreItem xmlns:ds="http://schemas.openxmlformats.org/officeDocument/2006/customXml" ds:itemID="{E1AD5A84-0DEA-40D6-8E7D-980AE051D262}">
  <ds:schemaRefs/>
</ds:datastoreItem>
</file>

<file path=customXml/itemProps8.xml><?xml version="1.0" encoding="utf-8"?>
<ds:datastoreItem xmlns:ds="http://schemas.openxmlformats.org/officeDocument/2006/customXml" ds:itemID="{5CA50ABE-3546-4CAE-8639-A5962273A810}">
  <ds:schemaRefs/>
</ds:datastoreItem>
</file>

<file path=customXml/itemProps9.xml><?xml version="1.0" encoding="utf-8"?>
<ds:datastoreItem xmlns:ds="http://schemas.openxmlformats.org/officeDocument/2006/customXml" ds:itemID="{D5F0524E-7C2F-4E67-AFD3-CD2B170D1070}">
  <ds:schemaRefs/>
</ds:datastoreItem>
</file>

<file path=docMetadata/LabelInfo.xml><?xml version="1.0" encoding="utf-8"?>
<clbl:labelList xmlns:clbl="http://schemas.microsoft.com/office/2020/mipLabelMetadata">
  <clbl:label id="{42f7676c-f455-423c-82f6-dc2d99791af7}" enabled="0" method="" siteId="{42f7676c-f455-423c-82f6-dc2d99791af7}" removed="1"/>
</clbl:labelList>
</file>

<file path=docProps/app.xml><?xml version="1.0" encoding="utf-8"?>
<Properties xmlns="http://schemas.openxmlformats.org/officeDocument/2006/extended-properties" xmlns:vt="http://schemas.openxmlformats.org/officeDocument/2006/docPropsVTypes">
  <Template>SAP_2023</Template>
  <TotalTime>4753</TotalTime>
  <Words>8325</Words>
  <Application>Microsoft Macintosh PowerPoint</Application>
  <PresentationFormat>Custom</PresentationFormat>
  <Paragraphs>1307</Paragraphs>
  <Slides>91</Slides>
  <Notes>57</Notes>
  <HiddenSlides>12</HiddenSlides>
  <MMClips>0</MMClips>
  <ScaleCrop>false</ScaleCrop>
  <HeadingPairs>
    <vt:vector size="8" baseType="variant">
      <vt:variant>
        <vt:lpstr>Fonts Used</vt:lpstr>
      </vt:variant>
      <vt:variant>
        <vt:i4>18</vt:i4>
      </vt:variant>
      <vt:variant>
        <vt:lpstr>Theme</vt:lpstr>
      </vt:variant>
      <vt:variant>
        <vt:i4>1</vt:i4>
      </vt:variant>
      <vt:variant>
        <vt:lpstr>Embedded OLE Servers</vt:lpstr>
      </vt:variant>
      <vt:variant>
        <vt:i4>1</vt:i4>
      </vt:variant>
      <vt:variant>
        <vt:lpstr>Slide Titles</vt:lpstr>
      </vt:variant>
      <vt:variant>
        <vt:i4>91</vt:i4>
      </vt:variant>
    </vt:vector>
  </HeadingPairs>
  <TitlesOfParts>
    <vt:vector size="111" baseType="lpstr">
      <vt:lpstr>72</vt:lpstr>
      <vt:lpstr>Wingdings</vt:lpstr>
      <vt:lpstr>Roboto</vt:lpstr>
      <vt:lpstr>Arial Unicode MS</vt:lpstr>
      <vt:lpstr>72 Brand</vt:lpstr>
      <vt:lpstr>Arial Body</vt:lpstr>
      <vt:lpstr>Open Sans</vt:lpstr>
      <vt:lpstr>Wingdings</vt:lpstr>
      <vt:lpstr>BentonSans Bold</vt:lpstr>
      <vt:lpstr>Arial</vt:lpstr>
      <vt:lpstr>-apple-system</vt:lpstr>
      <vt:lpstr>Courier New</vt:lpstr>
      <vt:lpstr>Symbol</vt:lpstr>
      <vt:lpstr>Gill Sans</vt:lpstr>
      <vt:lpstr>Aptos Narrow</vt:lpstr>
      <vt:lpstr>72 Brand Medium</vt:lpstr>
      <vt:lpstr>Calibri</vt:lpstr>
      <vt:lpstr>Consolas</vt:lpstr>
      <vt:lpstr>SAP Template 2023</vt:lpstr>
      <vt:lpstr>think-cell Slide</vt:lpstr>
      <vt:lpstr>AEM- Raid Deployment Workshop</vt:lpstr>
      <vt:lpstr>Prerequisites Bootcamp</vt:lpstr>
      <vt:lpstr>Bootcamp Agenda</vt:lpstr>
      <vt:lpstr>SAP TEAM</vt:lpstr>
      <vt:lpstr>The World is Real Time – Use Cases What is your Motivation and Use Case?</vt:lpstr>
      <vt:lpstr>Event sources and consumers – standard SAP and custom add-ons for events Big Picture</vt:lpstr>
      <vt:lpstr> High-level comparison – SAP Event Mesh and advanced event mesh</vt:lpstr>
      <vt:lpstr>Comparison RAP based, AIF, and Add-On based event enablement When to use what?</vt:lpstr>
      <vt:lpstr>S/4HANA Event Enablement : Highlights and Selected Features </vt:lpstr>
      <vt:lpstr>SAP S/4HANA Business Events Where to find?</vt:lpstr>
      <vt:lpstr>S/4HANA Feature Readiness and Service Packs? Am I ready?</vt:lpstr>
      <vt:lpstr>SAP Integration Suite, advanced event mesh</vt:lpstr>
      <vt:lpstr>SAP Integration Suite, advanced event mesh: Details </vt:lpstr>
      <vt:lpstr>Broker T-Shirts Sizes</vt:lpstr>
      <vt:lpstr>Mesh Manager for creating and managing your Mesh</vt:lpstr>
      <vt:lpstr>Exercise Flow Digital Integration Hub   Topic  1  1. Start Advanced Event Mesh  2. Create Message  Broker and Event Mesh  3. Deploy ERP Simulator within CF Runtime ( will be provided)           Create Test Events           Consume via SAP AEM Tryout 4. Usage of Event Dashboard,  Display/ Consume Events     </vt:lpstr>
      <vt:lpstr>API Architecture vs. Event-Driven Architecture</vt:lpstr>
      <vt:lpstr>Event sources: Notification and data events</vt:lpstr>
      <vt:lpstr>Event sources: Custom and standard events</vt:lpstr>
      <vt:lpstr>Event sources: Outbound and inbound events</vt:lpstr>
      <vt:lpstr>Topic 2 - Business Events in S/4HANA</vt:lpstr>
      <vt:lpstr>S/4HANA Business Events based on RAP</vt:lpstr>
      <vt:lpstr>RAP-improved S/4HANA Event Enablement</vt:lpstr>
      <vt:lpstr>Standard Content on  SAP Business Accelerator Hub</vt:lpstr>
      <vt:lpstr>Custom Events</vt:lpstr>
      <vt:lpstr>S/4HANA: New Features and Way Forward </vt:lpstr>
      <vt:lpstr>S/4HANA Business Events: Derived Events</vt:lpstr>
      <vt:lpstr>S/4HANA Business Events: Context Extensibility</vt:lpstr>
      <vt:lpstr>S/4HANA Business Events: Outbound Filtering</vt:lpstr>
      <vt:lpstr>S/4HANA Business Events: Inbound Processing</vt:lpstr>
      <vt:lpstr>S/4HANA Business Events: Local Event Handling</vt:lpstr>
      <vt:lpstr>Exercise Flow Digital Integration Hub    Topic 2  1. Connect S/4HANA or S/4HANA Cloud with    Standard Events          Connect AEM to S/4HANA          Publish Standard Events from S/4HANA to AEM 2. Connect S/4HANA or S/4HANA Cloud with Custom Events 3. Consume Events with S/4HANA or S/4HANA                        Cloud        </vt:lpstr>
      <vt:lpstr>Appendix</vt:lpstr>
      <vt:lpstr>PowerPoint Presentation</vt:lpstr>
      <vt:lpstr>PowerPoint Presentation</vt:lpstr>
      <vt:lpstr>PowerPoint Presentation</vt:lpstr>
      <vt:lpstr> High-level comparison – SAP Event Mesh and advanced event mesh</vt:lpstr>
      <vt:lpstr>Topic 3 – Enhanced Integration using the SAP BTP</vt:lpstr>
      <vt:lpstr>Goals</vt:lpstr>
      <vt:lpstr>SAP Integration Suite SAP’s hybrid integration platform for the Intelligent Enterprise</vt:lpstr>
      <vt:lpstr>Scenario Cloud Integration</vt:lpstr>
      <vt:lpstr>Scenario Cloud Integration</vt:lpstr>
      <vt:lpstr>Scenario Cloud Integration</vt:lpstr>
      <vt:lpstr>Scenario Cloud Integration</vt:lpstr>
      <vt:lpstr>SAP Build Process Automation Automate processes and tasks with drag-and-drop-simplicity</vt:lpstr>
      <vt:lpstr>Scenario BPA</vt:lpstr>
      <vt:lpstr>Scenario BPA</vt:lpstr>
      <vt:lpstr>Prerequisites</vt:lpstr>
      <vt:lpstr>Exercise Flow Digital Integration Hub    Topic 3  1.Create queues/topic subscriptions in AEM 2. Create consumer IFlows in Integration Suite 3. Automation configuration of AEM using API (optional) 4. Connect Process Automation 5. Test and review with events    </vt:lpstr>
      <vt:lpstr>Topic 4 - Agenda</vt:lpstr>
      <vt:lpstr>Event Management - Event Portal</vt:lpstr>
      <vt:lpstr>Event Management - Event Portal</vt:lpstr>
      <vt:lpstr>Event Management - Event Portal</vt:lpstr>
      <vt:lpstr>Event Management - Event Portal</vt:lpstr>
      <vt:lpstr>Event Management - Event Portal</vt:lpstr>
      <vt:lpstr>Event Management - Event Portal</vt:lpstr>
      <vt:lpstr>Event Management – Event Approval Process</vt:lpstr>
      <vt:lpstr>Event Insights - Monitoring</vt:lpstr>
      <vt:lpstr>Event Insights - Monitoring</vt:lpstr>
      <vt:lpstr>Event Insights - Monitoring</vt:lpstr>
      <vt:lpstr>Event Insights - Monitoring</vt:lpstr>
      <vt:lpstr>Event Insights - Monitoring</vt:lpstr>
      <vt:lpstr>Event Insights - Monitoring</vt:lpstr>
      <vt:lpstr>Event Insights - Monitoring</vt:lpstr>
      <vt:lpstr>Event Insights - Distributed Tracing</vt:lpstr>
      <vt:lpstr>Event Insights - Distributed Tracing</vt:lpstr>
      <vt:lpstr>Event Insights - Distributed Tracing</vt:lpstr>
      <vt:lpstr>Advanced Event Mesh – API’s</vt:lpstr>
      <vt:lpstr>Overview</vt:lpstr>
      <vt:lpstr>Manage AEM API Access </vt:lpstr>
      <vt:lpstr>SAP Advanced Event Mesh REST – API</vt:lpstr>
      <vt:lpstr>SEMP(v2)</vt:lpstr>
      <vt:lpstr>Open APIs - REST   </vt:lpstr>
      <vt:lpstr>Topic 5 – AIF</vt:lpstr>
      <vt:lpstr>Application Interface Framework (AIF)</vt:lpstr>
      <vt:lpstr>Application Interface Framework (AIF)</vt:lpstr>
      <vt:lpstr>AIF Features</vt:lpstr>
      <vt:lpstr>AIFAEM</vt:lpstr>
      <vt:lpstr>AIFAEM</vt:lpstr>
      <vt:lpstr>AIFAEM in Detail</vt:lpstr>
      <vt:lpstr>AIFAEM Features</vt:lpstr>
      <vt:lpstr>AIFAEM: Supported Releases</vt:lpstr>
      <vt:lpstr>AIFAEM: Commercials</vt:lpstr>
      <vt:lpstr>Additional Information on AIFAEM</vt:lpstr>
      <vt:lpstr>SAP Application Interface Framework Product Overview – SAP AIF Usage Scenario: AIFAEM</vt:lpstr>
      <vt:lpstr>Exercise Flow Digital Integration Hub    Topic 5 - AIF     </vt:lpstr>
      <vt:lpstr>Topic 5 – Expected Result on Event Publisher</vt:lpstr>
      <vt:lpstr>Topic 5 – Expected Result on AEM</vt:lpstr>
      <vt:lpstr>Topic 5 – AIF: Expected Result on Dashboard</vt:lpstr>
      <vt:lpstr>Learn more!</vt:lpstr>
      <vt:lpstr>Questions/Feedback?</vt:lpstr>
    </vt:vector>
  </TitlesOfParts>
  <Manager/>
  <Company>SAP</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Goes Here and Here and Here</dc:title>
  <dc:subject/>
  <dc:creator>von der Forst, Rolf</dc:creator>
  <cp:keywords>2023/16:9/white</cp:keywords>
  <dc:description/>
  <cp:lastModifiedBy>Maier, Timo</cp:lastModifiedBy>
  <cp:revision>3</cp:revision>
  <dcterms:created xsi:type="dcterms:W3CDTF">2023-10-24T11:21:37Z</dcterms:created>
  <dcterms:modified xsi:type="dcterms:W3CDTF">2024-12-12T15:33:47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AdHocReviewCycleID">
    <vt:i4>1101452479</vt:i4>
  </property>
  <property fmtid="{D5CDD505-2E9C-101B-9397-08002B2CF9AE}" pid="3" name="_NewReviewCycle">
    <vt:lpwstr/>
  </property>
  <property fmtid="{D5CDD505-2E9C-101B-9397-08002B2CF9AE}" pid="4" name="_EmailSubject">
    <vt:lpwstr>SAP - PPT Exploration (Updated)</vt:lpwstr>
  </property>
  <property fmtid="{D5CDD505-2E9C-101B-9397-08002B2CF9AE}" pid="5" name="_AuthorEmail">
    <vt:lpwstr>heidi.bitz@sap.com</vt:lpwstr>
  </property>
  <property fmtid="{D5CDD505-2E9C-101B-9397-08002B2CF9AE}" pid="6" name="_AuthorEmailDisplayName">
    <vt:lpwstr>Bitz, Heidi</vt:lpwstr>
  </property>
  <property fmtid="{D5CDD505-2E9C-101B-9397-08002B2CF9AE}" pid="7" name="_PreviousAdHocReviewCycleID">
    <vt:i4>1357826825</vt:i4>
  </property>
  <property fmtid="{D5CDD505-2E9C-101B-9397-08002B2CF9AE}" pid="8" name="ContentTypeId">
    <vt:lpwstr>0x010100792858075F139349BF45700718E8A7A4</vt:lpwstr>
  </property>
  <property fmtid="{D5CDD505-2E9C-101B-9397-08002B2CF9AE}" pid="9" name="TemplafyTimeStamp">
    <vt:lpwstr>2023-10-17T07:10:10</vt:lpwstr>
  </property>
  <property fmtid="{D5CDD505-2E9C-101B-9397-08002B2CF9AE}" pid="10" name="TemplafyTenantId">
    <vt:lpwstr>sap</vt:lpwstr>
  </property>
  <property fmtid="{D5CDD505-2E9C-101B-9397-08002B2CF9AE}" pid="11" name="TemplafyTemplateId">
    <vt:lpwstr>743088030174412800</vt:lpwstr>
  </property>
  <property fmtid="{D5CDD505-2E9C-101B-9397-08002B2CF9AE}" pid="12" name="TemplafyUserProfileId">
    <vt:lpwstr>637653955260011855</vt:lpwstr>
  </property>
  <property fmtid="{D5CDD505-2E9C-101B-9397-08002B2CF9AE}" pid="13" name="TemplafyLanguageCode">
    <vt:lpwstr>en-US</vt:lpwstr>
  </property>
  <property fmtid="{D5CDD505-2E9C-101B-9397-08002B2CF9AE}" pid="14" name="TemplafyFromBlank">
    <vt:bool>false</vt:bool>
  </property>
  <property fmtid="{D5CDD505-2E9C-101B-9397-08002B2CF9AE}" pid="15" name="MediaServiceImageTags">
    <vt:lpwstr/>
  </property>
</Properties>
</file>